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516" r:id="rId2"/>
    <p:sldId id="256" r:id="rId3"/>
    <p:sldId id="527" r:id="rId4"/>
    <p:sldId id="517" r:id="rId5"/>
    <p:sldId id="519" r:id="rId6"/>
    <p:sldId id="518" r:id="rId7"/>
    <p:sldId id="520" r:id="rId8"/>
    <p:sldId id="521" r:id="rId9"/>
    <p:sldId id="522" r:id="rId10"/>
    <p:sldId id="523" r:id="rId11"/>
    <p:sldId id="524" r:id="rId12"/>
    <p:sldId id="525" r:id="rId13"/>
    <p:sldId id="282" r:id="rId14"/>
    <p:sldId id="528" r:id="rId15"/>
  </p:sldIdLst>
  <p:sldSz cx="12192000" cy="6858000"/>
  <p:notesSz cx="9802813" cy="14204950"/>
  <p:custDataLst>
    <p:tags r:id="rId17"/>
  </p:custDataLst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5959"/>
    <a:srgbClr val="101820"/>
    <a:srgbClr val="FBFDFF"/>
    <a:srgbClr val="88D3F0"/>
    <a:srgbClr val="CDECF8"/>
    <a:srgbClr val="00A1DF"/>
    <a:srgbClr val="004D6C"/>
    <a:srgbClr val="E8EFF6"/>
    <a:srgbClr val="F8F8F8"/>
    <a:srgbClr val="2F54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8" autoAdjust="0"/>
    <p:restoredTop sz="95535" autoAdjust="0"/>
  </p:normalViewPr>
  <p:slideViewPr>
    <p:cSldViewPr snapToGrid="0">
      <p:cViewPr>
        <p:scale>
          <a:sx n="75" d="100"/>
          <a:sy n="75" d="100"/>
        </p:scale>
        <p:origin x="984" y="8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247885" cy="712714"/>
          </a:xfrm>
          <a:prstGeom prst="rect">
            <a:avLst/>
          </a:prstGeom>
        </p:spPr>
        <p:txBody>
          <a:bodyPr vert="horz" lIns="137158" tIns="68579" rIns="137158" bIns="68579" rtlCol="0"/>
          <a:lstStyle>
            <a:lvl1pPr algn="l">
              <a:defRPr sz="18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5552661" y="0"/>
            <a:ext cx="4247885" cy="712714"/>
          </a:xfrm>
          <a:prstGeom prst="rect">
            <a:avLst/>
          </a:prstGeom>
        </p:spPr>
        <p:txBody>
          <a:bodyPr vert="horz" lIns="137158" tIns="68579" rIns="137158" bIns="68579" rtlCol="0"/>
          <a:lstStyle>
            <a:lvl1pPr algn="r">
              <a:defRPr sz="1800"/>
            </a:lvl1pPr>
          </a:lstStyle>
          <a:p>
            <a:fld id="{0E381D74-6415-4698-9DF2-DA3D7B4B1F11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644525" y="1776413"/>
            <a:ext cx="8516938" cy="479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158" tIns="68579" rIns="137158" bIns="68579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980282" y="6836133"/>
            <a:ext cx="7842250" cy="5593198"/>
          </a:xfrm>
          <a:prstGeom prst="rect">
            <a:avLst/>
          </a:prstGeom>
        </p:spPr>
        <p:txBody>
          <a:bodyPr vert="horz" lIns="137158" tIns="68579" rIns="137158" bIns="68579" rtlCol="0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2" y="13492240"/>
            <a:ext cx="4247885" cy="712713"/>
          </a:xfrm>
          <a:prstGeom prst="rect">
            <a:avLst/>
          </a:prstGeom>
        </p:spPr>
        <p:txBody>
          <a:bodyPr vert="horz" lIns="137158" tIns="68579" rIns="137158" bIns="68579" rtlCol="0" anchor="b"/>
          <a:lstStyle>
            <a:lvl1pPr algn="l">
              <a:defRPr sz="18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5552661" y="13492240"/>
            <a:ext cx="4247885" cy="712713"/>
          </a:xfrm>
          <a:prstGeom prst="rect">
            <a:avLst/>
          </a:prstGeom>
        </p:spPr>
        <p:txBody>
          <a:bodyPr vert="horz" lIns="137158" tIns="68579" rIns="137158" bIns="68579" rtlCol="0" anchor="b"/>
          <a:lstStyle>
            <a:lvl1pPr algn="r">
              <a:defRPr sz="1800"/>
            </a:lvl1pPr>
          </a:lstStyle>
          <a:p>
            <a:fld id="{B4A670EB-57BA-4A94-9F4C-895F4610FBB7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6248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670EB-57BA-4A94-9F4C-895F4610FBB7}" type="slidenum">
              <a:rPr lang="uk-UA" smtClean="0"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9945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670EB-57BA-4A94-9F4C-895F4610FBB7}" type="slidenum">
              <a:rPr lang="uk-UA" smtClean="0"/>
              <a:t>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33367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670EB-57BA-4A94-9F4C-895F4610FBB7}" type="slidenum">
              <a:rPr lang="uk-UA" smtClean="0"/>
              <a:t>1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76692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DF0770-2C41-6399-6B6F-AE1B1E8983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Підзаголовок 2">
            <a:extLst>
              <a:ext uri="{FF2B5EF4-FFF2-40B4-BE49-F238E27FC236}">
                <a16:creationId xmlns:a16="http://schemas.microsoft.com/office/drawing/2014/main" id="{23B9801F-E330-4D52-DDA8-4068202181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02C86D43-D22A-56A5-B04B-937D57D12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9E7C7CD6-0AFE-02C0-37AA-BB0603414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EF5C8042-32E1-6C6A-8A8A-3524AD1687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64780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6179F0-BA96-D802-DD0D-6C585F1EC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5D32632C-68B4-5F8D-EB1B-AE59CB7ED8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6DA92E57-A818-2A77-2619-57ABE8B55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20E2063A-7394-16F1-CFDE-79C2DB477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82619235-A243-DF24-298F-7A05D497D5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823205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>
            <a:extLst>
              <a:ext uri="{FF2B5EF4-FFF2-40B4-BE49-F238E27FC236}">
                <a16:creationId xmlns:a16="http://schemas.microsoft.com/office/drawing/2014/main" id="{FA1EF104-D647-8444-28CF-DA2B09C2E99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ертикального тексту 2">
            <a:extLst>
              <a:ext uri="{FF2B5EF4-FFF2-40B4-BE49-F238E27FC236}">
                <a16:creationId xmlns:a16="http://schemas.microsoft.com/office/drawing/2014/main" id="{7D5C5300-9989-29B8-982E-DD7DCA4366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CE2B5CCA-B8B2-D8C0-65CB-6E639F8DEE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75175F47-A610-527D-DEF8-7158627E3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46D5E3A7-27BF-33A7-DCBD-52E84C817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77661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Slide">
  <p:cSld name="3_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8"/>
          <p:cNvSpPr txBox="1">
            <a:spLocks noGrp="1"/>
          </p:cNvSpPr>
          <p:nvPr>
            <p:ph type="sldNum" idx="12"/>
          </p:nvPr>
        </p:nvSpPr>
        <p:spPr>
          <a:xfrm>
            <a:off x="11343052" y="6172200"/>
            <a:ext cx="609601" cy="508000"/>
          </a:xfrm>
          <a:prstGeom prst="rect">
            <a:avLst/>
          </a:prstGeom>
          <a:solidFill>
            <a:srgbClr val="00A2DF"/>
          </a:solidFill>
          <a:ln>
            <a:noFill/>
          </a:ln>
        </p:spPr>
        <p:txBody>
          <a:bodyPr spcFirstLastPara="1" wrap="square" lIns="72000" tIns="45700" rIns="72000" bIns="45700" anchor="ctr" anchorCtr="0">
            <a:noAutofit/>
          </a:bodyPr>
          <a:lstStyle>
            <a:lvl1pPr marL="11521" marR="0" lvl="0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1521" marR="0" lvl="1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521" marR="0" lvl="2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1521" marR="0" lvl="3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1521" marR="0" lvl="4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1521" marR="0" lvl="5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1521" marR="0" lvl="6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1521" marR="0" lvl="7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1521" marR="0" lvl="8" indent="0" algn="ctr">
              <a:spcBef>
                <a:spcPts val="0"/>
              </a:spcBef>
              <a:buNone/>
              <a:defRPr sz="726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№›</a:t>
            </a:fld>
            <a:endParaRPr lang="en-US" dirty="0"/>
          </a:p>
        </p:txBody>
      </p:sp>
      <p:sp>
        <p:nvSpPr>
          <p:cNvPr id="19" name="Google Shape;19;p18"/>
          <p:cNvSpPr txBox="1">
            <a:spLocks noGrp="1"/>
          </p:cNvSpPr>
          <p:nvPr>
            <p:ph type="title"/>
          </p:nvPr>
        </p:nvSpPr>
        <p:spPr>
          <a:xfrm>
            <a:off x="-2525" y="359338"/>
            <a:ext cx="8666694" cy="276417"/>
          </a:xfrm>
          <a:prstGeom prst="rect">
            <a:avLst/>
          </a:prstGeom>
          <a:solidFill>
            <a:srgbClr val="00A2DF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8"/>
          <p:cNvSpPr txBox="1">
            <a:spLocks noGrp="1"/>
          </p:cNvSpPr>
          <p:nvPr>
            <p:ph type="subTitle" idx="1"/>
          </p:nvPr>
        </p:nvSpPr>
        <p:spPr>
          <a:xfrm>
            <a:off x="0" y="980729"/>
            <a:ext cx="8664168" cy="711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000"/>
              <a:buFont typeface="Calibri"/>
              <a:buNone/>
              <a:defRPr sz="907">
                <a:solidFill>
                  <a:schemeClr val="accent6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2100"/>
              <a:buFont typeface="Calibri"/>
              <a:buNone/>
              <a:defRPr sz="953"/>
            </a:lvl2pPr>
            <a:lvl3pPr lvl="2" algn="ctr">
              <a:spcBef>
                <a:spcPts val="0"/>
              </a:spcBef>
              <a:spcAft>
                <a:spcPts val="0"/>
              </a:spcAft>
              <a:buSzPts val="1800"/>
              <a:buFont typeface="Calibri"/>
              <a:buNone/>
              <a:defRPr sz="816"/>
            </a:lvl3pPr>
            <a:lvl4pPr lvl="3" algn="ctr"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 sz="680"/>
            </a:lvl4pPr>
            <a:lvl5pPr lvl="4" algn="ctr"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 sz="680"/>
            </a:lvl5pPr>
            <a:lvl6pPr lvl="5" algn="ctr"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 sz="680"/>
            </a:lvl6pPr>
            <a:lvl7pPr lvl="6" algn="ctr"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 sz="680"/>
            </a:lvl7pPr>
            <a:lvl8pPr lvl="7" algn="ctr"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 sz="680"/>
            </a:lvl8pPr>
            <a:lvl9pPr lvl="8" algn="ctr">
              <a:spcBef>
                <a:spcPts val="0"/>
              </a:spcBef>
              <a:spcAft>
                <a:spcPts val="0"/>
              </a:spcAft>
              <a:buSzPts val="1500"/>
              <a:buFont typeface="Calibri"/>
              <a:buNone/>
              <a:defRPr sz="680"/>
            </a:lvl9pPr>
          </a:lstStyle>
          <a:p>
            <a:endParaRPr/>
          </a:p>
        </p:txBody>
      </p:sp>
      <p:sp>
        <p:nvSpPr>
          <p:cNvPr id="21" name="Google Shape;21;p18"/>
          <p:cNvSpPr txBox="1">
            <a:spLocks noGrp="1"/>
          </p:cNvSpPr>
          <p:nvPr>
            <p:ph type="body" idx="2"/>
          </p:nvPr>
        </p:nvSpPr>
        <p:spPr>
          <a:xfrm>
            <a:off x="812802" y="6516054"/>
            <a:ext cx="7851366" cy="62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207386" lvl="0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 sz="454">
                <a:solidFill>
                  <a:srgbClr val="7F7F7F"/>
                </a:solidFill>
              </a:defRPr>
            </a:lvl1pPr>
            <a:lvl2pPr marL="414772" lvl="1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622158" lvl="2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829544" lvl="3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1036930" lvl="4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1244316" lvl="5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1451701" lvl="6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1659087" lvl="7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1866473" lvl="8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8"/>
          <p:cNvSpPr txBox="1">
            <a:spLocks noGrp="1"/>
          </p:cNvSpPr>
          <p:nvPr>
            <p:ph type="body" idx="3"/>
          </p:nvPr>
        </p:nvSpPr>
        <p:spPr>
          <a:xfrm>
            <a:off x="812802" y="1691930"/>
            <a:ext cx="9387655" cy="100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207386" lvl="0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 sz="726"/>
            </a:lvl1pPr>
            <a:lvl2pPr marL="414772" lvl="1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622158" lvl="2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829544" lvl="3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1036930" lvl="4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1244316" lvl="5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1451701" lvl="6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1659087" lvl="7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1866473" lvl="8" indent="-10369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2601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зва та вмі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43776B-65F3-7087-B7F2-59C7E2673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50B16384-BFFE-7356-1826-66358C37EB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3C8CF414-9C19-87FE-7196-AAFF801355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71D82887-CF91-EAB0-1580-874ED1127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22C28324-1413-9FE2-9A0D-EF7F07FE3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197789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Назва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DC708E-1B80-80E2-85CF-2E83BBED7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FF005B0D-B5DF-CD70-9A4E-B443D83E23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73913F20-5AC0-A0DD-76E8-57856C187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08DFF26E-432F-9E16-3437-18042A0AC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B3B7C6ED-4937-AC56-E8BA-058B6D143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66082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3DA7B5-B280-69B0-AC69-5476384A1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B5FBD09D-F21B-1C40-F637-32193316F40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2D18EB04-33F7-652C-E74C-ADF32A19BC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49B927B7-9996-2E41-28E2-3D28E0E367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7A695A62-4AB0-5D82-3D56-52C46903D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611D849E-35EE-3722-DD80-3E874D166B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27474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AA7C61-F370-CA25-A420-A04A161EC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86ED4333-232F-3A33-5631-505465764E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4" name="Місце для вмісту 3">
            <a:extLst>
              <a:ext uri="{FF2B5EF4-FFF2-40B4-BE49-F238E27FC236}">
                <a16:creationId xmlns:a16="http://schemas.microsoft.com/office/drawing/2014/main" id="{6E10B33B-FDD3-DC99-1465-23CFDA46A5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67841EED-4CFA-5790-4536-E197067BEF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6" name="Місце для вмісту 5">
            <a:extLst>
              <a:ext uri="{FF2B5EF4-FFF2-40B4-BE49-F238E27FC236}">
                <a16:creationId xmlns:a16="http://schemas.microsoft.com/office/drawing/2014/main" id="{82DA24E1-2E59-398C-CF2A-A8B405CEB1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>
            <a:extLst>
              <a:ext uri="{FF2B5EF4-FFF2-40B4-BE49-F238E27FC236}">
                <a16:creationId xmlns:a16="http://schemas.microsoft.com/office/drawing/2014/main" id="{BA9DFB6C-23B8-9315-C638-50F1D68B0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8" name="Місце для нижнього колонтитула 7">
            <a:extLst>
              <a:ext uri="{FF2B5EF4-FFF2-40B4-BE49-F238E27FC236}">
                <a16:creationId xmlns:a16="http://schemas.microsoft.com/office/drawing/2014/main" id="{87B966AE-8EF6-ECA3-8EBF-7C154AD24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Місце для номера слайда 8">
            <a:extLst>
              <a:ext uri="{FF2B5EF4-FFF2-40B4-BE49-F238E27FC236}">
                <a16:creationId xmlns:a16="http://schemas.microsoft.com/office/drawing/2014/main" id="{98ACFC39-0567-9F67-165A-338511528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78999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FB1A15A-2A13-D6EB-176E-78E3164097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дати 2">
            <a:extLst>
              <a:ext uri="{FF2B5EF4-FFF2-40B4-BE49-F238E27FC236}">
                <a16:creationId xmlns:a16="http://schemas.microsoft.com/office/drawing/2014/main" id="{1896EB47-B32B-4E83-9CE8-5BACD34A1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4" name="Місце для нижнього колонтитула 3">
            <a:extLst>
              <a:ext uri="{FF2B5EF4-FFF2-40B4-BE49-F238E27FC236}">
                <a16:creationId xmlns:a16="http://schemas.microsoft.com/office/drawing/2014/main" id="{00112461-F78F-2504-7460-789FE804BE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Місце для номера слайда 4">
            <a:extLst>
              <a:ext uri="{FF2B5EF4-FFF2-40B4-BE49-F238E27FC236}">
                <a16:creationId xmlns:a16="http://schemas.microsoft.com/office/drawing/2014/main" id="{E66FAEE0-5197-227C-F97B-5CBEE3571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75045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>
            <a:extLst>
              <a:ext uri="{FF2B5EF4-FFF2-40B4-BE49-F238E27FC236}">
                <a16:creationId xmlns:a16="http://schemas.microsoft.com/office/drawing/2014/main" id="{72B920AE-C554-6E8D-72A5-EA83C9409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3" name="Місце для нижнього колонтитула 2">
            <a:extLst>
              <a:ext uri="{FF2B5EF4-FFF2-40B4-BE49-F238E27FC236}">
                <a16:creationId xmlns:a16="http://schemas.microsoft.com/office/drawing/2014/main" id="{BDBF3EAF-64A2-0B93-565F-374E0B24D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Місце для номера слайда 3">
            <a:extLst>
              <a:ext uri="{FF2B5EF4-FFF2-40B4-BE49-F238E27FC236}">
                <a16:creationId xmlns:a16="http://schemas.microsoft.com/office/drawing/2014/main" id="{ECC8C1F2-3158-FF57-5B31-5D1AD8D29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988332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73B3D5-FADE-B8B0-3B96-D3EB620EC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вмісту 2">
            <a:extLst>
              <a:ext uri="{FF2B5EF4-FFF2-40B4-BE49-F238E27FC236}">
                <a16:creationId xmlns:a16="http://schemas.microsoft.com/office/drawing/2014/main" id="{23AC8826-A7AE-1719-BF0F-755F522935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9647EA4A-18EE-9789-FCDE-89D50567EA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F731F61A-773B-7F7F-4825-53AF0B49C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3F685A5E-DA8D-DE87-E3BA-EF784E736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BEF09AD4-DEA5-3F64-B3D8-C9598FA54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5748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і пі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533DE5-ADB1-C794-3F47-CA7EB5CB1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зображення 2">
            <a:extLst>
              <a:ext uri="{FF2B5EF4-FFF2-40B4-BE49-F238E27FC236}">
                <a16:creationId xmlns:a16="http://schemas.microsoft.com/office/drawing/2014/main" id="{2B7BC587-1B2C-801A-FAF6-C27B012DB0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Місце для тексту 3">
            <a:extLst>
              <a:ext uri="{FF2B5EF4-FFF2-40B4-BE49-F238E27FC236}">
                <a16:creationId xmlns:a16="http://schemas.microsoft.com/office/drawing/2014/main" id="{67656EE5-66BA-C371-D7CC-6FAAB85F22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Клацніть, щоб відредагувати стилі зразків тексту</a:t>
            </a:r>
          </a:p>
        </p:txBody>
      </p:sp>
      <p:sp>
        <p:nvSpPr>
          <p:cNvPr id="5" name="Місце для дати 4">
            <a:extLst>
              <a:ext uri="{FF2B5EF4-FFF2-40B4-BE49-F238E27FC236}">
                <a16:creationId xmlns:a16="http://schemas.microsoft.com/office/drawing/2014/main" id="{7F6C2145-8710-8764-7A8D-55785CC07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6" name="Місце для нижнього колонтитула 5">
            <a:extLst>
              <a:ext uri="{FF2B5EF4-FFF2-40B4-BE49-F238E27FC236}">
                <a16:creationId xmlns:a16="http://schemas.microsoft.com/office/drawing/2014/main" id="{EEF8B0C7-E112-BF26-8268-519F858318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Місце для номера слайда 6">
            <a:extLst>
              <a:ext uri="{FF2B5EF4-FFF2-40B4-BE49-F238E27FC236}">
                <a16:creationId xmlns:a16="http://schemas.microsoft.com/office/drawing/2014/main" id="{EE774EE2-F7D4-2472-900C-EE7A7674A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26910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0BA61D-19B5-EE26-96B4-B59F0FC43D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91787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6" progId="TCLayout.ActiveDocument.1">
                  <p:embed/>
                </p:oleObj>
              </mc:Choice>
              <mc:Fallback>
                <p:oleObj name="think-cell Slide" r:id="rId1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Місце для заголовка 1">
            <a:extLst>
              <a:ext uri="{FF2B5EF4-FFF2-40B4-BE49-F238E27FC236}">
                <a16:creationId xmlns:a16="http://schemas.microsoft.com/office/drawing/2014/main" id="{7579C7BF-E9D1-01E4-03A2-82753504F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Клацніть, щоб редагувати стиль зразка заголовка</a:t>
            </a:r>
          </a:p>
        </p:txBody>
      </p:sp>
      <p:sp>
        <p:nvSpPr>
          <p:cNvPr id="3" name="Місце для тексту 2">
            <a:extLst>
              <a:ext uri="{FF2B5EF4-FFF2-40B4-BE49-F238E27FC236}">
                <a16:creationId xmlns:a16="http://schemas.microsoft.com/office/drawing/2014/main" id="{8C081E71-1FC3-8F8E-7343-0B152FAA26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Клацніть, щоб відредагувати стилі зразків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>
            <a:extLst>
              <a:ext uri="{FF2B5EF4-FFF2-40B4-BE49-F238E27FC236}">
                <a16:creationId xmlns:a16="http://schemas.microsoft.com/office/drawing/2014/main" id="{72861CEC-4A90-B5B2-1CF9-5D66B547AF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C0ECEF4-E053-4E27-9979-2756FCB11025}" type="datetimeFigureOut">
              <a:rPr lang="uk-UA" smtClean="0"/>
              <a:t>05.04.2024</a:t>
            </a:fld>
            <a:endParaRPr lang="uk-UA"/>
          </a:p>
        </p:txBody>
      </p:sp>
      <p:sp>
        <p:nvSpPr>
          <p:cNvPr id="5" name="Місце для нижнього колонтитула 4">
            <a:extLst>
              <a:ext uri="{FF2B5EF4-FFF2-40B4-BE49-F238E27FC236}">
                <a16:creationId xmlns:a16="http://schemas.microsoft.com/office/drawing/2014/main" id="{2C371335-154C-8204-9D52-3904F4B436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Місце для номера слайда 5">
            <a:extLst>
              <a:ext uri="{FF2B5EF4-FFF2-40B4-BE49-F238E27FC236}">
                <a16:creationId xmlns:a16="http://schemas.microsoft.com/office/drawing/2014/main" id="{B47BA037-683D-B798-BFB9-B5FE0FD8E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3060DC8-03C2-449B-BD8A-26D07957027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83277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30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microsoft.com/office/2007/relationships/hdphoto" Target="../media/hdphoto3.wdp"/><Relationship Id="rId5" Type="http://schemas.openxmlformats.org/officeDocument/2006/relationships/image" Target="../media/image32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www.nerc.gov.ua/acts/pro-vstanovlennya-tarifiv-na-poslugi-zberigannya-zakachuvannya-vidboru-prirodnogo-gazu-v-pidzemnih-shovishchah-gazu-ukrtransgaz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microsoft.com/office/2007/relationships/hdphoto" Target="../media/hdphoto2.wdp"/><Relationship Id="rId3" Type="http://schemas.openxmlformats.org/officeDocument/2006/relationships/oleObject" Target="../embeddings/oleObject9.bin"/><Relationship Id="rId7" Type="http://schemas.openxmlformats.org/officeDocument/2006/relationships/image" Target="../media/image14.svg"/><Relationship Id="rId12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0" Type="http://schemas.openxmlformats.org/officeDocument/2006/relationships/image" Target="../media/image16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0.jpe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9.png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11" Type="http://schemas.openxmlformats.org/officeDocument/2006/relationships/image" Target="../media/image24.png"/><Relationship Id="rId5" Type="http://schemas.openxmlformats.org/officeDocument/2006/relationships/image" Target="../media/image19.jpeg"/><Relationship Id="rId15" Type="http://schemas.openxmlformats.org/officeDocument/2006/relationships/image" Target="../media/image28.jpg"/><Relationship Id="rId10" Type="http://schemas.openxmlformats.org/officeDocument/2006/relationships/image" Target="../media/image23.jpeg"/><Relationship Id="rId4" Type="http://schemas.openxmlformats.org/officeDocument/2006/relationships/image" Target="../media/image1.emf"/><Relationship Id="rId9" Type="http://schemas.openxmlformats.org/officeDocument/2006/relationships/image" Target="../media/image22.tif"/><Relationship Id="rId1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2029B5-4D64-38F4-9909-D5A13AB95C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524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2029B5-4D64-38F4-9909-D5A13AB95C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Групувати 8">
            <a:extLst>
              <a:ext uri="{FF2B5EF4-FFF2-40B4-BE49-F238E27FC236}">
                <a16:creationId xmlns:a16="http://schemas.microsoft.com/office/drawing/2014/main" id="{444AE8C3-861F-79B6-87BC-71227706051F}"/>
              </a:ext>
            </a:extLst>
          </p:cNvPr>
          <p:cNvGrpSpPr/>
          <p:nvPr/>
        </p:nvGrpSpPr>
        <p:grpSpPr>
          <a:xfrm>
            <a:off x="6433627" y="793584"/>
            <a:ext cx="5050328" cy="5706043"/>
            <a:chOff x="6332027" y="742784"/>
            <a:chExt cx="5050328" cy="5706043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51D751F9-BCB7-F67D-C342-57BF9AF67E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54630" y="742784"/>
              <a:ext cx="2960914" cy="676954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4ED2709-4E6D-C1C6-CF41-83084FFC7709}"/>
                </a:ext>
              </a:extLst>
            </p:cNvPr>
            <p:cNvSpPr txBox="1"/>
            <p:nvPr/>
          </p:nvSpPr>
          <p:spPr>
            <a:xfrm>
              <a:off x="6332027" y="2651019"/>
              <a:ext cx="5050328" cy="1254648"/>
            </a:xfrm>
            <a:custGeom>
              <a:avLst/>
              <a:gdLst/>
              <a:ahLst/>
              <a:cxnLst/>
              <a:rect l="l" t="t" r="r" b="b"/>
              <a:pathLst>
                <a:path w="4396089" h="1092116">
                  <a:moveTo>
                    <a:pt x="402518" y="843504"/>
                  </a:moveTo>
                  <a:cubicBezTo>
                    <a:pt x="374506" y="843990"/>
                    <a:pt x="351666" y="853362"/>
                    <a:pt x="333999" y="871618"/>
                  </a:cubicBezTo>
                  <a:cubicBezTo>
                    <a:pt x="316331" y="889874"/>
                    <a:pt x="307216" y="914096"/>
                    <a:pt x="306652" y="944284"/>
                  </a:cubicBezTo>
                  <a:cubicBezTo>
                    <a:pt x="307292" y="973577"/>
                    <a:pt x="316561" y="997543"/>
                    <a:pt x="334459" y="1016183"/>
                  </a:cubicBezTo>
                  <a:cubicBezTo>
                    <a:pt x="352357" y="1034824"/>
                    <a:pt x="375043" y="1044451"/>
                    <a:pt x="402518" y="1045066"/>
                  </a:cubicBezTo>
                  <a:cubicBezTo>
                    <a:pt x="432877" y="1044400"/>
                    <a:pt x="456451" y="1034670"/>
                    <a:pt x="473240" y="1015876"/>
                  </a:cubicBezTo>
                  <a:cubicBezTo>
                    <a:pt x="490028" y="997082"/>
                    <a:pt x="498547" y="973218"/>
                    <a:pt x="498794" y="944284"/>
                  </a:cubicBezTo>
                  <a:cubicBezTo>
                    <a:pt x="498162" y="914096"/>
                    <a:pt x="488876" y="889874"/>
                    <a:pt x="470935" y="871618"/>
                  </a:cubicBezTo>
                  <a:cubicBezTo>
                    <a:pt x="452994" y="853362"/>
                    <a:pt x="430188" y="843990"/>
                    <a:pt x="402518" y="843504"/>
                  </a:cubicBezTo>
                  <a:close/>
                  <a:moveTo>
                    <a:pt x="3799007" y="801369"/>
                  </a:moveTo>
                  <a:lnTo>
                    <a:pt x="3839101" y="801369"/>
                  </a:lnTo>
                  <a:lnTo>
                    <a:pt x="3996831" y="1000511"/>
                  </a:lnTo>
                  <a:lnTo>
                    <a:pt x="3996831" y="801369"/>
                  </a:lnTo>
                  <a:lnTo>
                    <a:pt x="4043881" y="801369"/>
                  </a:lnTo>
                  <a:lnTo>
                    <a:pt x="4043881" y="1087611"/>
                  </a:lnTo>
                  <a:lnTo>
                    <a:pt x="4003787" y="1087611"/>
                  </a:lnTo>
                  <a:lnTo>
                    <a:pt x="3846057" y="889285"/>
                  </a:lnTo>
                  <a:lnTo>
                    <a:pt x="3846057" y="1087611"/>
                  </a:lnTo>
                  <a:lnTo>
                    <a:pt x="3799007" y="1087611"/>
                  </a:lnTo>
                  <a:close/>
                  <a:moveTo>
                    <a:pt x="3662275" y="801369"/>
                  </a:moveTo>
                  <a:lnTo>
                    <a:pt x="3712601" y="801369"/>
                  </a:lnTo>
                  <a:lnTo>
                    <a:pt x="3712601" y="1087611"/>
                  </a:lnTo>
                  <a:lnTo>
                    <a:pt x="3662275" y="1087611"/>
                  </a:lnTo>
                  <a:close/>
                  <a:moveTo>
                    <a:pt x="3372848" y="801369"/>
                  </a:moveTo>
                  <a:lnTo>
                    <a:pt x="3609121" y="801369"/>
                  </a:lnTo>
                  <a:lnTo>
                    <a:pt x="3609121" y="848419"/>
                  </a:lnTo>
                  <a:lnTo>
                    <a:pt x="3516148" y="848419"/>
                  </a:lnTo>
                  <a:lnTo>
                    <a:pt x="3516148" y="1087611"/>
                  </a:lnTo>
                  <a:lnTo>
                    <a:pt x="3465821" y="1087611"/>
                  </a:lnTo>
                  <a:lnTo>
                    <a:pt x="3465821" y="848419"/>
                  </a:lnTo>
                  <a:lnTo>
                    <a:pt x="3372848" y="848419"/>
                  </a:lnTo>
                  <a:close/>
                  <a:moveTo>
                    <a:pt x="3170356" y="801369"/>
                  </a:moveTo>
                  <a:lnTo>
                    <a:pt x="3336183" y="801369"/>
                  </a:lnTo>
                  <a:lnTo>
                    <a:pt x="3336183" y="848419"/>
                  </a:lnTo>
                  <a:lnTo>
                    <a:pt x="3220683" y="848419"/>
                  </a:lnTo>
                  <a:lnTo>
                    <a:pt x="3220683" y="919326"/>
                  </a:lnTo>
                  <a:lnTo>
                    <a:pt x="3323896" y="919326"/>
                  </a:lnTo>
                  <a:lnTo>
                    <a:pt x="3323896" y="966376"/>
                  </a:lnTo>
                  <a:lnTo>
                    <a:pt x="3220683" y="966376"/>
                  </a:lnTo>
                  <a:lnTo>
                    <a:pt x="3220683" y="1040561"/>
                  </a:lnTo>
                  <a:lnTo>
                    <a:pt x="3340279" y="1040561"/>
                  </a:lnTo>
                  <a:lnTo>
                    <a:pt x="3340279" y="1087611"/>
                  </a:lnTo>
                  <a:lnTo>
                    <a:pt x="3170356" y="1087611"/>
                  </a:lnTo>
                  <a:close/>
                  <a:moveTo>
                    <a:pt x="2932232" y="801369"/>
                  </a:moveTo>
                  <a:lnTo>
                    <a:pt x="3098058" y="801369"/>
                  </a:lnTo>
                  <a:lnTo>
                    <a:pt x="3098058" y="848419"/>
                  </a:lnTo>
                  <a:lnTo>
                    <a:pt x="2982558" y="848419"/>
                  </a:lnTo>
                  <a:lnTo>
                    <a:pt x="2982558" y="919326"/>
                  </a:lnTo>
                  <a:lnTo>
                    <a:pt x="3085771" y="919326"/>
                  </a:lnTo>
                  <a:lnTo>
                    <a:pt x="3085771" y="966376"/>
                  </a:lnTo>
                  <a:lnTo>
                    <a:pt x="2982558" y="966376"/>
                  </a:lnTo>
                  <a:lnTo>
                    <a:pt x="2982558" y="1040561"/>
                  </a:lnTo>
                  <a:lnTo>
                    <a:pt x="3102154" y="1040561"/>
                  </a:lnTo>
                  <a:lnTo>
                    <a:pt x="3102154" y="1087611"/>
                  </a:lnTo>
                  <a:lnTo>
                    <a:pt x="2932232" y="1087611"/>
                  </a:lnTo>
                  <a:close/>
                  <a:moveTo>
                    <a:pt x="2560756" y="801369"/>
                  </a:moveTo>
                  <a:lnTo>
                    <a:pt x="2611493" y="801369"/>
                  </a:lnTo>
                  <a:lnTo>
                    <a:pt x="2709408" y="935084"/>
                  </a:lnTo>
                  <a:lnTo>
                    <a:pt x="2802813" y="801369"/>
                  </a:lnTo>
                  <a:lnTo>
                    <a:pt x="2850275" y="801369"/>
                  </a:lnTo>
                  <a:lnTo>
                    <a:pt x="2850275" y="1087611"/>
                  </a:lnTo>
                  <a:lnTo>
                    <a:pt x="2800358" y="1087611"/>
                  </a:lnTo>
                  <a:lnTo>
                    <a:pt x="2800358" y="880698"/>
                  </a:lnTo>
                  <a:lnTo>
                    <a:pt x="2709818" y="1007871"/>
                  </a:lnTo>
                  <a:lnTo>
                    <a:pt x="2702443" y="1007871"/>
                  </a:lnTo>
                  <a:lnTo>
                    <a:pt x="2611083" y="881924"/>
                  </a:lnTo>
                  <a:lnTo>
                    <a:pt x="2611083" y="1087611"/>
                  </a:lnTo>
                  <a:lnTo>
                    <a:pt x="2560756" y="1087611"/>
                  </a:lnTo>
                  <a:close/>
                  <a:moveTo>
                    <a:pt x="2236906" y="801369"/>
                  </a:moveTo>
                  <a:lnTo>
                    <a:pt x="2402733" y="801369"/>
                  </a:lnTo>
                  <a:lnTo>
                    <a:pt x="2402733" y="848419"/>
                  </a:lnTo>
                  <a:lnTo>
                    <a:pt x="2287233" y="848419"/>
                  </a:lnTo>
                  <a:lnTo>
                    <a:pt x="2287233" y="919326"/>
                  </a:lnTo>
                  <a:lnTo>
                    <a:pt x="2390446" y="919326"/>
                  </a:lnTo>
                  <a:lnTo>
                    <a:pt x="2390446" y="966376"/>
                  </a:lnTo>
                  <a:lnTo>
                    <a:pt x="2287233" y="966376"/>
                  </a:lnTo>
                  <a:lnTo>
                    <a:pt x="2287233" y="1040561"/>
                  </a:lnTo>
                  <a:lnTo>
                    <a:pt x="2406829" y="1040561"/>
                  </a:lnTo>
                  <a:lnTo>
                    <a:pt x="2406829" y="1087611"/>
                  </a:lnTo>
                  <a:lnTo>
                    <a:pt x="2236906" y="1087611"/>
                  </a:lnTo>
                  <a:close/>
                  <a:moveTo>
                    <a:pt x="1998781" y="801369"/>
                  </a:moveTo>
                  <a:lnTo>
                    <a:pt x="2164608" y="801369"/>
                  </a:lnTo>
                  <a:lnTo>
                    <a:pt x="2164608" y="848419"/>
                  </a:lnTo>
                  <a:lnTo>
                    <a:pt x="2049108" y="848419"/>
                  </a:lnTo>
                  <a:lnTo>
                    <a:pt x="2049108" y="919326"/>
                  </a:lnTo>
                  <a:lnTo>
                    <a:pt x="2152321" y="919326"/>
                  </a:lnTo>
                  <a:lnTo>
                    <a:pt x="2152321" y="966376"/>
                  </a:lnTo>
                  <a:lnTo>
                    <a:pt x="2049108" y="966376"/>
                  </a:lnTo>
                  <a:lnTo>
                    <a:pt x="2049108" y="1040561"/>
                  </a:lnTo>
                  <a:lnTo>
                    <a:pt x="2168704" y="1040561"/>
                  </a:lnTo>
                  <a:lnTo>
                    <a:pt x="2168704" y="1087611"/>
                  </a:lnTo>
                  <a:lnTo>
                    <a:pt x="1998781" y="1087611"/>
                  </a:lnTo>
                  <a:close/>
                  <a:moveTo>
                    <a:pt x="1715499" y="801369"/>
                  </a:moveTo>
                  <a:lnTo>
                    <a:pt x="1951772" y="801369"/>
                  </a:lnTo>
                  <a:lnTo>
                    <a:pt x="1951772" y="848419"/>
                  </a:lnTo>
                  <a:lnTo>
                    <a:pt x="1858799" y="848419"/>
                  </a:lnTo>
                  <a:lnTo>
                    <a:pt x="1858799" y="1087611"/>
                  </a:lnTo>
                  <a:lnTo>
                    <a:pt x="1808472" y="1087611"/>
                  </a:lnTo>
                  <a:lnTo>
                    <a:pt x="1808472" y="848419"/>
                  </a:lnTo>
                  <a:lnTo>
                    <a:pt x="1715499" y="848419"/>
                  </a:lnTo>
                  <a:close/>
                  <a:moveTo>
                    <a:pt x="1458324" y="801369"/>
                  </a:moveTo>
                  <a:lnTo>
                    <a:pt x="1694597" y="801369"/>
                  </a:lnTo>
                  <a:lnTo>
                    <a:pt x="1694597" y="848419"/>
                  </a:lnTo>
                  <a:lnTo>
                    <a:pt x="1601624" y="848419"/>
                  </a:lnTo>
                  <a:lnTo>
                    <a:pt x="1601624" y="1087611"/>
                  </a:lnTo>
                  <a:lnTo>
                    <a:pt x="1551297" y="1087611"/>
                  </a:lnTo>
                  <a:lnTo>
                    <a:pt x="1551297" y="848419"/>
                  </a:lnTo>
                  <a:lnTo>
                    <a:pt x="1458324" y="848419"/>
                  </a:lnTo>
                  <a:close/>
                  <a:moveTo>
                    <a:pt x="1357225" y="801369"/>
                  </a:moveTo>
                  <a:lnTo>
                    <a:pt x="1407552" y="801369"/>
                  </a:lnTo>
                  <a:lnTo>
                    <a:pt x="1407552" y="1087611"/>
                  </a:lnTo>
                  <a:lnTo>
                    <a:pt x="1357225" y="1087611"/>
                  </a:lnTo>
                  <a:close/>
                  <a:moveTo>
                    <a:pt x="979607" y="801369"/>
                  </a:moveTo>
                  <a:lnTo>
                    <a:pt x="1030343" y="801369"/>
                  </a:lnTo>
                  <a:lnTo>
                    <a:pt x="1128258" y="935084"/>
                  </a:lnTo>
                  <a:lnTo>
                    <a:pt x="1221663" y="801369"/>
                  </a:lnTo>
                  <a:lnTo>
                    <a:pt x="1269125" y="801369"/>
                  </a:lnTo>
                  <a:lnTo>
                    <a:pt x="1269125" y="1087611"/>
                  </a:lnTo>
                  <a:lnTo>
                    <a:pt x="1219208" y="1087611"/>
                  </a:lnTo>
                  <a:lnTo>
                    <a:pt x="1219208" y="880698"/>
                  </a:lnTo>
                  <a:lnTo>
                    <a:pt x="1128668" y="1007871"/>
                  </a:lnTo>
                  <a:lnTo>
                    <a:pt x="1121293" y="1007871"/>
                  </a:lnTo>
                  <a:lnTo>
                    <a:pt x="1029933" y="881924"/>
                  </a:lnTo>
                  <a:lnTo>
                    <a:pt x="1029933" y="1087611"/>
                  </a:lnTo>
                  <a:lnTo>
                    <a:pt x="979607" y="1087611"/>
                  </a:lnTo>
                  <a:close/>
                  <a:moveTo>
                    <a:pt x="608132" y="801369"/>
                  </a:moveTo>
                  <a:lnTo>
                    <a:pt x="658868" y="801369"/>
                  </a:lnTo>
                  <a:lnTo>
                    <a:pt x="756783" y="935084"/>
                  </a:lnTo>
                  <a:lnTo>
                    <a:pt x="850188" y="801369"/>
                  </a:lnTo>
                  <a:lnTo>
                    <a:pt x="897650" y="801369"/>
                  </a:lnTo>
                  <a:lnTo>
                    <a:pt x="897650" y="1087611"/>
                  </a:lnTo>
                  <a:lnTo>
                    <a:pt x="847733" y="1087611"/>
                  </a:lnTo>
                  <a:lnTo>
                    <a:pt x="847733" y="880698"/>
                  </a:lnTo>
                  <a:lnTo>
                    <a:pt x="757193" y="1007871"/>
                  </a:lnTo>
                  <a:lnTo>
                    <a:pt x="749818" y="1007871"/>
                  </a:lnTo>
                  <a:lnTo>
                    <a:pt x="658458" y="881924"/>
                  </a:lnTo>
                  <a:lnTo>
                    <a:pt x="658458" y="1087611"/>
                  </a:lnTo>
                  <a:lnTo>
                    <a:pt x="608132" y="1087611"/>
                  </a:lnTo>
                  <a:close/>
                  <a:moveTo>
                    <a:pt x="4244478" y="796454"/>
                  </a:moveTo>
                  <a:cubicBezTo>
                    <a:pt x="4264785" y="796514"/>
                    <a:pt x="4282349" y="799054"/>
                    <a:pt x="4297171" y="804074"/>
                  </a:cubicBezTo>
                  <a:cubicBezTo>
                    <a:pt x="4311993" y="809094"/>
                    <a:pt x="4325145" y="816237"/>
                    <a:pt x="4336627" y="825502"/>
                  </a:cubicBezTo>
                  <a:lnTo>
                    <a:pt x="4315353" y="865634"/>
                  </a:lnTo>
                  <a:cubicBezTo>
                    <a:pt x="4307945" y="858795"/>
                    <a:pt x="4298489" y="853416"/>
                    <a:pt x="4286984" y="849498"/>
                  </a:cubicBezTo>
                  <a:cubicBezTo>
                    <a:pt x="4275479" y="845579"/>
                    <a:pt x="4263359" y="843581"/>
                    <a:pt x="4250623" y="843504"/>
                  </a:cubicBezTo>
                  <a:cubicBezTo>
                    <a:pt x="4222431" y="843709"/>
                    <a:pt x="4199538" y="852519"/>
                    <a:pt x="4181946" y="869934"/>
                  </a:cubicBezTo>
                  <a:cubicBezTo>
                    <a:pt x="4164355" y="887349"/>
                    <a:pt x="4155289" y="912137"/>
                    <a:pt x="4154752" y="944298"/>
                  </a:cubicBezTo>
                  <a:cubicBezTo>
                    <a:pt x="4155161" y="975188"/>
                    <a:pt x="4164073" y="999608"/>
                    <a:pt x="4181485" y="1017560"/>
                  </a:cubicBezTo>
                  <a:cubicBezTo>
                    <a:pt x="4198898" y="1035512"/>
                    <a:pt x="4222353" y="1044680"/>
                    <a:pt x="4251853" y="1045066"/>
                  </a:cubicBezTo>
                  <a:cubicBezTo>
                    <a:pt x="4263341" y="1044887"/>
                    <a:pt x="4274677" y="1042888"/>
                    <a:pt x="4285858" y="1039071"/>
                  </a:cubicBezTo>
                  <a:cubicBezTo>
                    <a:pt x="4297040" y="1035254"/>
                    <a:pt x="4305507" y="1030694"/>
                    <a:pt x="4311261" y="1025391"/>
                  </a:cubicBezTo>
                  <a:lnTo>
                    <a:pt x="4311261" y="980302"/>
                  </a:lnTo>
                  <a:lnTo>
                    <a:pt x="4242019" y="980302"/>
                  </a:lnTo>
                  <a:lnTo>
                    <a:pt x="4242019" y="933252"/>
                  </a:lnTo>
                  <a:lnTo>
                    <a:pt x="4358311" y="933252"/>
                  </a:lnTo>
                  <a:lnTo>
                    <a:pt x="4358311" y="1052021"/>
                  </a:lnTo>
                  <a:cubicBezTo>
                    <a:pt x="4344971" y="1064789"/>
                    <a:pt x="4328376" y="1074643"/>
                    <a:pt x="4308527" y="1081581"/>
                  </a:cubicBezTo>
                  <a:cubicBezTo>
                    <a:pt x="4288677" y="1088519"/>
                    <a:pt x="4269512" y="1092031"/>
                    <a:pt x="4251033" y="1092116"/>
                  </a:cubicBezTo>
                  <a:cubicBezTo>
                    <a:pt x="4203757" y="1091538"/>
                    <a:pt x="4167117" y="1078063"/>
                    <a:pt x="4141112" y="1051691"/>
                  </a:cubicBezTo>
                  <a:cubicBezTo>
                    <a:pt x="4115107" y="1025320"/>
                    <a:pt x="4101923" y="989522"/>
                    <a:pt x="4101559" y="944298"/>
                  </a:cubicBezTo>
                  <a:cubicBezTo>
                    <a:pt x="4101699" y="916547"/>
                    <a:pt x="4107555" y="891570"/>
                    <a:pt x="4119127" y="869367"/>
                  </a:cubicBezTo>
                  <a:cubicBezTo>
                    <a:pt x="4130700" y="847164"/>
                    <a:pt x="4147143" y="829536"/>
                    <a:pt x="4168457" y="816483"/>
                  </a:cubicBezTo>
                  <a:cubicBezTo>
                    <a:pt x="4189771" y="803431"/>
                    <a:pt x="4215111" y="796754"/>
                    <a:pt x="4244478" y="796454"/>
                  </a:cubicBezTo>
                  <a:close/>
                  <a:moveTo>
                    <a:pt x="402518" y="796454"/>
                  </a:moveTo>
                  <a:cubicBezTo>
                    <a:pt x="431190" y="796625"/>
                    <a:pt x="456731" y="802785"/>
                    <a:pt x="479142" y="814934"/>
                  </a:cubicBezTo>
                  <a:cubicBezTo>
                    <a:pt x="501553" y="827082"/>
                    <a:pt x="519230" y="844192"/>
                    <a:pt x="532173" y="866264"/>
                  </a:cubicBezTo>
                  <a:cubicBezTo>
                    <a:pt x="545115" y="888336"/>
                    <a:pt x="551720" y="914343"/>
                    <a:pt x="551988" y="944284"/>
                  </a:cubicBezTo>
                  <a:cubicBezTo>
                    <a:pt x="551720" y="973194"/>
                    <a:pt x="545115" y="998715"/>
                    <a:pt x="532173" y="1020848"/>
                  </a:cubicBezTo>
                  <a:cubicBezTo>
                    <a:pt x="519230" y="1042981"/>
                    <a:pt x="501553" y="1060334"/>
                    <a:pt x="479142" y="1072908"/>
                  </a:cubicBezTo>
                  <a:cubicBezTo>
                    <a:pt x="456731" y="1085481"/>
                    <a:pt x="431190" y="1091884"/>
                    <a:pt x="402518" y="1092116"/>
                  </a:cubicBezTo>
                  <a:cubicBezTo>
                    <a:pt x="373851" y="1091945"/>
                    <a:pt x="348345" y="1085785"/>
                    <a:pt x="326000" y="1073636"/>
                  </a:cubicBezTo>
                  <a:cubicBezTo>
                    <a:pt x="303655" y="1061487"/>
                    <a:pt x="286044" y="1044377"/>
                    <a:pt x="273167" y="1022305"/>
                  </a:cubicBezTo>
                  <a:cubicBezTo>
                    <a:pt x="260290" y="1000232"/>
                    <a:pt x="253721" y="974226"/>
                    <a:pt x="253459" y="944284"/>
                  </a:cubicBezTo>
                  <a:cubicBezTo>
                    <a:pt x="253668" y="916278"/>
                    <a:pt x="260025" y="891181"/>
                    <a:pt x="272530" y="868996"/>
                  </a:cubicBezTo>
                  <a:cubicBezTo>
                    <a:pt x="285035" y="846810"/>
                    <a:pt x="302434" y="829244"/>
                    <a:pt x="324725" y="816299"/>
                  </a:cubicBezTo>
                  <a:cubicBezTo>
                    <a:pt x="347017" y="803354"/>
                    <a:pt x="372948" y="796739"/>
                    <a:pt x="402518" y="796454"/>
                  </a:cubicBezTo>
                  <a:close/>
                  <a:moveTo>
                    <a:pt x="142860" y="796454"/>
                  </a:moveTo>
                  <a:cubicBezTo>
                    <a:pt x="161624" y="796590"/>
                    <a:pt x="178468" y="799284"/>
                    <a:pt x="193392" y="804534"/>
                  </a:cubicBezTo>
                  <a:cubicBezTo>
                    <a:pt x="208316" y="809785"/>
                    <a:pt x="220552" y="816774"/>
                    <a:pt x="230100" y="825502"/>
                  </a:cubicBezTo>
                  <a:lnTo>
                    <a:pt x="207573" y="862758"/>
                  </a:lnTo>
                  <a:cubicBezTo>
                    <a:pt x="199143" y="856937"/>
                    <a:pt x="189791" y="852294"/>
                    <a:pt x="179517" y="848829"/>
                  </a:cubicBezTo>
                  <a:cubicBezTo>
                    <a:pt x="169244" y="845364"/>
                    <a:pt x="157025" y="843589"/>
                    <a:pt x="142860" y="843504"/>
                  </a:cubicBezTo>
                  <a:cubicBezTo>
                    <a:pt x="115675" y="843811"/>
                    <a:pt x="93455" y="852824"/>
                    <a:pt x="76202" y="870542"/>
                  </a:cubicBezTo>
                  <a:cubicBezTo>
                    <a:pt x="58949" y="888261"/>
                    <a:pt x="50041" y="912841"/>
                    <a:pt x="49477" y="944284"/>
                  </a:cubicBezTo>
                  <a:cubicBezTo>
                    <a:pt x="49947" y="974652"/>
                    <a:pt x="59145" y="998926"/>
                    <a:pt x="77072" y="1017105"/>
                  </a:cubicBezTo>
                  <a:cubicBezTo>
                    <a:pt x="95000" y="1035285"/>
                    <a:pt x="118841" y="1044605"/>
                    <a:pt x="148595" y="1045066"/>
                  </a:cubicBezTo>
                  <a:cubicBezTo>
                    <a:pt x="160771" y="1045057"/>
                    <a:pt x="172666" y="1043129"/>
                    <a:pt x="184279" y="1039279"/>
                  </a:cubicBezTo>
                  <a:cubicBezTo>
                    <a:pt x="195892" y="1035430"/>
                    <a:pt x="206660" y="1029711"/>
                    <a:pt x="216584" y="1022124"/>
                  </a:cubicBezTo>
                  <a:lnTo>
                    <a:pt x="235834" y="1059795"/>
                  </a:lnTo>
                  <a:cubicBezTo>
                    <a:pt x="226456" y="1069554"/>
                    <a:pt x="213572" y="1077345"/>
                    <a:pt x="197180" y="1083166"/>
                  </a:cubicBezTo>
                  <a:cubicBezTo>
                    <a:pt x="180789" y="1088988"/>
                    <a:pt x="163092" y="1091971"/>
                    <a:pt x="144089" y="1092116"/>
                  </a:cubicBezTo>
                  <a:cubicBezTo>
                    <a:pt x="99584" y="1091538"/>
                    <a:pt x="63994" y="1078063"/>
                    <a:pt x="37318" y="1051692"/>
                  </a:cubicBezTo>
                  <a:cubicBezTo>
                    <a:pt x="23980" y="1038506"/>
                    <a:pt x="13892" y="1022962"/>
                    <a:pt x="7053" y="1005061"/>
                  </a:cubicBezTo>
                  <a:lnTo>
                    <a:pt x="0" y="965259"/>
                  </a:lnTo>
                  <a:lnTo>
                    <a:pt x="0" y="927882"/>
                  </a:lnTo>
                  <a:lnTo>
                    <a:pt x="13261" y="869360"/>
                  </a:lnTo>
                  <a:cubicBezTo>
                    <a:pt x="24521" y="847159"/>
                    <a:pt x="41037" y="829533"/>
                    <a:pt x="62810" y="816481"/>
                  </a:cubicBezTo>
                  <a:cubicBezTo>
                    <a:pt x="84582" y="803430"/>
                    <a:pt x="111266" y="796754"/>
                    <a:pt x="142860" y="796454"/>
                  </a:cubicBezTo>
                  <a:close/>
                  <a:moveTo>
                    <a:pt x="3325750" y="115215"/>
                  </a:moveTo>
                  <a:lnTo>
                    <a:pt x="3255113" y="285979"/>
                  </a:lnTo>
                  <a:lnTo>
                    <a:pt x="3395702" y="285979"/>
                  </a:lnTo>
                  <a:close/>
                  <a:moveTo>
                    <a:pt x="2843776" y="84954"/>
                  </a:moveTo>
                  <a:cubicBezTo>
                    <a:pt x="2835885" y="84968"/>
                    <a:pt x="2827135" y="85111"/>
                    <a:pt x="2817529" y="85383"/>
                  </a:cubicBezTo>
                  <a:cubicBezTo>
                    <a:pt x="2807922" y="85654"/>
                    <a:pt x="2797458" y="85969"/>
                    <a:pt x="2786135" y="86326"/>
                  </a:cubicBezTo>
                  <a:lnTo>
                    <a:pt x="2786135" y="229057"/>
                  </a:lnTo>
                  <a:lnTo>
                    <a:pt x="2841031" y="229057"/>
                  </a:lnTo>
                  <a:cubicBezTo>
                    <a:pt x="2866177" y="229057"/>
                    <a:pt x="2887592" y="222882"/>
                    <a:pt x="2905277" y="210530"/>
                  </a:cubicBezTo>
                  <a:cubicBezTo>
                    <a:pt x="2922961" y="198178"/>
                    <a:pt x="2932196" y="179650"/>
                    <a:pt x="2932982" y="154947"/>
                  </a:cubicBezTo>
                  <a:cubicBezTo>
                    <a:pt x="2933554" y="135519"/>
                    <a:pt x="2927264" y="119135"/>
                    <a:pt x="2914112" y="105797"/>
                  </a:cubicBezTo>
                  <a:cubicBezTo>
                    <a:pt x="2900959" y="92459"/>
                    <a:pt x="2877514" y="85511"/>
                    <a:pt x="2843776" y="84954"/>
                  </a:cubicBezTo>
                  <a:close/>
                  <a:moveTo>
                    <a:pt x="2353818" y="78781"/>
                  </a:moveTo>
                  <a:cubicBezTo>
                    <a:pt x="2306914" y="79596"/>
                    <a:pt x="2268671" y="95287"/>
                    <a:pt x="2239088" y="125856"/>
                  </a:cubicBezTo>
                  <a:cubicBezTo>
                    <a:pt x="2209505" y="156424"/>
                    <a:pt x="2194242" y="196982"/>
                    <a:pt x="2193299" y="247530"/>
                  </a:cubicBezTo>
                  <a:cubicBezTo>
                    <a:pt x="2194371" y="296578"/>
                    <a:pt x="2209891" y="336707"/>
                    <a:pt x="2239860" y="367919"/>
                  </a:cubicBezTo>
                  <a:cubicBezTo>
                    <a:pt x="2269829" y="399131"/>
                    <a:pt x="2307815" y="415252"/>
                    <a:pt x="2353818" y="416281"/>
                  </a:cubicBezTo>
                  <a:cubicBezTo>
                    <a:pt x="2404652" y="415166"/>
                    <a:pt x="2444125" y="398874"/>
                    <a:pt x="2472236" y="367405"/>
                  </a:cubicBezTo>
                  <a:cubicBezTo>
                    <a:pt x="2500348" y="335936"/>
                    <a:pt x="2514611" y="295977"/>
                    <a:pt x="2515025" y="247530"/>
                  </a:cubicBezTo>
                  <a:cubicBezTo>
                    <a:pt x="2513968" y="196982"/>
                    <a:pt x="2498418" y="156424"/>
                    <a:pt x="2468378" y="125856"/>
                  </a:cubicBezTo>
                  <a:cubicBezTo>
                    <a:pt x="2438337" y="95287"/>
                    <a:pt x="2400150" y="79596"/>
                    <a:pt x="2353818" y="78781"/>
                  </a:cubicBezTo>
                  <a:close/>
                  <a:moveTo>
                    <a:pt x="4111567" y="8230"/>
                  </a:moveTo>
                  <a:lnTo>
                    <a:pt x="4389231" y="8230"/>
                  </a:lnTo>
                  <a:lnTo>
                    <a:pt x="4389231" y="87011"/>
                  </a:lnTo>
                  <a:lnTo>
                    <a:pt x="4195835" y="87011"/>
                  </a:lnTo>
                  <a:lnTo>
                    <a:pt x="4195835" y="205740"/>
                  </a:lnTo>
                  <a:lnTo>
                    <a:pt x="4368657" y="205740"/>
                  </a:lnTo>
                  <a:lnTo>
                    <a:pt x="4368657" y="284521"/>
                  </a:lnTo>
                  <a:lnTo>
                    <a:pt x="4195835" y="284521"/>
                  </a:lnTo>
                  <a:lnTo>
                    <a:pt x="4195835" y="408737"/>
                  </a:lnTo>
                  <a:lnTo>
                    <a:pt x="4396089" y="408737"/>
                  </a:lnTo>
                  <a:lnTo>
                    <a:pt x="4396089" y="487518"/>
                  </a:lnTo>
                  <a:lnTo>
                    <a:pt x="4111567" y="487518"/>
                  </a:lnTo>
                  <a:close/>
                  <a:moveTo>
                    <a:pt x="1689703" y="8230"/>
                  </a:moveTo>
                  <a:lnTo>
                    <a:pt x="2085324" y="8230"/>
                  </a:lnTo>
                  <a:lnTo>
                    <a:pt x="2085324" y="87011"/>
                  </a:lnTo>
                  <a:lnTo>
                    <a:pt x="1929647" y="87011"/>
                  </a:lnTo>
                  <a:lnTo>
                    <a:pt x="1929647" y="487518"/>
                  </a:lnTo>
                  <a:lnTo>
                    <a:pt x="1845380" y="487518"/>
                  </a:lnTo>
                  <a:lnTo>
                    <a:pt x="1845380" y="87011"/>
                  </a:lnTo>
                  <a:lnTo>
                    <a:pt x="1689703" y="87011"/>
                  </a:lnTo>
                  <a:close/>
                  <a:moveTo>
                    <a:pt x="704285" y="8230"/>
                  </a:moveTo>
                  <a:lnTo>
                    <a:pt x="788552" y="8230"/>
                  </a:lnTo>
                  <a:lnTo>
                    <a:pt x="788552" y="266343"/>
                  </a:lnTo>
                  <a:cubicBezTo>
                    <a:pt x="788367" y="311829"/>
                    <a:pt x="798000" y="348030"/>
                    <a:pt x="817453" y="374945"/>
                  </a:cubicBezTo>
                  <a:cubicBezTo>
                    <a:pt x="836905" y="401860"/>
                    <a:pt x="867292" y="415639"/>
                    <a:pt x="908613" y="416281"/>
                  </a:cubicBezTo>
                  <a:cubicBezTo>
                    <a:pt x="944889" y="416081"/>
                    <a:pt x="971816" y="403643"/>
                    <a:pt x="989396" y="378967"/>
                  </a:cubicBezTo>
                  <a:cubicBezTo>
                    <a:pt x="1006977" y="354292"/>
                    <a:pt x="1015724" y="318576"/>
                    <a:pt x="1015638" y="271820"/>
                  </a:cubicBezTo>
                  <a:lnTo>
                    <a:pt x="1015638" y="8230"/>
                  </a:lnTo>
                  <a:lnTo>
                    <a:pt x="1099220" y="8230"/>
                  </a:lnTo>
                  <a:lnTo>
                    <a:pt x="1099220" y="288936"/>
                  </a:lnTo>
                  <a:cubicBezTo>
                    <a:pt x="1098734" y="337609"/>
                    <a:pt x="1089732" y="377130"/>
                    <a:pt x="1072215" y="407499"/>
                  </a:cubicBezTo>
                  <a:cubicBezTo>
                    <a:pt x="1054697" y="437867"/>
                    <a:pt x="1031576" y="460096"/>
                    <a:pt x="1002852" y="474183"/>
                  </a:cubicBezTo>
                  <a:cubicBezTo>
                    <a:pt x="974129" y="488271"/>
                    <a:pt x="942716" y="495231"/>
                    <a:pt x="908613" y="495062"/>
                  </a:cubicBezTo>
                  <a:cubicBezTo>
                    <a:pt x="847873" y="495046"/>
                    <a:pt x="798896" y="477438"/>
                    <a:pt x="761683" y="442237"/>
                  </a:cubicBezTo>
                  <a:cubicBezTo>
                    <a:pt x="724470" y="407036"/>
                    <a:pt x="705337" y="354338"/>
                    <a:pt x="704285" y="284144"/>
                  </a:cubicBezTo>
                  <a:close/>
                  <a:moveTo>
                    <a:pt x="0" y="8230"/>
                  </a:moveTo>
                  <a:lnTo>
                    <a:pt x="72272" y="8230"/>
                  </a:lnTo>
                  <a:lnTo>
                    <a:pt x="72272" y="487518"/>
                  </a:lnTo>
                  <a:lnTo>
                    <a:pt x="0" y="487518"/>
                  </a:lnTo>
                  <a:close/>
                  <a:moveTo>
                    <a:pt x="3290775" y="6172"/>
                  </a:moveTo>
                  <a:lnTo>
                    <a:pt x="3364841" y="6172"/>
                  </a:lnTo>
                  <a:lnTo>
                    <a:pt x="3567837" y="487518"/>
                  </a:lnTo>
                  <a:lnTo>
                    <a:pt x="3477997" y="487518"/>
                  </a:lnTo>
                  <a:lnTo>
                    <a:pt x="3427934" y="364760"/>
                  </a:lnTo>
                  <a:lnTo>
                    <a:pt x="3222880" y="364760"/>
                  </a:lnTo>
                  <a:lnTo>
                    <a:pt x="3172817" y="487518"/>
                  </a:lnTo>
                  <a:lnTo>
                    <a:pt x="3087778" y="487518"/>
                  </a:lnTo>
                  <a:close/>
                  <a:moveTo>
                    <a:pt x="2847893" y="6172"/>
                  </a:moveTo>
                  <a:cubicBezTo>
                    <a:pt x="2912459" y="7155"/>
                    <a:pt x="2957860" y="21460"/>
                    <a:pt x="2984094" y="49088"/>
                  </a:cubicBezTo>
                  <a:cubicBezTo>
                    <a:pt x="3010329" y="76717"/>
                    <a:pt x="3022981" y="111774"/>
                    <a:pt x="3022050" y="154261"/>
                  </a:cubicBezTo>
                  <a:cubicBezTo>
                    <a:pt x="3021644" y="181619"/>
                    <a:pt x="3016594" y="204653"/>
                    <a:pt x="3006901" y="223362"/>
                  </a:cubicBezTo>
                  <a:cubicBezTo>
                    <a:pt x="2997207" y="242071"/>
                    <a:pt x="2985306" y="256967"/>
                    <a:pt x="2971196" y="268050"/>
                  </a:cubicBezTo>
                  <a:cubicBezTo>
                    <a:pt x="2957086" y="279133"/>
                    <a:pt x="2943204" y="286916"/>
                    <a:pt x="2929550" y="291397"/>
                  </a:cubicBezTo>
                  <a:lnTo>
                    <a:pt x="3079658" y="487518"/>
                  </a:lnTo>
                  <a:lnTo>
                    <a:pt x="2977516" y="487518"/>
                  </a:lnTo>
                  <a:lnTo>
                    <a:pt x="2845148" y="307839"/>
                  </a:lnTo>
                  <a:lnTo>
                    <a:pt x="2786135" y="307839"/>
                  </a:lnTo>
                  <a:lnTo>
                    <a:pt x="2786135" y="487518"/>
                  </a:lnTo>
                  <a:lnTo>
                    <a:pt x="2701867" y="487518"/>
                  </a:lnTo>
                  <a:lnTo>
                    <a:pt x="2701867" y="7542"/>
                  </a:lnTo>
                  <a:cubicBezTo>
                    <a:pt x="2711828" y="7525"/>
                    <a:pt x="2727389" y="7407"/>
                    <a:pt x="2748551" y="7187"/>
                  </a:cubicBezTo>
                  <a:cubicBezTo>
                    <a:pt x="2769713" y="6967"/>
                    <a:pt x="2790154" y="6747"/>
                    <a:pt x="2809873" y="6528"/>
                  </a:cubicBezTo>
                  <a:cubicBezTo>
                    <a:pt x="2829591" y="6308"/>
                    <a:pt x="2842265" y="6189"/>
                    <a:pt x="2847893" y="6172"/>
                  </a:cubicBezTo>
                  <a:close/>
                  <a:moveTo>
                    <a:pt x="3819912" y="0"/>
                  </a:moveTo>
                  <a:cubicBezTo>
                    <a:pt x="3853914" y="100"/>
                    <a:pt x="3883325" y="4353"/>
                    <a:pt x="3908143" y="12759"/>
                  </a:cubicBezTo>
                  <a:cubicBezTo>
                    <a:pt x="3932962" y="21165"/>
                    <a:pt x="3954984" y="33125"/>
                    <a:pt x="3974209" y="48639"/>
                  </a:cubicBezTo>
                  <a:lnTo>
                    <a:pt x="3938586" y="115837"/>
                  </a:lnTo>
                  <a:cubicBezTo>
                    <a:pt x="3926184" y="104386"/>
                    <a:pt x="3910351" y="95379"/>
                    <a:pt x="3891086" y="88817"/>
                  </a:cubicBezTo>
                  <a:cubicBezTo>
                    <a:pt x="3871821" y="82255"/>
                    <a:pt x="3851527" y="78910"/>
                    <a:pt x="3830203" y="78781"/>
                  </a:cubicBezTo>
                  <a:cubicBezTo>
                    <a:pt x="3782996" y="79125"/>
                    <a:pt x="3744665" y="93877"/>
                    <a:pt x="3715209" y="123037"/>
                  </a:cubicBezTo>
                  <a:cubicBezTo>
                    <a:pt x="3685753" y="152197"/>
                    <a:pt x="3670575" y="193703"/>
                    <a:pt x="3669674" y="247554"/>
                  </a:cubicBezTo>
                  <a:cubicBezTo>
                    <a:pt x="3670360" y="299275"/>
                    <a:pt x="3685281" y="340166"/>
                    <a:pt x="3714437" y="370224"/>
                  </a:cubicBezTo>
                  <a:cubicBezTo>
                    <a:pt x="3743593" y="400283"/>
                    <a:pt x="3782867" y="415635"/>
                    <a:pt x="3832261" y="416281"/>
                  </a:cubicBezTo>
                  <a:cubicBezTo>
                    <a:pt x="3851498" y="415981"/>
                    <a:pt x="3870478" y="412635"/>
                    <a:pt x="3889201" y="406243"/>
                  </a:cubicBezTo>
                  <a:cubicBezTo>
                    <a:pt x="3907923" y="399851"/>
                    <a:pt x="3922102" y="392216"/>
                    <a:pt x="3931735" y="383336"/>
                  </a:cubicBezTo>
                  <a:lnTo>
                    <a:pt x="3931735" y="307839"/>
                  </a:lnTo>
                  <a:lnTo>
                    <a:pt x="3815797" y="307839"/>
                  </a:lnTo>
                  <a:lnTo>
                    <a:pt x="3815797" y="229057"/>
                  </a:lnTo>
                  <a:lnTo>
                    <a:pt x="4010517" y="229057"/>
                  </a:lnTo>
                  <a:lnTo>
                    <a:pt x="4010517" y="427926"/>
                  </a:lnTo>
                  <a:cubicBezTo>
                    <a:pt x="3988181" y="449306"/>
                    <a:pt x="3960394" y="465804"/>
                    <a:pt x="3927157" y="477422"/>
                  </a:cubicBezTo>
                  <a:cubicBezTo>
                    <a:pt x="3893919" y="489039"/>
                    <a:pt x="3861831" y="494919"/>
                    <a:pt x="3830889" y="495062"/>
                  </a:cubicBezTo>
                  <a:cubicBezTo>
                    <a:pt x="3751730" y="494094"/>
                    <a:pt x="3690379" y="471531"/>
                    <a:pt x="3646835" y="427374"/>
                  </a:cubicBezTo>
                  <a:cubicBezTo>
                    <a:pt x="3603292" y="383217"/>
                    <a:pt x="3581216" y="323277"/>
                    <a:pt x="3580606" y="247554"/>
                  </a:cubicBezTo>
                  <a:cubicBezTo>
                    <a:pt x="3580841" y="201087"/>
                    <a:pt x="3590648" y="159265"/>
                    <a:pt x="3610025" y="122087"/>
                  </a:cubicBezTo>
                  <a:cubicBezTo>
                    <a:pt x="3629401" y="84910"/>
                    <a:pt x="3656933" y="55394"/>
                    <a:pt x="3692622" y="33538"/>
                  </a:cubicBezTo>
                  <a:cubicBezTo>
                    <a:pt x="3728311" y="11682"/>
                    <a:pt x="3770741" y="503"/>
                    <a:pt x="3819912" y="0"/>
                  </a:cubicBezTo>
                  <a:close/>
                  <a:moveTo>
                    <a:pt x="2353818" y="0"/>
                  </a:moveTo>
                  <a:cubicBezTo>
                    <a:pt x="2401827" y="287"/>
                    <a:pt x="2444594" y="10601"/>
                    <a:pt x="2482119" y="30943"/>
                  </a:cubicBezTo>
                  <a:cubicBezTo>
                    <a:pt x="2519644" y="51285"/>
                    <a:pt x="2549243" y="79934"/>
                    <a:pt x="2570915" y="116892"/>
                  </a:cubicBezTo>
                  <a:cubicBezTo>
                    <a:pt x="2592586" y="153850"/>
                    <a:pt x="2603646" y="197396"/>
                    <a:pt x="2604094" y="247530"/>
                  </a:cubicBezTo>
                  <a:cubicBezTo>
                    <a:pt x="2603646" y="295937"/>
                    <a:pt x="2592586" y="338670"/>
                    <a:pt x="2570915" y="375730"/>
                  </a:cubicBezTo>
                  <a:cubicBezTo>
                    <a:pt x="2549243" y="412789"/>
                    <a:pt x="2519644" y="441846"/>
                    <a:pt x="2482119" y="462899"/>
                  </a:cubicBezTo>
                  <a:cubicBezTo>
                    <a:pt x="2444594" y="483953"/>
                    <a:pt x="2401827" y="494674"/>
                    <a:pt x="2353818" y="495062"/>
                  </a:cubicBezTo>
                  <a:cubicBezTo>
                    <a:pt x="2305818" y="494775"/>
                    <a:pt x="2263111" y="484461"/>
                    <a:pt x="2225695" y="464119"/>
                  </a:cubicBezTo>
                  <a:cubicBezTo>
                    <a:pt x="2188281" y="443777"/>
                    <a:pt x="2158792" y="415127"/>
                    <a:pt x="2137231" y="378169"/>
                  </a:cubicBezTo>
                  <a:cubicBezTo>
                    <a:pt x="2115670" y="341211"/>
                    <a:pt x="2104670" y="297665"/>
                    <a:pt x="2104231" y="247530"/>
                  </a:cubicBezTo>
                  <a:cubicBezTo>
                    <a:pt x="2104581" y="200635"/>
                    <a:pt x="2115226" y="158614"/>
                    <a:pt x="2136164" y="121465"/>
                  </a:cubicBezTo>
                  <a:cubicBezTo>
                    <a:pt x="2157103" y="84317"/>
                    <a:pt x="2186235" y="54905"/>
                    <a:pt x="2223562" y="33229"/>
                  </a:cubicBezTo>
                  <a:cubicBezTo>
                    <a:pt x="2260887" y="11554"/>
                    <a:pt x="2304306" y="477"/>
                    <a:pt x="2353818" y="0"/>
                  </a:cubicBezTo>
                  <a:close/>
                  <a:moveTo>
                    <a:pt x="1493138" y="0"/>
                  </a:moveTo>
                  <a:cubicBezTo>
                    <a:pt x="1522874" y="171"/>
                    <a:pt x="1549511" y="4796"/>
                    <a:pt x="1573048" y="13872"/>
                  </a:cubicBezTo>
                  <a:cubicBezTo>
                    <a:pt x="1596585" y="22949"/>
                    <a:pt x="1615662" y="35452"/>
                    <a:pt x="1630277" y="51379"/>
                  </a:cubicBezTo>
                  <a:lnTo>
                    <a:pt x="1585057" y="114451"/>
                  </a:lnTo>
                  <a:cubicBezTo>
                    <a:pt x="1573724" y="103061"/>
                    <a:pt x="1561440" y="94286"/>
                    <a:pt x="1548205" y="88127"/>
                  </a:cubicBezTo>
                  <a:cubicBezTo>
                    <a:pt x="1534970" y="81968"/>
                    <a:pt x="1518902" y="78853"/>
                    <a:pt x="1500001" y="78781"/>
                  </a:cubicBezTo>
                  <a:cubicBezTo>
                    <a:pt x="1478884" y="79010"/>
                    <a:pt x="1462442" y="83869"/>
                    <a:pt x="1450676" y="93358"/>
                  </a:cubicBezTo>
                  <a:cubicBezTo>
                    <a:pt x="1438909" y="102846"/>
                    <a:pt x="1432933" y="115594"/>
                    <a:pt x="1432747" y="131600"/>
                  </a:cubicBezTo>
                  <a:cubicBezTo>
                    <a:pt x="1433879" y="155627"/>
                    <a:pt x="1445202" y="173984"/>
                    <a:pt x="1466716" y="186671"/>
                  </a:cubicBezTo>
                  <a:cubicBezTo>
                    <a:pt x="1488229" y="199358"/>
                    <a:pt x="1513139" y="211413"/>
                    <a:pt x="1541447" y="222835"/>
                  </a:cubicBezTo>
                  <a:cubicBezTo>
                    <a:pt x="1569753" y="234257"/>
                    <a:pt x="1594664" y="250085"/>
                    <a:pt x="1616177" y="270318"/>
                  </a:cubicBezTo>
                  <a:cubicBezTo>
                    <a:pt x="1637690" y="290550"/>
                    <a:pt x="1649013" y="320226"/>
                    <a:pt x="1650146" y="359345"/>
                  </a:cubicBezTo>
                  <a:cubicBezTo>
                    <a:pt x="1649078" y="400399"/>
                    <a:pt x="1633571" y="433133"/>
                    <a:pt x="1603627" y="457546"/>
                  </a:cubicBezTo>
                  <a:cubicBezTo>
                    <a:pt x="1573683" y="481959"/>
                    <a:pt x="1535710" y="494464"/>
                    <a:pt x="1489707" y="495062"/>
                  </a:cubicBezTo>
                  <a:cubicBezTo>
                    <a:pt x="1468759" y="495032"/>
                    <a:pt x="1447768" y="492123"/>
                    <a:pt x="1426735" y="486334"/>
                  </a:cubicBezTo>
                  <a:cubicBezTo>
                    <a:pt x="1405702" y="480545"/>
                    <a:pt x="1386805" y="472053"/>
                    <a:pt x="1370044" y="460860"/>
                  </a:cubicBezTo>
                  <a:cubicBezTo>
                    <a:pt x="1353284" y="449666"/>
                    <a:pt x="1340838" y="435948"/>
                    <a:pt x="1332706" y="419706"/>
                  </a:cubicBezTo>
                  <a:lnTo>
                    <a:pt x="1380676" y="362089"/>
                  </a:lnTo>
                  <a:cubicBezTo>
                    <a:pt x="1395250" y="380253"/>
                    <a:pt x="1412530" y="393829"/>
                    <a:pt x="1432515" y="402818"/>
                  </a:cubicBezTo>
                  <a:cubicBezTo>
                    <a:pt x="1452501" y="411808"/>
                    <a:pt x="1472022" y="416295"/>
                    <a:pt x="1491079" y="416281"/>
                  </a:cubicBezTo>
                  <a:cubicBezTo>
                    <a:pt x="1511410" y="416209"/>
                    <a:pt x="1528051" y="411379"/>
                    <a:pt x="1541005" y="401790"/>
                  </a:cubicBezTo>
                  <a:cubicBezTo>
                    <a:pt x="1553958" y="392200"/>
                    <a:pt x="1560649" y="378280"/>
                    <a:pt x="1561078" y="360031"/>
                  </a:cubicBezTo>
                  <a:cubicBezTo>
                    <a:pt x="1559945" y="337140"/>
                    <a:pt x="1548622" y="319297"/>
                    <a:pt x="1527109" y="306503"/>
                  </a:cubicBezTo>
                  <a:cubicBezTo>
                    <a:pt x="1505596" y="293709"/>
                    <a:pt x="1480685" y="281311"/>
                    <a:pt x="1452378" y="269310"/>
                  </a:cubicBezTo>
                  <a:cubicBezTo>
                    <a:pt x="1424071" y="257309"/>
                    <a:pt x="1399161" y="241053"/>
                    <a:pt x="1377647" y="220541"/>
                  </a:cubicBezTo>
                  <a:cubicBezTo>
                    <a:pt x="1356134" y="200030"/>
                    <a:pt x="1344811" y="170611"/>
                    <a:pt x="1343679" y="132286"/>
                  </a:cubicBezTo>
                  <a:cubicBezTo>
                    <a:pt x="1344076" y="95274"/>
                    <a:pt x="1357327" y="64226"/>
                    <a:pt x="1383429" y="39143"/>
                  </a:cubicBezTo>
                  <a:cubicBezTo>
                    <a:pt x="1409532" y="14060"/>
                    <a:pt x="1446102" y="1012"/>
                    <a:pt x="1493138" y="0"/>
                  </a:cubicBezTo>
                  <a:close/>
                  <a:moveTo>
                    <a:pt x="419488" y="0"/>
                  </a:moveTo>
                  <a:cubicBezTo>
                    <a:pt x="453490" y="100"/>
                    <a:pt x="482900" y="4353"/>
                    <a:pt x="507719" y="12759"/>
                  </a:cubicBezTo>
                  <a:cubicBezTo>
                    <a:pt x="532537" y="21165"/>
                    <a:pt x="554559" y="33125"/>
                    <a:pt x="573784" y="48639"/>
                  </a:cubicBezTo>
                  <a:lnTo>
                    <a:pt x="538161" y="115837"/>
                  </a:lnTo>
                  <a:cubicBezTo>
                    <a:pt x="525760" y="104386"/>
                    <a:pt x="509926" y="95379"/>
                    <a:pt x="490661" y="88817"/>
                  </a:cubicBezTo>
                  <a:cubicBezTo>
                    <a:pt x="471396" y="82255"/>
                    <a:pt x="451102" y="78910"/>
                    <a:pt x="429778" y="78781"/>
                  </a:cubicBezTo>
                  <a:cubicBezTo>
                    <a:pt x="382571" y="79125"/>
                    <a:pt x="344240" y="93877"/>
                    <a:pt x="314784" y="123037"/>
                  </a:cubicBezTo>
                  <a:cubicBezTo>
                    <a:pt x="285328" y="152197"/>
                    <a:pt x="270150" y="193703"/>
                    <a:pt x="269249" y="247554"/>
                  </a:cubicBezTo>
                  <a:cubicBezTo>
                    <a:pt x="269935" y="299275"/>
                    <a:pt x="284856" y="340166"/>
                    <a:pt x="314012" y="370224"/>
                  </a:cubicBezTo>
                  <a:cubicBezTo>
                    <a:pt x="343168" y="400283"/>
                    <a:pt x="382443" y="415635"/>
                    <a:pt x="431836" y="416281"/>
                  </a:cubicBezTo>
                  <a:cubicBezTo>
                    <a:pt x="451073" y="415981"/>
                    <a:pt x="470053" y="412635"/>
                    <a:pt x="488776" y="406243"/>
                  </a:cubicBezTo>
                  <a:cubicBezTo>
                    <a:pt x="507499" y="399851"/>
                    <a:pt x="521677" y="392216"/>
                    <a:pt x="531311" y="383336"/>
                  </a:cubicBezTo>
                  <a:lnTo>
                    <a:pt x="531311" y="307839"/>
                  </a:lnTo>
                  <a:lnTo>
                    <a:pt x="415372" y="307839"/>
                  </a:lnTo>
                  <a:lnTo>
                    <a:pt x="415372" y="229057"/>
                  </a:lnTo>
                  <a:lnTo>
                    <a:pt x="610092" y="229057"/>
                  </a:lnTo>
                  <a:lnTo>
                    <a:pt x="610092" y="427926"/>
                  </a:lnTo>
                  <a:cubicBezTo>
                    <a:pt x="587756" y="449306"/>
                    <a:pt x="559969" y="465804"/>
                    <a:pt x="526732" y="477422"/>
                  </a:cubicBezTo>
                  <a:cubicBezTo>
                    <a:pt x="493495" y="489039"/>
                    <a:pt x="461406" y="494919"/>
                    <a:pt x="430464" y="495062"/>
                  </a:cubicBezTo>
                  <a:cubicBezTo>
                    <a:pt x="351305" y="494094"/>
                    <a:pt x="289954" y="471531"/>
                    <a:pt x="246411" y="427374"/>
                  </a:cubicBezTo>
                  <a:cubicBezTo>
                    <a:pt x="202867" y="383217"/>
                    <a:pt x="180791" y="323277"/>
                    <a:pt x="180181" y="247554"/>
                  </a:cubicBezTo>
                  <a:cubicBezTo>
                    <a:pt x="180417" y="201087"/>
                    <a:pt x="190223" y="159265"/>
                    <a:pt x="209600" y="122087"/>
                  </a:cubicBezTo>
                  <a:cubicBezTo>
                    <a:pt x="228976" y="84910"/>
                    <a:pt x="256509" y="55394"/>
                    <a:pt x="292197" y="33538"/>
                  </a:cubicBezTo>
                  <a:cubicBezTo>
                    <a:pt x="327886" y="11682"/>
                    <a:pt x="370316" y="503"/>
                    <a:pt x="419488" y="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388" dirty="0">
                <a:solidFill>
                  <a:schemeClr val="tx1">
                    <a:lumMod val="65000"/>
                    <a:lumOff val="35000"/>
                  </a:schemeClr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8" name="Полілінія: фігура 7">
              <a:extLst>
                <a:ext uri="{FF2B5EF4-FFF2-40B4-BE49-F238E27FC236}">
                  <a16:creationId xmlns:a16="http://schemas.microsoft.com/office/drawing/2014/main" id="{13D8167A-9CCE-638B-7AD7-ECC70C17F931}"/>
                </a:ext>
              </a:extLst>
            </p:cNvPr>
            <p:cNvSpPr/>
            <p:nvPr/>
          </p:nvSpPr>
          <p:spPr>
            <a:xfrm>
              <a:off x="8381998" y="5980648"/>
              <a:ext cx="898217" cy="468179"/>
            </a:xfrm>
            <a:custGeom>
              <a:avLst/>
              <a:gdLst/>
              <a:ahLst/>
              <a:cxnLst/>
              <a:rect l="l" t="t" r="r" b="b"/>
              <a:pathLst>
                <a:path w="898217" h="468179">
                  <a:moveTo>
                    <a:pt x="301590" y="273450"/>
                  </a:moveTo>
                  <a:lnTo>
                    <a:pt x="257089" y="377082"/>
                  </a:lnTo>
                  <a:lnTo>
                    <a:pt x="345786" y="377082"/>
                  </a:lnTo>
                  <a:close/>
                  <a:moveTo>
                    <a:pt x="508544" y="267316"/>
                  </a:moveTo>
                  <a:cubicBezTo>
                    <a:pt x="504974" y="267323"/>
                    <a:pt x="499841" y="267386"/>
                    <a:pt x="493145" y="267507"/>
                  </a:cubicBezTo>
                  <a:cubicBezTo>
                    <a:pt x="486450" y="267628"/>
                    <a:pt x="480402" y="267768"/>
                    <a:pt x="475002" y="267927"/>
                  </a:cubicBezTo>
                  <a:lnTo>
                    <a:pt x="475002" y="360318"/>
                  </a:lnTo>
                  <a:lnTo>
                    <a:pt x="511898" y="360318"/>
                  </a:lnTo>
                  <a:cubicBezTo>
                    <a:pt x="521116" y="360264"/>
                    <a:pt x="529853" y="358300"/>
                    <a:pt x="538111" y="354426"/>
                  </a:cubicBezTo>
                  <a:cubicBezTo>
                    <a:pt x="546368" y="350553"/>
                    <a:pt x="553118" y="345099"/>
                    <a:pt x="558360" y="338065"/>
                  </a:cubicBezTo>
                  <a:cubicBezTo>
                    <a:pt x="563602" y="331030"/>
                    <a:pt x="566309" y="322744"/>
                    <a:pt x="566480" y="313205"/>
                  </a:cubicBezTo>
                  <a:cubicBezTo>
                    <a:pt x="566773" y="299916"/>
                    <a:pt x="562529" y="289018"/>
                    <a:pt x="553750" y="280509"/>
                  </a:cubicBezTo>
                  <a:cubicBezTo>
                    <a:pt x="544970" y="272001"/>
                    <a:pt x="529902" y="267603"/>
                    <a:pt x="508544" y="267316"/>
                  </a:cubicBezTo>
                  <a:close/>
                  <a:moveTo>
                    <a:pt x="102323" y="267316"/>
                  </a:moveTo>
                  <a:cubicBezTo>
                    <a:pt x="97279" y="267323"/>
                    <a:pt x="91206" y="267386"/>
                    <a:pt x="84104" y="267506"/>
                  </a:cubicBezTo>
                  <a:cubicBezTo>
                    <a:pt x="77002" y="267627"/>
                    <a:pt x="70776" y="267767"/>
                    <a:pt x="65427" y="267925"/>
                  </a:cubicBezTo>
                  <a:lnTo>
                    <a:pt x="65427" y="363670"/>
                  </a:lnTo>
                  <a:cubicBezTo>
                    <a:pt x="71316" y="364134"/>
                    <a:pt x="77072" y="364503"/>
                    <a:pt x="82694" y="364776"/>
                  </a:cubicBezTo>
                  <a:cubicBezTo>
                    <a:pt x="88316" y="365049"/>
                    <a:pt x="94147" y="365189"/>
                    <a:pt x="100189" y="365195"/>
                  </a:cubicBezTo>
                  <a:cubicBezTo>
                    <a:pt x="119583" y="364954"/>
                    <a:pt x="134232" y="360329"/>
                    <a:pt x="144136" y="351321"/>
                  </a:cubicBezTo>
                  <a:cubicBezTo>
                    <a:pt x="154040" y="342313"/>
                    <a:pt x="159007" y="330371"/>
                    <a:pt x="159039" y="315493"/>
                  </a:cubicBezTo>
                  <a:cubicBezTo>
                    <a:pt x="159191" y="301346"/>
                    <a:pt x="154770" y="289848"/>
                    <a:pt x="145775" y="280999"/>
                  </a:cubicBezTo>
                  <a:cubicBezTo>
                    <a:pt x="136780" y="272150"/>
                    <a:pt x="122296" y="267589"/>
                    <a:pt x="102323" y="267316"/>
                  </a:cubicBezTo>
                  <a:close/>
                  <a:moveTo>
                    <a:pt x="675142" y="252114"/>
                  </a:moveTo>
                  <a:lnTo>
                    <a:pt x="691868" y="252114"/>
                  </a:lnTo>
                  <a:lnTo>
                    <a:pt x="691868" y="465436"/>
                  </a:lnTo>
                  <a:lnTo>
                    <a:pt x="675142" y="465436"/>
                  </a:lnTo>
                  <a:close/>
                  <a:moveTo>
                    <a:pt x="509459" y="251505"/>
                  </a:moveTo>
                  <a:cubicBezTo>
                    <a:pt x="528715" y="251660"/>
                    <a:pt x="543795" y="254568"/>
                    <a:pt x="554699" y="260227"/>
                  </a:cubicBezTo>
                  <a:cubicBezTo>
                    <a:pt x="565604" y="265886"/>
                    <a:pt x="573272" y="273364"/>
                    <a:pt x="577706" y="282660"/>
                  </a:cubicBezTo>
                  <a:cubicBezTo>
                    <a:pt x="582139" y="291956"/>
                    <a:pt x="584277" y="302138"/>
                    <a:pt x="584121" y="313205"/>
                  </a:cubicBezTo>
                  <a:cubicBezTo>
                    <a:pt x="583805" y="328692"/>
                    <a:pt x="578959" y="341686"/>
                    <a:pt x="569583" y="352187"/>
                  </a:cubicBezTo>
                  <a:cubicBezTo>
                    <a:pt x="560207" y="362688"/>
                    <a:pt x="548195" y="369554"/>
                    <a:pt x="533548" y="372785"/>
                  </a:cubicBezTo>
                  <a:lnTo>
                    <a:pt x="608200" y="465436"/>
                  </a:lnTo>
                  <a:lnTo>
                    <a:pt x="587474" y="465436"/>
                  </a:lnTo>
                  <a:lnTo>
                    <a:pt x="516472" y="376130"/>
                  </a:lnTo>
                  <a:lnTo>
                    <a:pt x="475002" y="376130"/>
                  </a:lnTo>
                  <a:lnTo>
                    <a:pt x="475002" y="465436"/>
                  </a:lnTo>
                  <a:lnTo>
                    <a:pt x="458276" y="465436"/>
                  </a:lnTo>
                  <a:lnTo>
                    <a:pt x="458276" y="252113"/>
                  </a:lnTo>
                  <a:cubicBezTo>
                    <a:pt x="462529" y="252105"/>
                    <a:pt x="468258" y="252053"/>
                    <a:pt x="475462" y="251955"/>
                  </a:cubicBezTo>
                  <a:cubicBezTo>
                    <a:pt x="482666" y="251858"/>
                    <a:pt x="489550" y="251760"/>
                    <a:pt x="496114" y="251662"/>
                  </a:cubicBezTo>
                  <a:cubicBezTo>
                    <a:pt x="502679" y="251565"/>
                    <a:pt x="507127" y="251512"/>
                    <a:pt x="509459" y="251505"/>
                  </a:cubicBezTo>
                  <a:close/>
                  <a:moveTo>
                    <a:pt x="100799" y="251505"/>
                  </a:moveTo>
                  <a:cubicBezTo>
                    <a:pt x="120358" y="251711"/>
                    <a:pt x="135679" y="254918"/>
                    <a:pt x="146762" y="261126"/>
                  </a:cubicBezTo>
                  <a:cubicBezTo>
                    <a:pt x="157844" y="267334"/>
                    <a:pt x="165641" y="275304"/>
                    <a:pt x="170152" y="285035"/>
                  </a:cubicBezTo>
                  <a:cubicBezTo>
                    <a:pt x="174662" y="294767"/>
                    <a:pt x="176838" y="305021"/>
                    <a:pt x="176679" y="315798"/>
                  </a:cubicBezTo>
                  <a:cubicBezTo>
                    <a:pt x="176725" y="327066"/>
                    <a:pt x="174098" y="337625"/>
                    <a:pt x="168797" y="347476"/>
                  </a:cubicBezTo>
                  <a:cubicBezTo>
                    <a:pt x="163496" y="357326"/>
                    <a:pt x="155248" y="365329"/>
                    <a:pt x="144052" y="371486"/>
                  </a:cubicBezTo>
                  <a:cubicBezTo>
                    <a:pt x="132856" y="377644"/>
                    <a:pt x="118439" y="380817"/>
                    <a:pt x="100799" y="381007"/>
                  </a:cubicBezTo>
                  <a:cubicBezTo>
                    <a:pt x="95685" y="381013"/>
                    <a:pt x="90056" y="380924"/>
                    <a:pt x="83913" y="380741"/>
                  </a:cubicBezTo>
                  <a:cubicBezTo>
                    <a:pt x="77770" y="380557"/>
                    <a:pt x="71608" y="380240"/>
                    <a:pt x="65427" y="379790"/>
                  </a:cubicBezTo>
                  <a:lnTo>
                    <a:pt x="65427" y="465436"/>
                  </a:lnTo>
                  <a:lnTo>
                    <a:pt x="48701" y="465436"/>
                  </a:lnTo>
                  <a:lnTo>
                    <a:pt x="48701" y="252113"/>
                  </a:lnTo>
                  <a:cubicBezTo>
                    <a:pt x="52852" y="252105"/>
                    <a:pt x="58208" y="252053"/>
                    <a:pt x="64769" y="251955"/>
                  </a:cubicBezTo>
                  <a:cubicBezTo>
                    <a:pt x="71329" y="251858"/>
                    <a:pt x="77909" y="251760"/>
                    <a:pt x="84507" y="251662"/>
                  </a:cubicBezTo>
                  <a:cubicBezTo>
                    <a:pt x="91105" y="251565"/>
                    <a:pt x="96535" y="251512"/>
                    <a:pt x="100799" y="251505"/>
                  </a:cubicBezTo>
                  <a:close/>
                  <a:moveTo>
                    <a:pt x="295189" y="250285"/>
                  </a:moveTo>
                  <a:lnTo>
                    <a:pt x="308905" y="250285"/>
                  </a:lnTo>
                  <a:lnTo>
                    <a:pt x="401869" y="465436"/>
                  </a:lnTo>
                  <a:lnTo>
                    <a:pt x="383886" y="465436"/>
                  </a:lnTo>
                  <a:lnTo>
                    <a:pt x="352796" y="392894"/>
                  </a:lnTo>
                  <a:lnTo>
                    <a:pt x="250384" y="392894"/>
                  </a:lnTo>
                  <a:lnTo>
                    <a:pt x="219294" y="465436"/>
                  </a:lnTo>
                  <a:lnTo>
                    <a:pt x="202225" y="465436"/>
                  </a:lnTo>
                  <a:close/>
                  <a:moveTo>
                    <a:pt x="832704" y="249371"/>
                  </a:moveTo>
                  <a:cubicBezTo>
                    <a:pt x="844755" y="249453"/>
                    <a:pt x="855795" y="251418"/>
                    <a:pt x="865823" y="255264"/>
                  </a:cubicBezTo>
                  <a:cubicBezTo>
                    <a:pt x="875851" y="259111"/>
                    <a:pt x="883912" y="264348"/>
                    <a:pt x="890005" y="270976"/>
                  </a:cubicBezTo>
                  <a:lnTo>
                    <a:pt x="880881" y="283475"/>
                  </a:lnTo>
                  <a:cubicBezTo>
                    <a:pt x="868685" y="271280"/>
                    <a:pt x="852829" y="265183"/>
                    <a:pt x="833313" y="265183"/>
                  </a:cubicBezTo>
                  <a:cubicBezTo>
                    <a:pt x="819147" y="265335"/>
                    <a:pt x="808068" y="268765"/>
                    <a:pt x="800076" y="275472"/>
                  </a:cubicBezTo>
                  <a:cubicBezTo>
                    <a:pt x="792085" y="282179"/>
                    <a:pt x="788019" y="291249"/>
                    <a:pt x="787879" y="302681"/>
                  </a:cubicBezTo>
                  <a:cubicBezTo>
                    <a:pt x="788174" y="314388"/>
                    <a:pt x="791999" y="323460"/>
                    <a:pt x="799354" y="329897"/>
                  </a:cubicBezTo>
                  <a:cubicBezTo>
                    <a:pt x="806710" y="336334"/>
                    <a:pt x="815832" y="341596"/>
                    <a:pt x="826718" y="345684"/>
                  </a:cubicBezTo>
                  <a:cubicBezTo>
                    <a:pt x="837605" y="349772"/>
                    <a:pt x="848492" y="354146"/>
                    <a:pt x="859378" y="358807"/>
                  </a:cubicBezTo>
                  <a:cubicBezTo>
                    <a:pt x="870265" y="363469"/>
                    <a:pt x="879386" y="369877"/>
                    <a:pt x="886742" y="378033"/>
                  </a:cubicBezTo>
                  <a:cubicBezTo>
                    <a:pt x="894098" y="386189"/>
                    <a:pt x="897923" y="397554"/>
                    <a:pt x="898217" y="412126"/>
                  </a:cubicBezTo>
                  <a:cubicBezTo>
                    <a:pt x="897749" y="429400"/>
                    <a:pt x="891150" y="443010"/>
                    <a:pt x="878420" y="452957"/>
                  </a:cubicBezTo>
                  <a:cubicBezTo>
                    <a:pt x="865690" y="462904"/>
                    <a:pt x="849638" y="467978"/>
                    <a:pt x="830264" y="468179"/>
                  </a:cubicBezTo>
                  <a:cubicBezTo>
                    <a:pt x="817128" y="468098"/>
                    <a:pt x="804378" y="465372"/>
                    <a:pt x="792014" y="460003"/>
                  </a:cubicBezTo>
                  <a:cubicBezTo>
                    <a:pt x="779650" y="454633"/>
                    <a:pt x="770563" y="447109"/>
                    <a:pt x="764753" y="437430"/>
                  </a:cubicBezTo>
                  <a:lnTo>
                    <a:pt x="774801" y="425845"/>
                  </a:lnTo>
                  <a:cubicBezTo>
                    <a:pt x="781354" y="434419"/>
                    <a:pt x="789705" y="440974"/>
                    <a:pt x="799853" y="445509"/>
                  </a:cubicBezTo>
                  <a:cubicBezTo>
                    <a:pt x="810000" y="450043"/>
                    <a:pt x="820036" y="452330"/>
                    <a:pt x="829959" y="452368"/>
                  </a:cubicBezTo>
                  <a:cubicBezTo>
                    <a:pt x="843541" y="452342"/>
                    <a:pt x="855255" y="448964"/>
                    <a:pt x="865102" y="442231"/>
                  </a:cubicBezTo>
                  <a:cubicBezTo>
                    <a:pt x="874948" y="435499"/>
                    <a:pt x="880107" y="425566"/>
                    <a:pt x="880577" y="412431"/>
                  </a:cubicBezTo>
                  <a:cubicBezTo>
                    <a:pt x="880282" y="400593"/>
                    <a:pt x="876458" y="391345"/>
                    <a:pt x="869102" y="384686"/>
                  </a:cubicBezTo>
                  <a:cubicBezTo>
                    <a:pt x="861746" y="378028"/>
                    <a:pt x="852624" y="372555"/>
                    <a:pt x="841738" y="368268"/>
                  </a:cubicBezTo>
                  <a:cubicBezTo>
                    <a:pt x="830851" y="363980"/>
                    <a:pt x="819965" y="359473"/>
                    <a:pt x="809078" y="354747"/>
                  </a:cubicBezTo>
                  <a:cubicBezTo>
                    <a:pt x="798191" y="350020"/>
                    <a:pt x="789070" y="343669"/>
                    <a:pt x="781714" y="335694"/>
                  </a:cubicBezTo>
                  <a:cubicBezTo>
                    <a:pt x="774358" y="327719"/>
                    <a:pt x="770533" y="316715"/>
                    <a:pt x="770239" y="302681"/>
                  </a:cubicBezTo>
                  <a:cubicBezTo>
                    <a:pt x="770364" y="287389"/>
                    <a:pt x="775820" y="274770"/>
                    <a:pt x="786606" y="264823"/>
                  </a:cubicBezTo>
                  <a:cubicBezTo>
                    <a:pt x="797392" y="254876"/>
                    <a:pt x="812758" y="249725"/>
                    <a:pt x="832704" y="249371"/>
                  </a:cubicBezTo>
                  <a:close/>
                  <a:moveTo>
                    <a:pt x="195081" y="59582"/>
                  </a:moveTo>
                  <a:cubicBezTo>
                    <a:pt x="188669" y="59703"/>
                    <a:pt x="182783" y="61112"/>
                    <a:pt x="177422" y="63810"/>
                  </a:cubicBezTo>
                  <a:cubicBezTo>
                    <a:pt x="172061" y="66507"/>
                    <a:pt x="167875" y="69766"/>
                    <a:pt x="164865" y="73589"/>
                  </a:cubicBezTo>
                  <a:lnTo>
                    <a:pt x="164865" y="125413"/>
                  </a:lnTo>
                  <a:cubicBezTo>
                    <a:pt x="169547" y="128469"/>
                    <a:pt x="174191" y="130611"/>
                    <a:pt x="178798" y="131841"/>
                  </a:cubicBezTo>
                  <a:cubicBezTo>
                    <a:pt x="183404" y="133071"/>
                    <a:pt x="188098" y="133663"/>
                    <a:pt x="192880" y="133617"/>
                  </a:cubicBezTo>
                  <a:cubicBezTo>
                    <a:pt x="203923" y="133417"/>
                    <a:pt x="212653" y="129865"/>
                    <a:pt x="219068" y="122962"/>
                  </a:cubicBezTo>
                  <a:cubicBezTo>
                    <a:pt x="225484" y="116059"/>
                    <a:pt x="228761" y="107004"/>
                    <a:pt x="228898" y="95799"/>
                  </a:cubicBezTo>
                  <a:cubicBezTo>
                    <a:pt x="228840" y="84923"/>
                    <a:pt x="225905" y="76211"/>
                    <a:pt x="220094" y="69662"/>
                  </a:cubicBezTo>
                  <a:cubicBezTo>
                    <a:pt x="214283" y="63113"/>
                    <a:pt x="205945" y="59753"/>
                    <a:pt x="195081" y="59582"/>
                  </a:cubicBezTo>
                  <a:close/>
                  <a:moveTo>
                    <a:pt x="340465" y="51606"/>
                  </a:moveTo>
                  <a:lnTo>
                    <a:pt x="350841" y="51606"/>
                  </a:lnTo>
                  <a:lnTo>
                    <a:pt x="350841" y="141593"/>
                  </a:lnTo>
                  <a:lnTo>
                    <a:pt x="340465" y="141593"/>
                  </a:lnTo>
                  <a:close/>
                  <a:moveTo>
                    <a:pt x="303368" y="50006"/>
                  </a:moveTo>
                  <a:cubicBezTo>
                    <a:pt x="307002" y="50010"/>
                    <a:pt x="309886" y="50301"/>
                    <a:pt x="312019" y="50879"/>
                  </a:cubicBezTo>
                  <a:cubicBezTo>
                    <a:pt x="314153" y="51457"/>
                    <a:pt x="315937" y="52297"/>
                    <a:pt x="317370" y="53398"/>
                  </a:cubicBezTo>
                  <a:lnTo>
                    <a:pt x="313770" y="63183"/>
                  </a:lnTo>
                  <a:cubicBezTo>
                    <a:pt x="311682" y="61904"/>
                    <a:pt x="309757" y="61012"/>
                    <a:pt x="307994" y="60508"/>
                  </a:cubicBezTo>
                  <a:cubicBezTo>
                    <a:pt x="306231" y="60003"/>
                    <a:pt x="303956" y="59762"/>
                    <a:pt x="301168" y="59783"/>
                  </a:cubicBezTo>
                  <a:cubicBezTo>
                    <a:pt x="295351" y="59941"/>
                    <a:pt x="290733" y="61474"/>
                    <a:pt x="287316" y="64383"/>
                  </a:cubicBezTo>
                  <a:cubicBezTo>
                    <a:pt x="283899" y="67292"/>
                    <a:pt x="281182" y="70626"/>
                    <a:pt x="279165" y="74384"/>
                  </a:cubicBezTo>
                  <a:lnTo>
                    <a:pt x="279165" y="141593"/>
                  </a:lnTo>
                  <a:lnTo>
                    <a:pt x="268789" y="141593"/>
                  </a:lnTo>
                  <a:lnTo>
                    <a:pt x="268789" y="51606"/>
                  </a:lnTo>
                  <a:lnTo>
                    <a:pt x="279165" y="51606"/>
                  </a:lnTo>
                  <a:lnTo>
                    <a:pt x="279165" y="63583"/>
                  </a:lnTo>
                  <a:cubicBezTo>
                    <a:pt x="281624" y="59696"/>
                    <a:pt x="284808" y="56484"/>
                    <a:pt x="288716" y="53948"/>
                  </a:cubicBezTo>
                  <a:cubicBezTo>
                    <a:pt x="292625" y="51411"/>
                    <a:pt x="297509" y="50098"/>
                    <a:pt x="303368" y="50006"/>
                  </a:cubicBezTo>
                  <a:close/>
                  <a:moveTo>
                    <a:pt x="197882" y="49806"/>
                  </a:moveTo>
                  <a:cubicBezTo>
                    <a:pt x="211013" y="50034"/>
                    <a:pt x="221264" y="54273"/>
                    <a:pt x="228634" y="62523"/>
                  </a:cubicBezTo>
                  <a:cubicBezTo>
                    <a:pt x="236004" y="70773"/>
                    <a:pt x="239751" y="81665"/>
                    <a:pt x="239875" y="95199"/>
                  </a:cubicBezTo>
                  <a:cubicBezTo>
                    <a:pt x="239701" y="109200"/>
                    <a:pt x="235504" y="120659"/>
                    <a:pt x="227283" y="129576"/>
                  </a:cubicBezTo>
                  <a:cubicBezTo>
                    <a:pt x="219062" y="138492"/>
                    <a:pt x="207861" y="143098"/>
                    <a:pt x="193680" y="143393"/>
                  </a:cubicBezTo>
                  <a:cubicBezTo>
                    <a:pt x="188127" y="143414"/>
                    <a:pt x="182875" y="142824"/>
                    <a:pt x="177922" y="141622"/>
                  </a:cubicBezTo>
                  <a:cubicBezTo>
                    <a:pt x="172970" y="140421"/>
                    <a:pt x="168617" y="138484"/>
                    <a:pt x="164865" y="135811"/>
                  </a:cubicBezTo>
                  <a:lnTo>
                    <a:pt x="164865" y="181598"/>
                  </a:lnTo>
                  <a:lnTo>
                    <a:pt x="154489" y="181598"/>
                  </a:lnTo>
                  <a:lnTo>
                    <a:pt x="154489" y="51606"/>
                  </a:lnTo>
                  <a:lnTo>
                    <a:pt x="164865" y="51606"/>
                  </a:lnTo>
                  <a:lnTo>
                    <a:pt x="164865" y="63584"/>
                  </a:lnTo>
                  <a:cubicBezTo>
                    <a:pt x="168405" y="59514"/>
                    <a:pt x="173132" y="56218"/>
                    <a:pt x="179048" y="53698"/>
                  </a:cubicBezTo>
                  <a:cubicBezTo>
                    <a:pt x="184963" y="51178"/>
                    <a:pt x="191242" y="49881"/>
                    <a:pt x="197882" y="49806"/>
                  </a:cubicBezTo>
                  <a:close/>
                  <a:moveTo>
                    <a:pt x="65208" y="15602"/>
                  </a:moveTo>
                  <a:lnTo>
                    <a:pt x="36005" y="83611"/>
                  </a:lnTo>
                  <a:lnTo>
                    <a:pt x="94212" y="83611"/>
                  </a:lnTo>
                  <a:close/>
                  <a:moveTo>
                    <a:pt x="346052" y="10001"/>
                  </a:moveTo>
                  <a:cubicBezTo>
                    <a:pt x="347819" y="10026"/>
                    <a:pt x="349374" y="10626"/>
                    <a:pt x="350719" y="11802"/>
                  </a:cubicBezTo>
                  <a:cubicBezTo>
                    <a:pt x="352063" y="12977"/>
                    <a:pt x="352770" y="14577"/>
                    <a:pt x="352841" y="16602"/>
                  </a:cubicBezTo>
                  <a:cubicBezTo>
                    <a:pt x="352770" y="18923"/>
                    <a:pt x="352063" y="20732"/>
                    <a:pt x="350719" y="22028"/>
                  </a:cubicBezTo>
                  <a:cubicBezTo>
                    <a:pt x="349374" y="23324"/>
                    <a:pt x="347819" y="23982"/>
                    <a:pt x="346052" y="24003"/>
                  </a:cubicBezTo>
                  <a:cubicBezTo>
                    <a:pt x="343998" y="23982"/>
                    <a:pt x="342268" y="23324"/>
                    <a:pt x="340862" y="22028"/>
                  </a:cubicBezTo>
                  <a:cubicBezTo>
                    <a:pt x="339455" y="20732"/>
                    <a:pt x="338723" y="18923"/>
                    <a:pt x="338664" y="16602"/>
                  </a:cubicBezTo>
                  <a:cubicBezTo>
                    <a:pt x="338723" y="14577"/>
                    <a:pt x="339455" y="12977"/>
                    <a:pt x="340862" y="11802"/>
                  </a:cubicBezTo>
                  <a:cubicBezTo>
                    <a:pt x="342268" y="10626"/>
                    <a:pt x="343998" y="10026"/>
                    <a:pt x="346052" y="10001"/>
                  </a:cubicBezTo>
                  <a:close/>
                  <a:moveTo>
                    <a:pt x="634032" y="9776"/>
                  </a:moveTo>
                  <a:cubicBezTo>
                    <a:pt x="622142" y="10014"/>
                    <a:pt x="613605" y="15641"/>
                    <a:pt x="608419" y="26657"/>
                  </a:cubicBezTo>
                  <a:cubicBezTo>
                    <a:pt x="603233" y="37673"/>
                    <a:pt x="600698" y="52653"/>
                    <a:pt x="600815" y="71597"/>
                  </a:cubicBezTo>
                  <a:cubicBezTo>
                    <a:pt x="600728" y="90540"/>
                    <a:pt x="603354" y="105520"/>
                    <a:pt x="608694" y="116536"/>
                  </a:cubicBezTo>
                  <a:cubicBezTo>
                    <a:pt x="614034" y="127552"/>
                    <a:pt x="622614" y="133179"/>
                    <a:pt x="634432" y="133417"/>
                  </a:cubicBezTo>
                  <a:cubicBezTo>
                    <a:pt x="646392" y="133192"/>
                    <a:pt x="654888" y="127590"/>
                    <a:pt x="659920" y="116611"/>
                  </a:cubicBezTo>
                  <a:cubicBezTo>
                    <a:pt x="664951" y="105633"/>
                    <a:pt x="667394" y="90628"/>
                    <a:pt x="667248" y="71597"/>
                  </a:cubicBezTo>
                  <a:cubicBezTo>
                    <a:pt x="667378" y="52566"/>
                    <a:pt x="664868" y="37561"/>
                    <a:pt x="659720" y="26582"/>
                  </a:cubicBezTo>
                  <a:cubicBezTo>
                    <a:pt x="654571" y="15603"/>
                    <a:pt x="646009" y="10001"/>
                    <a:pt x="634032" y="9776"/>
                  </a:cubicBezTo>
                  <a:close/>
                  <a:moveTo>
                    <a:pt x="861920" y="1600"/>
                  </a:moveTo>
                  <a:lnTo>
                    <a:pt x="873902" y="1600"/>
                  </a:lnTo>
                  <a:lnTo>
                    <a:pt x="814714" y="94212"/>
                  </a:lnTo>
                  <a:lnTo>
                    <a:pt x="865721" y="94212"/>
                  </a:lnTo>
                  <a:lnTo>
                    <a:pt x="865721" y="51606"/>
                  </a:lnTo>
                  <a:lnTo>
                    <a:pt x="876097" y="51606"/>
                  </a:lnTo>
                  <a:lnTo>
                    <a:pt x="876097" y="94212"/>
                  </a:lnTo>
                  <a:lnTo>
                    <a:pt x="896700" y="94212"/>
                  </a:lnTo>
                  <a:lnTo>
                    <a:pt x="896700" y="104588"/>
                  </a:lnTo>
                  <a:lnTo>
                    <a:pt x="876097" y="104588"/>
                  </a:lnTo>
                  <a:lnTo>
                    <a:pt x="876097" y="141593"/>
                  </a:lnTo>
                  <a:lnTo>
                    <a:pt x="865721" y="141593"/>
                  </a:lnTo>
                  <a:lnTo>
                    <a:pt x="865721" y="104588"/>
                  </a:lnTo>
                  <a:lnTo>
                    <a:pt x="800713" y="104588"/>
                  </a:lnTo>
                  <a:lnTo>
                    <a:pt x="800713" y="97604"/>
                  </a:lnTo>
                  <a:close/>
                  <a:moveTo>
                    <a:pt x="383089" y="1600"/>
                  </a:moveTo>
                  <a:lnTo>
                    <a:pt x="393465" y="1600"/>
                  </a:lnTo>
                  <a:lnTo>
                    <a:pt x="393465" y="112814"/>
                  </a:lnTo>
                  <a:cubicBezTo>
                    <a:pt x="393407" y="119607"/>
                    <a:pt x="394374" y="124674"/>
                    <a:pt x="396366" y="128016"/>
                  </a:cubicBezTo>
                  <a:cubicBezTo>
                    <a:pt x="398358" y="131358"/>
                    <a:pt x="401725" y="133025"/>
                    <a:pt x="406467" y="133017"/>
                  </a:cubicBezTo>
                  <a:cubicBezTo>
                    <a:pt x="408905" y="132971"/>
                    <a:pt x="411230" y="132512"/>
                    <a:pt x="413443" y="131641"/>
                  </a:cubicBezTo>
                  <a:cubicBezTo>
                    <a:pt x="415656" y="130771"/>
                    <a:pt x="417531" y="129762"/>
                    <a:pt x="419068" y="128616"/>
                  </a:cubicBezTo>
                  <a:lnTo>
                    <a:pt x="421669" y="136807"/>
                  </a:lnTo>
                  <a:cubicBezTo>
                    <a:pt x="419552" y="138453"/>
                    <a:pt x="416885" y="139850"/>
                    <a:pt x="413668" y="140997"/>
                  </a:cubicBezTo>
                  <a:cubicBezTo>
                    <a:pt x="410451" y="142144"/>
                    <a:pt x="406784" y="142743"/>
                    <a:pt x="402666" y="142793"/>
                  </a:cubicBezTo>
                  <a:cubicBezTo>
                    <a:pt x="395992" y="142802"/>
                    <a:pt x="391055" y="140789"/>
                    <a:pt x="387856" y="136753"/>
                  </a:cubicBezTo>
                  <a:cubicBezTo>
                    <a:pt x="384657" y="132717"/>
                    <a:pt x="383068" y="126604"/>
                    <a:pt x="383089" y="118415"/>
                  </a:cubicBezTo>
                  <a:close/>
                  <a:moveTo>
                    <a:pt x="61008" y="400"/>
                  </a:moveTo>
                  <a:lnTo>
                    <a:pt x="70009" y="400"/>
                  </a:lnTo>
                  <a:lnTo>
                    <a:pt x="131016" y="141593"/>
                  </a:lnTo>
                  <a:lnTo>
                    <a:pt x="119215" y="141593"/>
                  </a:lnTo>
                  <a:lnTo>
                    <a:pt x="98812" y="93987"/>
                  </a:lnTo>
                  <a:lnTo>
                    <a:pt x="31604" y="93987"/>
                  </a:lnTo>
                  <a:lnTo>
                    <a:pt x="11201" y="141593"/>
                  </a:lnTo>
                  <a:lnTo>
                    <a:pt x="0" y="141593"/>
                  </a:lnTo>
                  <a:close/>
                  <a:moveTo>
                    <a:pt x="741343" y="0"/>
                  </a:moveTo>
                  <a:cubicBezTo>
                    <a:pt x="749926" y="121"/>
                    <a:pt x="756961" y="1877"/>
                    <a:pt x="762450" y="5269"/>
                  </a:cubicBezTo>
                  <a:cubicBezTo>
                    <a:pt x="767940" y="8661"/>
                    <a:pt x="771996" y="12964"/>
                    <a:pt x="774618" y="18179"/>
                  </a:cubicBezTo>
                  <a:cubicBezTo>
                    <a:pt x="777240" y="23394"/>
                    <a:pt x="778542" y="28796"/>
                    <a:pt x="778523" y="34385"/>
                  </a:cubicBezTo>
                  <a:cubicBezTo>
                    <a:pt x="778282" y="44258"/>
                    <a:pt x="775515" y="54322"/>
                    <a:pt x="770220" y="64576"/>
                  </a:cubicBezTo>
                  <a:cubicBezTo>
                    <a:pt x="764924" y="74830"/>
                    <a:pt x="758545" y="84556"/>
                    <a:pt x="751082" y="93754"/>
                  </a:cubicBezTo>
                  <a:cubicBezTo>
                    <a:pt x="743619" y="102952"/>
                    <a:pt x="736514" y="110902"/>
                    <a:pt x="729769" y="117606"/>
                  </a:cubicBezTo>
                  <a:cubicBezTo>
                    <a:pt x="723024" y="124309"/>
                    <a:pt x="718081" y="129046"/>
                    <a:pt x="714940" y="131817"/>
                  </a:cubicBezTo>
                  <a:lnTo>
                    <a:pt x="784724" y="131817"/>
                  </a:lnTo>
                  <a:lnTo>
                    <a:pt x="784724" y="141593"/>
                  </a:lnTo>
                  <a:lnTo>
                    <a:pt x="701338" y="141593"/>
                  </a:lnTo>
                  <a:lnTo>
                    <a:pt x="701338" y="133014"/>
                  </a:lnTo>
                  <a:cubicBezTo>
                    <a:pt x="707206" y="127334"/>
                    <a:pt x="713861" y="120652"/>
                    <a:pt x="721303" y="112965"/>
                  </a:cubicBezTo>
                  <a:cubicBezTo>
                    <a:pt x="728746" y="105279"/>
                    <a:pt x="735976" y="97058"/>
                    <a:pt x="742994" y="88302"/>
                  </a:cubicBezTo>
                  <a:cubicBezTo>
                    <a:pt x="750011" y="79546"/>
                    <a:pt x="755816" y="70725"/>
                    <a:pt x="760408" y="61838"/>
                  </a:cubicBezTo>
                  <a:cubicBezTo>
                    <a:pt x="765000" y="52950"/>
                    <a:pt x="767380" y="44466"/>
                    <a:pt x="767546" y="36386"/>
                  </a:cubicBezTo>
                  <a:cubicBezTo>
                    <a:pt x="767555" y="29438"/>
                    <a:pt x="765338" y="23427"/>
                    <a:pt x="760896" y="18354"/>
                  </a:cubicBezTo>
                  <a:cubicBezTo>
                    <a:pt x="756454" y="13282"/>
                    <a:pt x="749736" y="10622"/>
                    <a:pt x="740743" y="10376"/>
                  </a:cubicBezTo>
                  <a:cubicBezTo>
                    <a:pt x="734380" y="10322"/>
                    <a:pt x="728404" y="12331"/>
                    <a:pt x="722816" y="16404"/>
                  </a:cubicBezTo>
                  <a:cubicBezTo>
                    <a:pt x="717228" y="20476"/>
                    <a:pt x="713602" y="26937"/>
                    <a:pt x="711940" y="35785"/>
                  </a:cubicBezTo>
                  <a:lnTo>
                    <a:pt x="702938" y="32384"/>
                  </a:lnTo>
                  <a:cubicBezTo>
                    <a:pt x="704751" y="21757"/>
                    <a:pt x="709327" y="13709"/>
                    <a:pt x="716665" y="8240"/>
                  </a:cubicBezTo>
                  <a:cubicBezTo>
                    <a:pt x="724004" y="2770"/>
                    <a:pt x="732230" y="24"/>
                    <a:pt x="741343" y="0"/>
                  </a:cubicBezTo>
                  <a:close/>
                  <a:moveTo>
                    <a:pt x="634032" y="0"/>
                  </a:moveTo>
                  <a:cubicBezTo>
                    <a:pt x="644405" y="117"/>
                    <a:pt x="652848" y="3237"/>
                    <a:pt x="659363" y="9359"/>
                  </a:cubicBezTo>
                  <a:cubicBezTo>
                    <a:pt x="665878" y="15482"/>
                    <a:pt x="670658" y="23905"/>
                    <a:pt x="673704" y="34629"/>
                  </a:cubicBezTo>
                  <a:cubicBezTo>
                    <a:pt x="676750" y="45353"/>
                    <a:pt x="678257" y="57675"/>
                    <a:pt x="678225" y="71597"/>
                  </a:cubicBezTo>
                  <a:cubicBezTo>
                    <a:pt x="678262" y="85581"/>
                    <a:pt x="676790" y="97933"/>
                    <a:pt x="673808" y="108654"/>
                  </a:cubicBezTo>
                  <a:cubicBezTo>
                    <a:pt x="670826" y="119374"/>
                    <a:pt x="666110" y="127782"/>
                    <a:pt x="659659" y="133878"/>
                  </a:cubicBezTo>
                  <a:cubicBezTo>
                    <a:pt x="653209" y="139975"/>
                    <a:pt x="644800" y="143080"/>
                    <a:pt x="634432" y="143193"/>
                  </a:cubicBezTo>
                  <a:cubicBezTo>
                    <a:pt x="624054" y="143080"/>
                    <a:pt x="615576" y="139975"/>
                    <a:pt x="608997" y="133878"/>
                  </a:cubicBezTo>
                  <a:cubicBezTo>
                    <a:pt x="602418" y="127782"/>
                    <a:pt x="597574" y="119374"/>
                    <a:pt x="594463" y="108654"/>
                  </a:cubicBezTo>
                  <a:cubicBezTo>
                    <a:pt x="591353" y="97933"/>
                    <a:pt x="589811" y="85581"/>
                    <a:pt x="589839" y="71597"/>
                  </a:cubicBezTo>
                  <a:cubicBezTo>
                    <a:pt x="589806" y="57675"/>
                    <a:pt x="591313" y="45353"/>
                    <a:pt x="594359" y="34629"/>
                  </a:cubicBezTo>
                  <a:cubicBezTo>
                    <a:pt x="597406" y="23905"/>
                    <a:pt x="602186" y="15482"/>
                    <a:pt x="608701" y="9359"/>
                  </a:cubicBezTo>
                  <a:cubicBezTo>
                    <a:pt x="615215" y="3237"/>
                    <a:pt x="623659" y="117"/>
                    <a:pt x="634032" y="0"/>
                  </a:cubicBezTo>
                  <a:close/>
                  <a:moveTo>
                    <a:pt x="522268" y="0"/>
                  </a:moveTo>
                  <a:cubicBezTo>
                    <a:pt x="530850" y="121"/>
                    <a:pt x="537886" y="1877"/>
                    <a:pt x="543376" y="5269"/>
                  </a:cubicBezTo>
                  <a:cubicBezTo>
                    <a:pt x="548865" y="8661"/>
                    <a:pt x="552921" y="12964"/>
                    <a:pt x="555543" y="18179"/>
                  </a:cubicBezTo>
                  <a:cubicBezTo>
                    <a:pt x="558165" y="23394"/>
                    <a:pt x="559467" y="28796"/>
                    <a:pt x="559448" y="34385"/>
                  </a:cubicBezTo>
                  <a:cubicBezTo>
                    <a:pt x="559207" y="44258"/>
                    <a:pt x="556440" y="54322"/>
                    <a:pt x="551144" y="64576"/>
                  </a:cubicBezTo>
                  <a:cubicBezTo>
                    <a:pt x="545850" y="74830"/>
                    <a:pt x="539470" y="84556"/>
                    <a:pt x="532007" y="93754"/>
                  </a:cubicBezTo>
                  <a:cubicBezTo>
                    <a:pt x="524544" y="102952"/>
                    <a:pt x="517439" y="110902"/>
                    <a:pt x="510694" y="117606"/>
                  </a:cubicBezTo>
                  <a:cubicBezTo>
                    <a:pt x="503949" y="124309"/>
                    <a:pt x="499006" y="129046"/>
                    <a:pt x="495865" y="131817"/>
                  </a:cubicBezTo>
                  <a:lnTo>
                    <a:pt x="565649" y="131817"/>
                  </a:lnTo>
                  <a:lnTo>
                    <a:pt x="565649" y="141593"/>
                  </a:lnTo>
                  <a:lnTo>
                    <a:pt x="482263" y="141593"/>
                  </a:lnTo>
                  <a:lnTo>
                    <a:pt x="482263" y="133014"/>
                  </a:lnTo>
                  <a:cubicBezTo>
                    <a:pt x="488131" y="127334"/>
                    <a:pt x="494786" y="120652"/>
                    <a:pt x="502228" y="112965"/>
                  </a:cubicBezTo>
                  <a:cubicBezTo>
                    <a:pt x="509671" y="105279"/>
                    <a:pt x="516901" y="97058"/>
                    <a:pt x="523918" y="88302"/>
                  </a:cubicBezTo>
                  <a:cubicBezTo>
                    <a:pt x="530936" y="79546"/>
                    <a:pt x="536741" y="70725"/>
                    <a:pt x="541333" y="61838"/>
                  </a:cubicBezTo>
                  <a:cubicBezTo>
                    <a:pt x="545925" y="52950"/>
                    <a:pt x="548305" y="44466"/>
                    <a:pt x="548472" y="36386"/>
                  </a:cubicBezTo>
                  <a:cubicBezTo>
                    <a:pt x="548480" y="29438"/>
                    <a:pt x="546263" y="23427"/>
                    <a:pt x="541821" y="18354"/>
                  </a:cubicBezTo>
                  <a:cubicBezTo>
                    <a:pt x="537378" y="13282"/>
                    <a:pt x="530661" y="10622"/>
                    <a:pt x="521668" y="10376"/>
                  </a:cubicBezTo>
                  <a:cubicBezTo>
                    <a:pt x="515305" y="10322"/>
                    <a:pt x="509329" y="12331"/>
                    <a:pt x="503741" y="16404"/>
                  </a:cubicBezTo>
                  <a:cubicBezTo>
                    <a:pt x="498153" y="20476"/>
                    <a:pt x="494527" y="26937"/>
                    <a:pt x="492865" y="35785"/>
                  </a:cubicBezTo>
                  <a:lnTo>
                    <a:pt x="483864" y="32384"/>
                  </a:lnTo>
                  <a:cubicBezTo>
                    <a:pt x="485676" y="21757"/>
                    <a:pt x="490252" y="13709"/>
                    <a:pt x="497590" y="8240"/>
                  </a:cubicBezTo>
                  <a:cubicBezTo>
                    <a:pt x="504929" y="2770"/>
                    <a:pt x="513155" y="24"/>
                    <a:pt x="522268" y="0"/>
                  </a:cubicBez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11700392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" name="think-cell data - do not delete" hidden="1">
            <a:extLst>
              <a:ext uri="{FF2B5EF4-FFF2-40B4-BE49-F238E27FC236}">
                <a16:creationId xmlns:a16="http://schemas.microsoft.com/office/drawing/2014/main" id="{25A46134-C505-9CE2-1834-50DD952252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549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5" name="Групувати 54">
            <a:extLst>
              <a:ext uri="{FF2B5EF4-FFF2-40B4-BE49-F238E27FC236}">
                <a16:creationId xmlns:a16="http://schemas.microsoft.com/office/drawing/2014/main" id="{AE7A18B4-38A9-C4B3-0A5E-4CF2F4117217}"/>
              </a:ext>
            </a:extLst>
          </p:cNvPr>
          <p:cNvGrpSpPr/>
          <p:nvPr/>
        </p:nvGrpSpPr>
        <p:grpSpPr>
          <a:xfrm>
            <a:off x="5363843" y="1602527"/>
            <a:ext cx="1924868" cy="1651936"/>
            <a:chOff x="5363843" y="1602527"/>
            <a:chExt cx="1924868" cy="1651936"/>
          </a:xfrm>
        </p:grpSpPr>
        <p:grpSp>
          <p:nvGrpSpPr>
            <p:cNvPr id="44" name="Групувати 43">
              <a:extLst>
                <a:ext uri="{FF2B5EF4-FFF2-40B4-BE49-F238E27FC236}">
                  <a16:creationId xmlns:a16="http://schemas.microsoft.com/office/drawing/2014/main" id="{33B10869-BD28-4EE0-89D6-78321C86FB8A}"/>
                </a:ext>
              </a:extLst>
            </p:cNvPr>
            <p:cNvGrpSpPr/>
            <p:nvPr/>
          </p:nvGrpSpPr>
          <p:grpSpPr>
            <a:xfrm>
              <a:off x="6011270" y="1602527"/>
              <a:ext cx="716344" cy="785594"/>
              <a:chOff x="5748629" y="6545696"/>
              <a:chExt cx="1334387" cy="1463385"/>
            </a:xfrm>
          </p:grpSpPr>
          <p:grpSp>
            <p:nvGrpSpPr>
              <p:cNvPr id="45" name="Групувати 44">
                <a:extLst>
                  <a:ext uri="{FF2B5EF4-FFF2-40B4-BE49-F238E27FC236}">
                    <a16:creationId xmlns:a16="http://schemas.microsoft.com/office/drawing/2014/main" id="{D0600D4D-CA12-BBED-12F8-ABBAF14F35F0}"/>
                  </a:ext>
                </a:extLst>
              </p:cNvPr>
              <p:cNvGrpSpPr/>
              <p:nvPr/>
            </p:nvGrpSpPr>
            <p:grpSpPr>
              <a:xfrm>
                <a:off x="5750989" y="6553877"/>
                <a:ext cx="1324788" cy="1454967"/>
                <a:chOff x="6421452" y="5214422"/>
                <a:chExt cx="1324788" cy="1454967"/>
              </a:xfrm>
            </p:grpSpPr>
            <p:sp>
              <p:nvSpPr>
                <p:cNvPr id="53" name="Полілінія: фігура 52">
                  <a:extLst>
                    <a:ext uri="{FF2B5EF4-FFF2-40B4-BE49-F238E27FC236}">
                      <a16:creationId xmlns:a16="http://schemas.microsoft.com/office/drawing/2014/main" id="{E118F878-C2B9-95F5-9F73-9039D94E1B44}"/>
                    </a:ext>
                  </a:extLst>
                </p:cNvPr>
                <p:cNvSpPr/>
                <p:nvPr/>
              </p:nvSpPr>
              <p:spPr>
                <a:xfrm>
                  <a:off x="6421452" y="5214422"/>
                  <a:ext cx="690893" cy="1454967"/>
                </a:xfrm>
                <a:custGeom>
                  <a:avLst/>
                  <a:gdLst>
                    <a:gd name="connsiteX0" fmla="*/ 661383 w 690893"/>
                    <a:gd name="connsiteY0" fmla="*/ 12129 h 1454967"/>
                    <a:gd name="connsiteX1" fmla="*/ 661383 w 690893"/>
                    <a:gd name="connsiteY1" fmla="*/ 1452580 h 1454967"/>
                    <a:gd name="connsiteX2" fmla="*/ 657176 w 690893"/>
                    <a:gd name="connsiteY2" fmla="*/ 1454967 h 1454967"/>
                    <a:gd name="connsiteX3" fmla="*/ 0 w 690893"/>
                    <a:gd name="connsiteY3" fmla="*/ 1080947 h 1454967"/>
                    <a:gd name="connsiteX4" fmla="*/ 0 w 690893"/>
                    <a:gd name="connsiteY4" fmla="*/ 838488 h 1454967"/>
                    <a:gd name="connsiteX5" fmla="*/ 0 w 690893"/>
                    <a:gd name="connsiteY5" fmla="*/ 621465 h 1454967"/>
                    <a:gd name="connsiteX6" fmla="*/ 0 w 690893"/>
                    <a:gd name="connsiteY6" fmla="*/ 379006 h 1454967"/>
                    <a:gd name="connsiteX7" fmla="*/ 22753 w 690893"/>
                    <a:gd name="connsiteY7" fmla="*/ 366386 h 1454967"/>
                    <a:gd name="connsiteX8" fmla="*/ 683258 w 690893"/>
                    <a:gd name="connsiteY8" fmla="*/ 0 h 1454967"/>
                    <a:gd name="connsiteX9" fmla="*/ 690893 w 690893"/>
                    <a:gd name="connsiteY9" fmla="*/ 4452 h 1454967"/>
                    <a:gd name="connsiteX10" fmla="*/ 690893 w 690893"/>
                    <a:gd name="connsiteY10" fmla="*/ 1435832 h 1454967"/>
                    <a:gd name="connsiteX11" fmla="*/ 661390 w 690893"/>
                    <a:gd name="connsiteY11" fmla="*/ 1452581 h 1454967"/>
                    <a:gd name="connsiteX12" fmla="*/ 661390 w 690893"/>
                    <a:gd name="connsiteY12" fmla="*/ 12130 h 14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90893" h="1454967">
                      <a:moveTo>
                        <a:pt x="661383" y="12129"/>
                      </a:moveTo>
                      <a:lnTo>
                        <a:pt x="661383" y="1452580"/>
                      </a:lnTo>
                      <a:lnTo>
                        <a:pt x="657176" y="1454967"/>
                      </a:lnTo>
                      <a:lnTo>
                        <a:pt x="0" y="1080947"/>
                      </a:lnTo>
                      <a:lnTo>
                        <a:pt x="0" y="838488"/>
                      </a:lnTo>
                      <a:lnTo>
                        <a:pt x="0" y="621465"/>
                      </a:lnTo>
                      <a:lnTo>
                        <a:pt x="0" y="379006"/>
                      </a:lnTo>
                      <a:lnTo>
                        <a:pt x="22753" y="366386"/>
                      </a:lnTo>
                      <a:close/>
                      <a:moveTo>
                        <a:pt x="683258" y="0"/>
                      </a:moveTo>
                      <a:lnTo>
                        <a:pt x="690893" y="4452"/>
                      </a:lnTo>
                      <a:lnTo>
                        <a:pt x="690893" y="1435832"/>
                      </a:lnTo>
                      <a:lnTo>
                        <a:pt x="661390" y="1452581"/>
                      </a:lnTo>
                      <a:lnTo>
                        <a:pt x="661390" y="12130"/>
                      </a:lnTo>
                      <a:close/>
                    </a:path>
                  </a:pathLst>
                </a:custGeom>
                <a:solidFill>
                  <a:srgbClr val="D3D1D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4" name="Полілінія: фігура 53">
                  <a:extLst>
                    <a:ext uri="{FF2B5EF4-FFF2-40B4-BE49-F238E27FC236}">
                      <a16:creationId xmlns:a16="http://schemas.microsoft.com/office/drawing/2014/main" id="{8149A022-9B15-ADED-5D39-5EA3F5B84E63}"/>
                    </a:ext>
                  </a:extLst>
                </p:cNvPr>
                <p:cNvSpPr/>
                <p:nvPr/>
              </p:nvSpPr>
              <p:spPr>
                <a:xfrm>
                  <a:off x="7112345" y="5218873"/>
                  <a:ext cx="633895" cy="1431380"/>
                </a:xfrm>
                <a:custGeom>
                  <a:avLst/>
                  <a:gdLst>
                    <a:gd name="connsiteX0" fmla="*/ 0 w 633895"/>
                    <a:gd name="connsiteY0" fmla="*/ 0 h 1431380"/>
                    <a:gd name="connsiteX1" fmla="*/ 611721 w 633895"/>
                    <a:gd name="connsiteY1" fmla="*/ 356641 h 1431380"/>
                    <a:gd name="connsiteX2" fmla="*/ 633895 w 633895"/>
                    <a:gd name="connsiteY2" fmla="*/ 369568 h 1431380"/>
                    <a:gd name="connsiteX3" fmla="*/ 633895 w 633895"/>
                    <a:gd name="connsiteY3" fmla="*/ 612028 h 1431380"/>
                    <a:gd name="connsiteX4" fmla="*/ 633895 w 633895"/>
                    <a:gd name="connsiteY4" fmla="*/ 829051 h 1431380"/>
                    <a:gd name="connsiteX5" fmla="*/ 633895 w 633895"/>
                    <a:gd name="connsiteY5" fmla="*/ 1071510 h 1431380"/>
                    <a:gd name="connsiteX6" fmla="*/ 0 w 633895"/>
                    <a:gd name="connsiteY6" fmla="*/ 1431380 h 1431380"/>
                    <a:gd name="connsiteX7" fmla="*/ 0 w 633895"/>
                    <a:gd name="connsiteY7" fmla="*/ 0 h 1431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95" h="1431380">
                      <a:moveTo>
                        <a:pt x="0" y="0"/>
                      </a:moveTo>
                      <a:lnTo>
                        <a:pt x="611721" y="356641"/>
                      </a:lnTo>
                      <a:lnTo>
                        <a:pt x="633895" y="369568"/>
                      </a:lnTo>
                      <a:lnTo>
                        <a:pt x="633895" y="612028"/>
                      </a:lnTo>
                      <a:lnTo>
                        <a:pt x="633895" y="829051"/>
                      </a:lnTo>
                      <a:lnTo>
                        <a:pt x="633895" y="1071510"/>
                      </a:lnTo>
                      <a:lnTo>
                        <a:pt x="0" y="143138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7E6E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sp>
            <p:nvSpPr>
              <p:cNvPr id="46" name="Полілінія: фігура 45">
                <a:extLst>
                  <a:ext uri="{FF2B5EF4-FFF2-40B4-BE49-F238E27FC236}">
                    <a16:creationId xmlns:a16="http://schemas.microsoft.com/office/drawing/2014/main" id="{1CDCA752-4D25-3E40-C99A-AF8633DE7EE5}"/>
                  </a:ext>
                </a:extLst>
              </p:cNvPr>
              <p:cNvSpPr/>
              <p:nvPr/>
            </p:nvSpPr>
            <p:spPr>
              <a:xfrm>
                <a:off x="6407080" y="6988774"/>
                <a:ext cx="17466" cy="10371"/>
              </a:xfrm>
              <a:custGeom>
                <a:avLst/>
                <a:gdLst>
                  <a:gd name="connsiteX0" fmla="*/ 16890 w 17466"/>
                  <a:gd name="connsiteY0" fmla="*/ 0 h 10371"/>
                  <a:gd name="connsiteX1" fmla="*/ 17466 w 17466"/>
                  <a:gd name="connsiteY1" fmla="*/ 340 h 10371"/>
                  <a:gd name="connsiteX2" fmla="*/ 0 w 17466"/>
                  <a:gd name="connsiteY2" fmla="*/ 10371 h 10371"/>
                  <a:gd name="connsiteX3" fmla="*/ 0 w 17466"/>
                  <a:gd name="connsiteY3" fmla="*/ 9701 h 10371"/>
                  <a:gd name="connsiteX4" fmla="*/ 16890 w 17466"/>
                  <a:gd name="connsiteY4" fmla="*/ 0 h 10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66" h="10371">
                    <a:moveTo>
                      <a:pt x="16890" y="0"/>
                    </a:moveTo>
                    <a:lnTo>
                      <a:pt x="17466" y="340"/>
                    </a:lnTo>
                    <a:lnTo>
                      <a:pt x="0" y="10371"/>
                    </a:lnTo>
                    <a:lnTo>
                      <a:pt x="0" y="9701"/>
                    </a:lnTo>
                    <a:lnTo>
                      <a:pt x="1689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grpSp>
            <p:nvGrpSpPr>
              <p:cNvPr id="47" name="Групувати 46">
                <a:extLst>
                  <a:ext uri="{FF2B5EF4-FFF2-40B4-BE49-F238E27FC236}">
                    <a16:creationId xmlns:a16="http://schemas.microsoft.com/office/drawing/2014/main" id="{C23711E4-1B6A-6D44-B948-34369A179707}"/>
                  </a:ext>
                </a:extLst>
              </p:cNvPr>
              <p:cNvGrpSpPr/>
              <p:nvPr/>
            </p:nvGrpSpPr>
            <p:grpSpPr>
              <a:xfrm>
                <a:off x="5748629" y="6852356"/>
                <a:ext cx="1334387" cy="1156725"/>
                <a:chOff x="6407980" y="5514201"/>
                <a:chExt cx="1334387" cy="1156725"/>
              </a:xfrm>
            </p:grpSpPr>
            <p:sp>
              <p:nvSpPr>
                <p:cNvPr id="50" name="Полілінія: фігура 49">
                  <a:extLst>
                    <a:ext uri="{FF2B5EF4-FFF2-40B4-BE49-F238E27FC236}">
                      <a16:creationId xmlns:a16="http://schemas.microsoft.com/office/drawing/2014/main" id="{5B4429B2-CED6-C5D5-00EB-F35B592DD0C0}"/>
                    </a:ext>
                  </a:extLst>
                </p:cNvPr>
                <p:cNvSpPr/>
                <p:nvPr/>
              </p:nvSpPr>
              <p:spPr>
                <a:xfrm>
                  <a:off x="6414498" y="5514201"/>
                  <a:ext cx="1325634" cy="757066"/>
                </a:xfrm>
                <a:custGeom>
                  <a:avLst/>
                  <a:gdLst>
                    <a:gd name="connsiteX0" fmla="*/ 680770 w 1325634"/>
                    <a:gd name="connsiteY0" fmla="*/ 0 h 757066"/>
                    <a:gd name="connsiteX1" fmla="*/ 1325627 w 1325634"/>
                    <a:gd name="connsiteY1" fmla="*/ 380700 h 757066"/>
                    <a:gd name="connsiteX2" fmla="*/ 1325634 w 1325634"/>
                    <a:gd name="connsiteY2" fmla="*/ 381367 h 757066"/>
                    <a:gd name="connsiteX3" fmla="*/ 670979 w 1325634"/>
                    <a:gd name="connsiteY3" fmla="*/ 757066 h 757066"/>
                    <a:gd name="connsiteX4" fmla="*/ 0 w 1325634"/>
                    <a:gd name="connsiteY4" fmla="*/ 390981 h 757066"/>
                    <a:gd name="connsiteX5" fmla="*/ 680770 w 1325634"/>
                    <a:gd name="connsiteY5" fmla="*/ 0 h 757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5634" h="757066">
                      <a:moveTo>
                        <a:pt x="680770" y="0"/>
                      </a:moveTo>
                      <a:lnTo>
                        <a:pt x="1325627" y="380700"/>
                      </a:lnTo>
                      <a:lnTo>
                        <a:pt x="1325634" y="381367"/>
                      </a:lnTo>
                      <a:lnTo>
                        <a:pt x="670979" y="757066"/>
                      </a:lnTo>
                      <a:lnTo>
                        <a:pt x="0" y="390981"/>
                      </a:lnTo>
                      <a:lnTo>
                        <a:pt x="680770" y="0"/>
                      </a:lnTo>
                      <a:close/>
                    </a:path>
                  </a:pathLst>
                </a:custGeom>
                <a:solidFill>
                  <a:srgbClr val="B7D3ED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1" name="Полілінія: фігура 50">
                  <a:extLst>
                    <a:ext uri="{FF2B5EF4-FFF2-40B4-BE49-F238E27FC236}">
                      <a16:creationId xmlns:a16="http://schemas.microsoft.com/office/drawing/2014/main" id="{EBB11D11-2F38-965B-D3A4-907FF3B76BA3}"/>
                    </a:ext>
                  </a:extLst>
                </p:cNvPr>
                <p:cNvSpPr/>
                <p:nvPr/>
              </p:nvSpPr>
              <p:spPr>
                <a:xfrm>
                  <a:off x="6407980" y="5899353"/>
                  <a:ext cx="671945" cy="767650"/>
                </a:xfrm>
                <a:custGeom>
                  <a:avLst/>
                  <a:gdLst>
                    <a:gd name="connsiteX0" fmla="*/ 664472 w 664472"/>
                    <a:gd name="connsiteY0" fmla="*/ 0 h 982583"/>
                    <a:gd name="connsiteX1" fmla="*/ 664472 w 664472"/>
                    <a:gd name="connsiteY1" fmla="*/ 670 h 982583"/>
                    <a:gd name="connsiteX2" fmla="*/ 1168 w 664472"/>
                    <a:gd name="connsiteY2" fmla="*/ 381620 h 982583"/>
                    <a:gd name="connsiteX3" fmla="*/ 664472 w 664472"/>
                    <a:gd name="connsiteY3" fmla="*/ 743518 h 982583"/>
                    <a:gd name="connsiteX4" fmla="*/ 664472 w 664472"/>
                    <a:gd name="connsiteY4" fmla="*/ 982197 h 982583"/>
                    <a:gd name="connsiteX5" fmla="*/ 663790 w 664472"/>
                    <a:gd name="connsiteY5" fmla="*/ 982583 h 982583"/>
                    <a:gd name="connsiteX6" fmla="*/ 4717 w 664472"/>
                    <a:gd name="connsiteY6" fmla="*/ 616498 h 982583"/>
                    <a:gd name="connsiteX7" fmla="*/ 0 w 664472"/>
                    <a:gd name="connsiteY7" fmla="*/ 381620 h 982583"/>
                    <a:gd name="connsiteX8" fmla="*/ 664472 w 664472"/>
                    <a:gd name="connsiteY8" fmla="*/ 0 h 982583"/>
                    <a:gd name="connsiteX0" fmla="*/ 0 w 664472"/>
                    <a:gd name="connsiteY0" fmla="*/ 380950 h 981913"/>
                    <a:gd name="connsiteX1" fmla="*/ 664472 w 664472"/>
                    <a:gd name="connsiteY1" fmla="*/ 0 h 981913"/>
                    <a:gd name="connsiteX2" fmla="*/ 1168 w 664472"/>
                    <a:gd name="connsiteY2" fmla="*/ 380950 h 981913"/>
                    <a:gd name="connsiteX3" fmla="*/ 664472 w 664472"/>
                    <a:gd name="connsiteY3" fmla="*/ 742848 h 981913"/>
                    <a:gd name="connsiteX4" fmla="*/ 664472 w 664472"/>
                    <a:gd name="connsiteY4" fmla="*/ 981527 h 981913"/>
                    <a:gd name="connsiteX5" fmla="*/ 663790 w 664472"/>
                    <a:gd name="connsiteY5" fmla="*/ 981913 h 981913"/>
                    <a:gd name="connsiteX6" fmla="*/ 4717 w 664472"/>
                    <a:gd name="connsiteY6" fmla="*/ 615828 h 981913"/>
                    <a:gd name="connsiteX7" fmla="*/ 0 w 664472"/>
                    <a:gd name="connsiteY7" fmla="*/ 380950 h 981913"/>
                    <a:gd name="connsiteX0" fmla="*/ 0 w 664472"/>
                    <a:gd name="connsiteY0" fmla="*/ 0 h 600963"/>
                    <a:gd name="connsiteX1" fmla="*/ 1168 w 664472"/>
                    <a:gd name="connsiteY1" fmla="*/ 0 h 600963"/>
                    <a:gd name="connsiteX2" fmla="*/ 664472 w 664472"/>
                    <a:gd name="connsiteY2" fmla="*/ 361898 h 600963"/>
                    <a:gd name="connsiteX3" fmla="*/ 664472 w 664472"/>
                    <a:gd name="connsiteY3" fmla="*/ 600577 h 600963"/>
                    <a:gd name="connsiteX4" fmla="*/ 663790 w 664472"/>
                    <a:gd name="connsiteY4" fmla="*/ 600963 h 600963"/>
                    <a:gd name="connsiteX5" fmla="*/ 4717 w 664472"/>
                    <a:gd name="connsiteY5" fmla="*/ 234878 h 600963"/>
                    <a:gd name="connsiteX6" fmla="*/ 0 w 664472"/>
                    <a:gd name="connsiteY6" fmla="*/ 0 h 600963"/>
                    <a:gd name="connsiteX0" fmla="*/ 5014 w 669486"/>
                    <a:gd name="connsiteY0" fmla="*/ 0 h 600963"/>
                    <a:gd name="connsiteX1" fmla="*/ 6182 w 669486"/>
                    <a:gd name="connsiteY1" fmla="*/ 0 h 600963"/>
                    <a:gd name="connsiteX2" fmla="*/ 669486 w 669486"/>
                    <a:gd name="connsiteY2" fmla="*/ 361898 h 600963"/>
                    <a:gd name="connsiteX3" fmla="*/ 669486 w 669486"/>
                    <a:gd name="connsiteY3" fmla="*/ 600577 h 600963"/>
                    <a:gd name="connsiteX4" fmla="*/ 668804 w 669486"/>
                    <a:gd name="connsiteY4" fmla="*/ 600963 h 600963"/>
                    <a:gd name="connsiteX5" fmla="*/ 206 w 669486"/>
                    <a:gd name="connsiteY5" fmla="*/ 234878 h 600963"/>
                    <a:gd name="connsiteX6" fmla="*/ 5014 w 669486"/>
                    <a:gd name="connsiteY6" fmla="*/ 0 h 600963"/>
                    <a:gd name="connsiteX0" fmla="*/ 5014 w 669486"/>
                    <a:gd name="connsiteY0" fmla="*/ 0 h 736694"/>
                    <a:gd name="connsiteX1" fmla="*/ 6182 w 669486"/>
                    <a:gd name="connsiteY1" fmla="*/ 135731 h 736694"/>
                    <a:gd name="connsiteX2" fmla="*/ 669486 w 669486"/>
                    <a:gd name="connsiteY2" fmla="*/ 497629 h 736694"/>
                    <a:gd name="connsiteX3" fmla="*/ 669486 w 669486"/>
                    <a:gd name="connsiteY3" fmla="*/ 736308 h 736694"/>
                    <a:gd name="connsiteX4" fmla="*/ 668804 w 669486"/>
                    <a:gd name="connsiteY4" fmla="*/ 736694 h 736694"/>
                    <a:gd name="connsiteX5" fmla="*/ 206 w 669486"/>
                    <a:gd name="connsiteY5" fmla="*/ 370609 h 736694"/>
                    <a:gd name="connsiteX6" fmla="*/ 5014 w 669486"/>
                    <a:gd name="connsiteY6" fmla="*/ 0 h 736694"/>
                    <a:gd name="connsiteX0" fmla="*/ 5014 w 669486"/>
                    <a:gd name="connsiteY0" fmla="*/ 0 h 736694"/>
                    <a:gd name="connsiteX1" fmla="*/ 669486 w 669486"/>
                    <a:gd name="connsiteY1" fmla="*/ 497629 h 736694"/>
                    <a:gd name="connsiteX2" fmla="*/ 669486 w 669486"/>
                    <a:gd name="connsiteY2" fmla="*/ 736308 h 736694"/>
                    <a:gd name="connsiteX3" fmla="*/ 668804 w 669486"/>
                    <a:gd name="connsiteY3" fmla="*/ 736694 h 736694"/>
                    <a:gd name="connsiteX4" fmla="*/ 206 w 669486"/>
                    <a:gd name="connsiteY4" fmla="*/ 370609 h 736694"/>
                    <a:gd name="connsiteX5" fmla="*/ 5014 w 669486"/>
                    <a:gd name="connsiteY5" fmla="*/ 0 h 736694"/>
                    <a:gd name="connsiteX0" fmla="*/ 494 w 669728"/>
                    <a:gd name="connsiteY0" fmla="*/ 0 h 767650"/>
                    <a:gd name="connsiteX1" fmla="*/ 669728 w 669728"/>
                    <a:gd name="connsiteY1" fmla="*/ 528585 h 767650"/>
                    <a:gd name="connsiteX2" fmla="*/ 669728 w 669728"/>
                    <a:gd name="connsiteY2" fmla="*/ 767264 h 767650"/>
                    <a:gd name="connsiteX3" fmla="*/ 669046 w 669728"/>
                    <a:gd name="connsiteY3" fmla="*/ 767650 h 767650"/>
                    <a:gd name="connsiteX4" fmla="*/ 448 w 669728"/>
                    <a:gd name="connsiteY4" fmla="*/ 401565 h 767650"/>
                    <a:gd name="connsiteX5" fmla="*/ 494 w 669728"/>
                    <a:gd name="connsiteY5" fmla="*/ 0 h 767650"/>
                    <a:gd name="connsiteX0" fmla="*/ 494 w 672110"/>
                    <a:gd name="connsiteY0" fmla="*/ 0 h 767650"/>
                    <a:gd name="connsiteX1" fmla="*/ 672110 w 672110"/>
                    <a:gd name="connsiteY1" fmla="*/ 373804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494 w 672111"/>
                    <a:gd name="connsiteY0" fmla="*/ 75 h 767725"/>
                    <a:gd name="connsiteX1" fmla="*/ 672110 w 672111"/>
                    <a:gd name="connsiteY1" fmla="*/ 373879 h 767725"/>
                    <a:gd name="connsiteX2" fmla="*/ 669728 w 672111"/>
                    <a:gd name="connsiteY2" fmla="*/ 767339 h 767725"/>
                    <a:gd name="connsiteX3" fmla="*/ 669046 w 672111"/>
                    <a:gd name="connsiteY3" fmla="*/ 767725 h 767725"/>
                    <a:gd name="connsiteX4" fmla="*/ 448 w 672111"/>
                    <a:gd name="connsiteY4" fmla="*/ 401640 h 767725"/>
                    <a:gd name="connsiteX5" fmla="*/ 494 w 672111"/>
                    <a:gd name="connsiteY5" fmla="*/ 75 h 767725"/>
                    <a:gd name="connsiteX0" fmla="*/ 494 w 672111"/>
                    <a:gd name="connsiteY0" fmla="*/ 75 h 767725"/>
                    <a:gd name="connsiteX1" fmla="*/ 672110 w 672111"/>
                    <a:gd name="connsiteY1" fmla="*/ 373879 h 767725"/>
                    <a:gd name="connsiteX2" fmla="*/ 669728 w 672111"/>
                    <a:gd name="connsiteY2" fmla="*/ 767339 h 767725"/>
                    <a:gd name="connsiteX3" fmla="*/ 669046 w 672111"/>
                    <a:gd name="connsiteY3" fmla="*/ 767725 h 767725"/>
                    <a:gd name="connsiteX4" fmla="*/ 448 w 672111"/>
                    <a:gd name="connsiteY4" fmla="*/ 401640 h 767725"/>
                    <a:gd name="connsiteX5" fmla="*/ 494 w 672111"/>
                    <a:gd name="connsiteY5" fmla="*/ 75 h 767725"/>
                    <a:gd name="connsiteX0" fmla="*/ 494 w 672110"/>
                    <a:gd name="connsiteY0" fmla="*/ 50 h 767700"/>
                    <a:gd name="connsiteX1" fmla="*/ 672110 w 672110"/>
                    <a:gd name="connsiteY1" fmla="*/ 373854 h 767700"/>
                    <a:gd name="connsiteX2" fmla="*/ 669728 w 672110"/>
                    <a:gd name="connsiteY2" fmla="*/ 767314 h 767700"/>
                    <a:gd name="connsiteX3" fmla="*/ 669046 w 672110"/>
                    <a:gd name="connsiteY3" fmla="*/ 767700 h 767700"/>
                    <a:gd name="connsiteX4" fmla="*/ 448 w 672110"/>
                    <a:gd name="connsiteY4" fmla="*/ 401615 h 767700"/>
                    <a:gd name="connsiteX5" fmla="*/ 494 w 672110"/>
                    <a:gd name="connsiteY5" fmla="*/ 50 h 767700"/>
                    <a:gd name="connsiteX0" fmla="*/ 494 w 672110"/>
                    <a:gd name="connsiteY0" fmla="*/ 0 h 767650"/>
                    <a:gd name="connsiteX1" fmla="*/ 672110 w 672110"/>
                    <a:gd name="connsiteY1" fmla="*/ 373804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494 w 672110"/>
                    <a:gd name="connsiteY0" fmla="*/ 0 h 767650"/>
                    <a:gd name="connsiteX1" fmla="*/ 672110 w 672110"/>
                    <a:gd name="connsiteY1" fmla="*/ 361898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2710 w 671945"/>
                    <a:gd name="connsiteY0" fmla="*/ 0 h 767650"/>
                    <a:gd name="connsiteX1" fmla="*/ 671945 w 671945"/>
                    <a:gd name="connsiteY1" fmla="*/ 361898 h 767650"/>
                    <a:gd name="connsiteX2" fmla="*/ 669563 w 671945"/>
                    <a:gd name="connsiteY2" fmla="*/ 767264 h 767650"/>
                    <a:gd name="connsiteX3" fmla="*/ 668881 w 671945"/>
                    <a:gd name="connsiteY3" fmla="*/ 767650 h 767650"/>
                    <a:gd name="connsiteX4" fmla="*/ 283 w 671945"/>
                    <a:gd name="connsiteY4" fmla="*/ 401565 h 767650"/>
                    <a:gd name="connsiteX5" fmla="*/ 2710 w 671945"/>
                    <a:gd name="connsiteY5" fmla="*/ 0 h 767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1945" h="767650">
                      <a:moveTo>
                        <a:pt x="2710" y="0"/>
                      </a:moveTo>
                      <a:cubicBezTo>
                        <a:pt x="143229" y="85860"/>
                        <a:pt x="572959" y="301752"/>
                        <a:pt x="671945" y="361898"/>
                      </a:cubicBezTo>
                      <a:lnTo>
                        <a:pt x="669563" y="767264"/>
                      </a:lnTo>
                      <a:lnTo>
                        <a:pt x="668881" y="767650"/>
                      </a:lnTo>
                      <a:lnTo>
                        <a:pt x="283" y="401565"/>
                      </a:lnTo>
                      <a:cubicBezTo>
                        <a:pt x="-1289" y="323272"/>
                        <a:pt x="4282" y="78293"/>
                        <a:pt x="2710" y="0"/>
                      </a:cubicBezTo>
                      <a:close/>
                    </a:path>
                  </a:pathLst>
                </a:custGeom>
                <a:solidFill>
                  <a:srgbClr val="ABC6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2" name="Полілінія: фігура 51">
                  <a:extLst>
                    <a:ext uri="{FF2B5EF4-FFF2-40B4-BE49-F238E27FC236}">
                      <a16:creationId xmlns:a16="http://schemas.microsoft.com/office/drawing/2014/main" id="{2A94D84F-DC42-186A-3927-23799E20B39C}"/>
                    </a:ext>
                  </a:extLst>
                </p:cNvPr>
                <p:cNvSpPr/>
                <p:nvPr/>
              </p:nvSpPr>
              <p:spPr>
                <a:xfrm>
                  <a:off x="7070422" y="5894047"/>
                  <a:ext cx="671945" cy="776879"/>
                </a:xfrm>
                <a:custGeom>
                  <a:avLst/>
                  <a:gdLst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0 w 664659"/>
                    <a:gd name="connsiteY3" fmla="*/ 371512 h 610191"/>
                    <a:gd name="connsiteX4" fmla="*/ 7675 w 664659"/>
                    <a:gd name="connsiteY4" fmla="*/ 375699 h 610191"/>
                    <a:gd name="connsiteX5" fmla="*/ 662330 w 664659"/>
                    <a:gd name="connsiteY5" fmla="*/ 0 h 610191"/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0 w 664659"/>
                    <a:gd name="connsiteY3" fmla="*/ 371512 h 610191"/>
                    <a:gd name="connsiteX4" fmla="*/ 662330 w 664659"/>
                    <a:gd name="connsiteY4" fmla="*/ 0 h 610191"/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9525 w 664659"/>
                    <a:gd name="connsiteY3" fmla="*/ 209587 h 610191"/>
                    <a:gd name="connsiteX4" fmla="*/ 662330 w 664659"/>
                    <a:gd name="connsiteY4" fmla="*/ 0 h 610191"/>
                    <a:gd name="connsiteX0" fmla="*/ 671855 w 671903"/>
                    <a:gd name="connsiteY0" fmla="*/ 0 h 769735"/>
                    <a:gd name="connsiteX1" fmla="*/ 664659 w 671903"/>
                    <a:gd name="connsiteY1" fmla="*/ 393755 h 769735"/>
                    <a:gd name="connsiteX2" fmla="*/ 0 w 671903"/>
                    <a:gd name="connsiteY2" fmla="*/ 769735 h 769735"/>
                    <a:gd name="connsiteX3" fmla="*/ 9525 w 671903"/>
                    <a:gd name="connsiteY3" fmla="*/ 369131 h 769735"/>
                    <a:gd name="connsiteX4" fmla="*/ 671855 w 671903"/>
                    <a:gd name="connsiteY4" fmla="*/ 0 h 769735"/>
                    <a:gd name="connsiteX0" fmla="*/ 669474 w 669522"/>
                    <a:gd name="connsiteY0" fmla="*/ 0 h 776879"/>
                    <a:gd name="connsiteX1" fmla="*/ 662278 w 669522"/>
                    <a:gd name="connsiteY1" fmla="*/ 393755 h 776879"/>
                    <a:gd name="connsiteX2" fmla="*/ 0 w 669522"/>
                    <a:gd name="connsiteY2" fmla="*/ 776879 h 776879"/>
                    <a:gd name="connsiteX3" fmla="*/ 7144 w 669522"/>
                    <a:gd name="connsiteY3" fmla="*/ 369131 h 776879"/>
                    <a:gd name="connsiteX4" fmla="*/ 669474 w 669522"/>
                    <a:gd name="connsiteY4" fmla="*/ 0 h 776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9522" h="776879">
                      <a:moveTo>
                        <a:pt x="669474" y="0"/>
                      </a:moveTo>
                      <a:cubicBezTo>
                        <a:pt x="670250" y="78070"/>
                        <a:pt x="661502" y="315685"/>
                        <a:pt x="662278" y="393755"/>
                      </a:cubicBezTo>
                      <a:lnTo>
                        <a:pt x="0" y="776879"/>
                      </a:lnTo>
                      <a:lnTo>
                        <a:pt x="7144" y="369131"/>
                      </a:lnTo>
                      <a:lnTo>
                        <a:pt x="669474" y="0"/>
                      </a:lnTo>
                      <a:close/>
                    </a:path>
                  </a:pathLst>
                </a:custGeom>
                <a:solidFill>
                  <a:srgbClr val="98B1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cxnSp>
            <p:nvCxnSpPr>
              <p:cNvPr id="48" name="Пряма сполучна лінія 47">
                <a:extLst>
                  <a:ext uri="{FF2B5EF4-FFF2-40B4-BE49-F238E27FC236}">
                    <a16:creationId xmlns:a16="http://schemas.microsoft.com/office/drawing/2014/main" id="{C29D9342-36BB-C681-0097-A34E62DEADAD}"/>
                  </a:ext>
                </a:extLst>
              </p:cNvPr>
              <p:cNvCxnSpPr>
                <a:cxnSpLocks/>
                <a:stCxn id="49" idx="2"/>
                <a:endCxn id="52" idx="2"/>
              </p:cNvCxnSpPr>
              <p:nvPr/>
            </p:nvCxnSpPr>
            <p:spPr>
              <a:xfrm flipH="1">
                <a:off x="6411071" y="7303102"/>
                <a:ext cx="10901" cy="70597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Полілінія: фігура 48">
                <a:extLst>
                  <a:ext uri="{FF2B5EF4-FFF2-40B4-BE49-F238E27FC236}">
                    <a16:creationId xmlns:a16="http://schemas.microsoft.com/office/drawing/2014/main" id="{E289EAE6-3D94-EC87-CF1D-7B1152FAD82E}"/>
                  </a:ext>
                </a:extLst>
              </p:cNvPr>
              <p:cNvSpPr/>
              <p:nvPr/>
            </p:nvSpPr>
            <p:spPr>
              <a:xfrm>
                <a:off x="5750993" y="6545696"/>
                <a:ext cx="1326795" cy="757406"/>
              </a:xfrm>
              <a:custGeom>
                <a:avLst/>
                <a:gdLst>
                  <a:gd name="connsiteX0" fmla="*/ 301555 w 584326"/>
                  <a:gd name="connsiteY0" fmla="*/ 0 h 347372"/>
                  <a:gd name="connsiteX1" fmla="*/ 584326 w 584326"/>
                  <a:gd name="connsiteY1" fmla="*/ 172421 h 347372"/>
                  <a:gd name="connsiteX2" fmla="*/ 289671 w 584326"/>
                  <a:gd name="connsiteY2" fmla="*/ 347372 h 347372"/>
                  <a:gd name="connsiteX3" fmla="*/ 0 w 584326"/>
                  <a:gd name="connsiteY3" fmla="*/ 174949 h 347372"/>
                  <a:gd name="connsiteX4" fmla="*/ 301555 w 584326"/>
                  <a:gd name="connsiteY4" fmla="*/ 0 h 347372"/>
                  <a:gd name="connsiteX0" fmla="*/ 301555 w 584326"/>
                  <a:gd name="connsiteY0" fmla="*/ 0 h 361660"/>
                  <a:gd name="connsiteX1" fmla="*/ 584326 w 584326"/>
                  <a:gd name="connsiteY1" fmla="*/ 172421 h 361660"/>
                  <a:gd name="connsiteX2" fmla="*/ 296815 w 584326"/>
                  <a:gd name="connsiteY2" fmla="*/ 361660 h 361660"/>
                  <a:gd name="connsiteX3" fmla="*/ 0 w 584326"/>
                  <a:gd name="connsiteY3" fmla="*/ 174949 h 361660"/>
                  <a:gd name="connsiteX4" fmla="*/ 301555 w 584326"/>
                  <a:gd name="connsiteY4" fmla="*/ 0 h 361660"/>
                  <a:gd name="connsiteX0" fmla="*/ 301555 w 596232"/>
                  <a:gd name="connsiteY0" fmla="*/ 0 h 361660"/>
                  <a:gd name="connsiteX1" fmla="*/ 596232 w 596232"/>
                  <a:gd name="connsiteY1" fmla="*/ 181946 h 361660"/>
                  <a:gd name="connsiteX2" fmla="*/ 296815 w 596232"/>
                  <a:gd name="connsiteY2" fmla="*/ 361660 h 361660"/>
                  <a:gd name="connsiteX3" fmla="*/ 0 w 596232"/>
                  <a:gd name="connsiteY3" fmla="*/ 174949 h 361660"/>
                  <a:gd name="connsiteX4" fmla="*/ 301555 w 596232"/>
                  <a:gd name="connsiteY4" fmla="*/ 0 h 361660"/>
                  <a:gd name="connsiteX0" fmla="*/ 311080 w 605757"/>
                  <a:gd name="connsiteY0" fmla="*/ 0 h 361660"/>
                  <a:gd name="connsiteX1" fmla="*/ 605757 w 605757"/>
                  <a:gd name="connsiteY1" fmla="*/ 181946 h 361660"/>
                  <a:gd name="connsiteX2" fmla="*/ 306340 w 605757"/>
                  <a:gd name="connsiteY2" fmla="*/ 361660 h 361660"/>
                  <a:gd name="connsiteX3" fmla="*/ 0 w 605757"/>
                  <a:gd name="connsiteY3" fmla="*/ 186855 h 361660"/>
                  <a:gd name="connsiteX4" fmla="*/ 311080 w 605757"/>
                  <a:gd name="connsiteY4" fmla="*/ 0 h 361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5757" h="361660">
                    <a:moveTo>
                      <a:pt x="311080" y="0"/>
                    </a:moveTo>
                    <a:lnTo>
                      <a:pt x="605757" y="181946"/>
                    </a:lnTo>
                    <a:lnTo>
                      <a:pt x="306340" y="361660"/>
                    </a:lnTo>
                    <a:lnTo>
                      <a:pt x="0" y="186855"/>
                    </a:lnTo>
                    <a:lnTo>
                      <a:pt x="311080" y="0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dirty="0"/>
              </a:p>
            </p:txBody>
          </p:sp>
        </p:grpSp>
        <p:grpSp>
          <p:nvGrpSpPr>
            <p:cNvPr id="11" name="Групувати 10">
              <a:extLst>
                <a:ext uri="{FF2B5EF4-FFF2-40B4-BE49-F238E27FC236}">
                  <a16:creationId xmlns:a16="http://schemas.microsoft.com/office/drawing/2014/main" id="{565F0948-3D7D-E2F0-4593-C8FE287BE92A}"/>
                </a:ext>
              </a:extLst>
            </p:cNvPr>
            <p:cNvGrpSpPr/>
            <p:nvPr/>
          </p:nvGrpSpPr>
          <p:grpSpPr>
            <a:xfrm>
              <a:off x="5363843" y="1916931"/>
              <a:ext cx="870336" cy="958004"/>
              <a:chOff x="6421452" y="5231641"/>
              <a:chExt cx="1329533" cy="1463455"/>
            </a:xfrm>
          </p:grpSpPr>
          <p:grpSp>
            <p:nvGrpSpPr>
              <p:cNvPr id="12" name="Групувати 11">
                <a:extLst>
                  <a:ext uri="{FF2B5EF4-FFF2-40B4-BE49-F238E27FC236}">
                    <a16:creationId xmlns:a16="http://schemas.microsoft.com/office/drawing/2014/main" id="{FB116879-0817-2FA6-008E-89194D55E9C6}"/>
                  </a:ext>
                </a:extLst>
              </p:cNvPr>
              <p:cNvGrpSpPr/>
              <p:nvPr/>
            </p:nvGrpSpPr>
            <p:grpSpPr>
              <a:xfrm>
                <a:off x="6421452" y="5239822"/>
                <a:ext cx="1324788" cy="1454967"/>
                <a:chOff x="6421452" y="5214422"/>
                <a:chExt cx="1324788" cy="1454967"/>
              </a:xfrm>
            </p:grpSpPr>
            <p:sp>
              <p:nvSpPr>
                <p:cNvPr id="20" name="Полілінія: фігура 19">
                  <a:extLst>
                    <a:ext uri="{FF2B5EF4-FFF2-40B4-BE49-F238E27FC236}">
                      <a16:creationId xmlns:a16="http://schemas.microsoft.com/office/drawing/2014/main" id="{3C2E2E73-4E24-1EF4-45D5-8FCB5A7F50D2}"/>
                    </a:ext>
                  </a:extLst>
                </p:cNvPr>
                <p:cNvSpPr/>
                <p:nvPr/>
              </p:nvSpPr>
              <p:spPr>
                <a:xfrm>
                  <a:off x="6421452" y="5214422"/>
                  <a:ext cx="690893" cy="1454967"/>
                </a:xfrm>
                <a:custGeom>
                  <a:avLst/>
                  <a:gdLst>
                    <a:gd name="connsiteX0" fmla="*/ 661383 w 690893"/>
                    <a:gd name="connsiteY0" fmla="*/ 12129 h 1454967"/>
                    <a:gd name="connsiteX1" fmla="*/ 661383 w 690893"/>
                    <a:gd name="connsiteY1" fmla="*/ 1452580 h 1454967"/>
                    <a:gd name="connsiteX2" fmla="*/ 657176 w 690893"/>
                    <a:gd name="connsiteY2" fmla="*/ 1454967 h 1454967"/>
                    <a:gd name="connsiteX3" fmla="*/ 0 w 690893"/>
                    <a:gd name="connsiteY3" fmla="*/ 1080947 h 1454967"/>
                    <a:gd name="connsiteX4" fmla="*/ 0 w 690893"/>
                    <a:gd name="connsiteY4" fmla="*/ 838488 h 1454967"/>
                    <a:gd name="connsiteX5" fmla="*/ 0 w 690893"/>
                    <a:gd name="connsiteY5" fmla="*/ 621465 h 1454967"/>
                    <a:gd name="connsiteX6" fmla="*/ 0 w 690893"/>
                    <a:gd name="connsiteY6" fmla="*/ 379006 h 1454967"/>
                    <a:gd name="connsiteX7" fmla="*/ 22753 w 690893"/>
                    <a:gd name="connsiteY7" fmla="*/ 366386 h 1454967"/>
                    <a:gd name="connsiteX8" fmla="*/ 683258 w 690893"/>
                    <a:gd name="connsiteY8" fmla="*/ 0 h 1454967"/>
                    <a:gd name="connsiteX9" fmla="*/ 690893 w 690893"/>
                    <a:gd name="connsiteY9" fmla="*/ 4452 h 1454967"/>
                    <a:gd name="connsiteX10" fmla="*/ 690893 w 690893"/>
                    <a:gd name="connsiteY10" fmla="*/ 1435832 h 1454967"/>
                    <a:gd name="connsiteX11" fmla="*/ 661390 w 690893"/>
                    <a:gd name="connsiteY11" fmla="*/ 1452581 h 1454967"/>
                    <a:gd name="connsiteX12" fmla="*/ 661390 w 690893"/>
                    <a:gd name="connsiteY12" fmla="*/ 12130 h 14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90893" h="1454967">
                      <a:moveTo>
                        <a:pt x="661383" y="12129"/>
                      </a:moveTo>
                      <a:lnTo>
                        <a:pt x="661383" y="1452580"/>
                      </a:lnTo>
                      <a:lnTo>
                        <a:pt x="657176" y="1454967"/>
                      </a:lnTo>
                      <a:lnTo>
                        <a:pt x="0" y="1080947"/>
                      </a:lnTo>
                      <a:lnTo>
                        <a:pt x="0" y="838488"/>
                      </a:lnTo>
                      <a:lnTo>
                        <a:pt x="0" y="621465"/>
                      </a:lnTo>
                      <a:lnTo>
                        <a:pt x="0" y="379006"/>
                      </a:lnTo>
                      <a:lnTo>
                        <a:pt x="22753" y="366386"/>
                      </a:lnTo>
                      <a:close/>
                      <a:moveTo>
                        <a:pt x="683258" y="0"/>
                      </a:moveTo>
                      <a:lnTo>
                        <a:pt x="690893" y="4452"/>
                      </a:lnTo>
                      <a:lnTo>
                        <a:pt x="690893" y="1435832"/>
                      </a:lnTo>
                      <a:lnTo>
                        <a:pt x="661390" y="1452581"/>
                      </a:lnTo>
                      <a:lnTo>
                        <a:pt x="661390" y="12130"/>
                      </a:lnTo>
                      <a:close/>
                    </a:path>
                  </a:pathLst>
                </a:custGeom>
                <a:solidFill>
                  <a:srgbClr val="D3D1D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 dirty="0"/>
                </a:p>
              </p:txBody>
            </p:sp>
            <p:sp>
              <p:nvSpPr>
                <p:cNvPr id="21" name="Полілінія: фігура 20">
                  <a:extLst>
                    <a:ext uri="{FF2B5EF4-FFF2-40B4-BE49-F238E27FC236}">
                      <a16:creationId xmlns:a16="http://schemas.microsoft.com/office/drawing/2014/main" id="{F1EE8C43-0CA5-36B8-0FBD-35FCD2D343D2}"/>
                    </a:ext>
                  </a:extLst>
                </p:cNvPr>
                <p:cNvSpPr/>
                <p:nvPr/>
              </p:nvSpPr>
              <p:spPr>
                <a:xfrm>
                  <a:off x="7112345" y="5218873"/>
                  <a:ext cx="633895" cy="1431380"/>
                </a:xfrm>
                <a:custGeom>
                  <a:avLst/>
                  <a:gdLst>
                    <a:gd name="connsiteX0" fmla="*/ 0 w 633895"/>
                    <a:gd name="connsiteY0" fmla="*/ 0 h 1431380"/>
                    <a:gd name="connsiteX1" fmla="*/ 611721 w 633895"/>
                    <a:gd name="connsiteY1" fmla="*/ 356641 h 1431380"/>
                    <a:gd name="connsiteX2" fmla="*/ 633895 w 633895"/>
                    <a:gd name="connsiteY2" fmla="*/ 369568 h 1431380"/>
                    <a:gd name="connsiteX3" fmla="*/ 633895 w 633895"/>
                    <a:gd name="connsiteY3" fmla="*/ 612028 h 1431380"/>
                    <a:gd name="connsiteX4" fmla="*/ 633895 w 633895"/>
                    <a:gd name="connsiteY4" fmla="*/ 829051 h 1431380"/>
                    <a:gd name="connsiteX5" fmla="*/ 633895 w 633895"/>
                    <a:gd name="connsiteY5" fmla="*/ 1071510 h 1431380"/>
                    <a:gd name="connsiteX6" fmla="*/ 0 w 633895"/>
                    <a:gd name="connsiteY6" fmla="*/ 1431380 h 1431380"/>
                    <a:gd name="connsiteX7" fmla="*/ 0 w 633895"/>
                    <a:gd name="connsiteY7" fmla="*/ 0 h 1431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95" h="1431380">
                      <a:moveTo>
                        <a:pt x="0" y="0"/>
                      </a:moveTo>
                      <a:lnTo>
                        <a:pt x="611721" y="356641"/>
                      </a:lnTo>
                      <a:lnTo>
                        <a:pt x="633895" y="369568"/>
                      </a:lnTo>
                      <a:lnTo>
                        <a:pt x="633895" y="612028"/>
                      </a:lnTo>
                      <a:lnTo>
                        <a:pt x="633895" y="829051"/>
                      </a:lnTo>
                      <a:lnTo>
                        <a:pt x="633895" y="1071510"/>
                      </a:lnTo>
                      <a:lnTo>
                        <a:pt x="0" y="143138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7E6E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sp>
            <p:nvSpPr>
              <p:cNvPr id="13" name="Полілінія: фігура 12">
                <a:extLst>
                  <a:ext uri="{FF2B5EF4-FFF2-40B4-BE49-F238E27FC236}">
                    <a16:creationId xmlns:a16="http://schemas.microsoft.com/office/drawing/2014/main" id="{8DF8CD15-D448-29D7-56E6-A2B5E04A80C1}"/>
                  </a:ext>
                </a:extLst>
              </p:cNvPr>
              <p:cNvSpPr/>
              <p:nvPr/>
            </p:nvSpPr>
            <p:spPr>
              <a:xfrm>
                <a:off x="7077543" y="5674719"/>
                <a:ext cx="17466" cy="10371"/>
              </a:xfrm>
              <a:custGeom>
                <a:avLst/>
                <a:gdLst>
                  <a:gd name="connsiteX0" fmla="*/ 16890 w 17466"/>
                  <a:gd name="connsiteY0" fmla="*/ 0 h 10371"/>
                  <a:gd name="connsiteX1" fmla="*/ 17466 w 17466"/>
                  <a:gd name="connsiteY1" fmla="*/ 340 h 10371"/>
                  <a:gd name="connsiteX2" fmla="*/ 0 w 17466"/>
                  <a:gd name="connsiteY2" fmla="*/ 10371 h 10371"/>
                  <a:gd name="connsiteX3" fmla="*/ 0 w 17466"/>
                  <a:gd name="connsiteY3" fmla="*/ 9701 h 10371"/>
                  <a:gd name="connsiteX4" fmla="*/ 16890 w 17466"/>
                  <a:gd name="connsiteY4" fmla="*/ 0 h 10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66" h="10371">
                    <a:moveTo>
                      <a:pt x="16890" y="0"/>
                    </a:moveTo>
                    <a:lnTo>
                      <a:pt x="17466" y="340"/>
                    </a:lnTo>
                    <a:lnTo>
                      <a:pt x="0" y="10371"/>
                    </a:lnTo>
                    <a:lnTo>
                      <a:pt x="0" y="9701"/>
                    </a:lnTo>
                    <a:lnTo>
                      <a:pt x="1689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grpSp>
            <p:nvGrpSpPr>
              <p:cNvPr id="14" name="Групувати 13">
                <a:extLst>
                  <a:ext uri="{FF2B5EF4-FFF2-40B4-BE49-F238E27FC236}">
                    <a16:creationId xmlns:a16="http://schemas.microsoft.com/office/drawing/2014/main" id="{85316ADE-CB95-7942-BB5E-B5F033C2AF41}"/>
                  </a:ext>
                </a:extLst>
              </p:cNvPr>
              <p:cNvGrpSpPr/>
              <p:nvPr/>
            </p:nvGrpSpPr>
            <p:grpSpPr>
              <a:xfrm>
                <a:off x="6424183" y="5706370"/>
                <a:ext cx="1326802" cy="988726"/>
                <a:chOff x="6413071" y="5682270"/>
                <a:chExt cx="1326802" cy="988726"/>
              </a:xfrm>
            </p:grpSpPr>
            <p:sp>
              <p:nvSpPr>
                <p:cNvPr id="17" name="Полілінія: фігура 16">
                  <a:extLst>
                    <a:ext uri="{FF2B5EF4-FFF2-40B4-BE49-F238E27FC236}">
                      <a16:creationId xmlns:a16="http://schemas.microsoft.com/office/drawing/2014/main" id="{FEB5D880-B072-E7C1-2AA1-73B5F437DE63}"/>
                    </a:ext>
                  </a:extLst>
                </p:cNvPr>
                <p:cNvSpPr/>
                <p:nvPr/>
              </p:nvSpPr>
              <p:spPr>
                <a:xfrm>
                  <a:off x="6414239" y="5682270"/>
                  <a:ext cx="1325634" cy="757066"/>
                </a:xfrm>
                <a:custGeom>
                  <a:avLst/>
                  <a:gdLst>
                    <a:gd name="connsiteX0" fmla="*/ 680770 w 1325634"/>
                    <a:gd name="connsiteY0" fmla="*/ 0 h 757066"/>
                    <a:gd name="connsiteX1" fmla="*/ 1325627 w 1325634"/>
                    <a:gd name="connsiteY1" fmla="*/ 380700 h 757066"/>
                    <a:gd name="connsiteX2" fmla="*/ 1325634 w 1325634"/>
                    <a:gd name="connsiteY2" fmla="*/ 381367 h 757066"/>
                    <a:gd name="connsiteX3" fmla="*/ 670979 w 1325634"/>
                    <a:gd name="connsiteY3" fmla="*/ 757066 h 757066"/>
                    <a:gd name="connsiteX4" fmla="*/ 0 w 1325634"/>
                    <a:gd name="connsiteY4" fmla="*/ 390981 h 757066"/>
                    <a:gd name="connsiteX5" fmla="*/ 680770 w 1325634"/>
                    <a:gd name="connsiteY5" fmla="*/ 0 h 757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5634" h="757066">
                      <a:moveTo>
                        <a:pt x="680770" y="0"/>
                      </a:moveTo>
                      <a:lnTo>
                        <a:pt x="1325627" y="380700"/>
                      </a:lnTo>
                      <a:lnTo>
                        <a:pt x="1325634" y="381367"/>
                      </a:lnTo>
                      <a:lnTo>
                        <a:pt x="670979" y="757066"/>
                      </a:lnTo>
                      <a:lnTo>
                        <a:pt x="0" y="390981"/>
                      </a:lnTo>
                      <a:lnTo>
                        <a:pt x="680770" y="0"/>
                      </a:lnTo>
                      <a:close/>
                    </a:path>
                  </a:pathLst>
                </a:custGeom>
                <a:solidFill>
                  <a:srgbClr val="B7D3ED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8" name="Полілінія: фігура 17">
                  <a:extLst>
                    <a:ext uri="{FF2B5EF4-FFF2-40B4-BE49-F238E27FC236}">
                      <a16:creationId xmlns:a16="http://schemas.microsoft.com/office/drawing/2014/main" id="{7851A3A1-1C6F-18BA-E8D6-A79BFBD1A145}"/>
                    </a:ext>
                  </a:extLst>
                </p:cNvPr>
                <p:cNvSpPr/>
                <p:nvPr/>
              </p:nvSpPr>
              <p:spPr>
                <a:xfrm>
                  <a:off x="6413071" y="5691632"/>
                  <a:ext cx="664472" cy="974985"/>
                </a:xfrm>
                <a:custGeom>
                  <a:avLst/>
                  <a:gdLst>
                    <a:gd name="connsiteX0" fmla="*/ 664472 w 664472"/>
                    <a:gd name="connsiteY0" fmla="*/ 0 h 982583"/>
                    <a:gd name="connsiteX1" fmla="*/ 664472 w 664472"/>
                    <a:gd name="connsiteY1" fmla="*/ 670 h 982583"/>
                    <a:gd name="connsiteX2" fmla="*/ 1168 w 664472"/>
                    <a:gd name="connsiteY2" fmla="*/ 381620 h 982583"/>
                    <a:gd name="connsiteX3" fmla="*/ 664472 w 664472"/>
                    <a:gd name="connsiteY3" fmla="*/ 743518 h 982583"/>
                    <a:gd name="connsiteX4" fmla="*/ 664472 w 664472"/>
                    <a:gd name="connsiteY4" fmla="*/ 982197 h 982583"/>
                    <a:gd name="connsiteX5" fmla="*/ 663790 w 664472"/>
                    <a:gd name="connsiteY5" fmla="*/ 982583 h 982583"/>
                    <a:gd name="connsiteX6" fmla="*/ 4717 w 664472"/>
                    <a:gd name="connsiteY6" fmla="*/ 616498 h 982583"/>
                    <a:gd name="connsiteX7" fmla="*/ 0 w 664472"/>
                    <a:gd name="connsiteY7" fmla="*/ 381620 h 982583"/>
                    <a:gd name="connsiteX8" fmla="*/ 664472 w 664472"/>
                    <a:gd name="connsiteY8" fmla="*/ 0 h 982583"/>
                    <a:gd name="connsiteX0" fmla="*/ 664472 w 664472"/>
                    <a:gd name="connsiteY0" fmla="*/ 0 h 982583"/>
                    <a:gd name="connsiteX1" fmla="*/ 664472 w 664472"/>
                    <a:gd name="connsiteY1" fmla="*/ 670 h 982583"/>
                    <a:gd name="connsiteX2" fmla="*/ 1168 w 664472"/>
                    <a:gd name="connsiteY2" fmla="*/ 381620 h 982583"/>
                    <a:gd name="connsiteX3" fmla="*/ 664472 w 664472"/>
                    <a:gd name="connsiteY3" fmla="*/ 743518 h 982583"/>
                    <a:gd name="connsiteX4" fmla="*/ 664472 w 664472"/>
                    <a:gd name="connsiteY4" fmla="*/ 982197 h 982583"/>
                    <a:gd name="connsiteX5" fmla="*/ 663790 w 664472"/>
                    <a:gd name="connsiteY5" fmla="*/ 982583 h 982583"/>
                    <a:gd name="connsiteX6" fmla="*/ 1112 w 664472"/>
                    <a:gd name="connsiteY6" fmla="*/ 616498 h 982583"/>
                    <a:gd name="connsiteX7" fmla="*/ 0 w 664472"/>
                    <a:gd name="connsiteY7" fmla="*/ 381620 h 982583"/>
                    <a:gd name="connsiteX8" fmla="*/ 664472 w 664472"/>
                    <a:gd name="connsiteY8" fmla="*/ 0 h 982583"/>
                    <a:gd name="connsiteX0" fmla="*/ 664472 w 664472"/>
                    <a:gd name="connsiteY0" fmla="*/ 0 h 982197"/>
                    <a:gd name="connsiteX1" fmla="*/ 664472 w 664472"/>
                    <a:gd name="connsiteY1" fmla="*/ 670 h 982197"/>
                    <a:gd name="connsiteX2" fmla="*/ 1168 w 664472"/>
                    <a:gd name="connsiteY2" fmla="*/ 381620 h 982197"/>
                    <a:gd name="connsiteX3" fmla="*/ 664472 w 664472"/>
                    <a:gd name="connsiteY3" fmla="*/ 743518 h 982197"/>
                    <a:gd name="connsiteX4" fmla="*/ 664472 w 664472"/>
                    <a:gd name="connsiteY4" fmla="*/ 982197 h 982197"/>
                    <a:gd name="connsiteX5" fmla="*/ 1112 w 664472"/>
                    <a:gd name="connsiteY5" fmla="*/ 616498 h 982197"/>
                    <a:gd name="connsiteX6" fmla="*/ 0 w 664472"/>
                    <a:gd name="connsiteY6" fmla="*/ 381620 h 982197"/>
                    <a:gd name="connsiteX7" fmla="*/ 664472 w 664472"/>
                    <a:gd name="connsiteY7" fmla="*/ 0 h 982197"/>
                    <a:gd name="connsiteX0" fmla="*/ 664472 w 664472"/>
                    <a:gd name="connsiteY0" fmla="*/ 0 h 974985"/>
                    <a:gd name="connsiteX1" fmla="*/ 664472 w 664472"/>
                    <a:gd name="connsiteY1" fmla="*/ 670 h 974985"/>
                    <a:gd name="connsiteX2" fmla="*/ 1168 w 664472"/>
                    <a:gd name="connsiteY2" fmla="*/ 381620 h 974985"/>
                    <a:gd name="connsiteX3" fmla="*/ 664472 w 664472"/>
                    <a:gd name="connsiteY3" fmla="*/ 743518 h 974985"/>
                    <a:gd name="connsiteX4" fmla="*/ 657260 w 664472"/>
                    <a:gd name="connsiteY4" fmla="*/ 974985 h 974985"/>
                    <a:gd name="connsiteX5" fmla="*/ 1112 w 664472"/>
                    <a:gd name="connsiteY5" fmla="*/ 616498 h 974985"/>
                    <a:gd name="connsiteX6" fmla="*/ 0 w 664472"/>
                    <a:gd name="connsiteY6" fmla="*/ 381620 h 974985"/>
                    <a:gd name="connsiteX7" fmla="*/ 664472 w 664472"/>
                    <a:gd name="connsiteY7" fmla="*/ 0 h 974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64472" h="974985">
                      <a:moveTo>
                        <a:pt x="664472" y="0"/>
                      </a:moveTo>
                      <a:lnTo>
                        <a:pt x="664472" y="670"/>
                      </a:lnTo>
                      <a:lnTo>
                        <a:pt x="1168" y="381620"/>
                      </a:lnTo>
                      <a:lnTo>
                        <a:pt x="664472" y="743518"/>
                      </a:lnTo>
                      <a:lnTo>
                        <a:pt x="657260" y="974985"/>
                      </a:lnTo>
                      <a:lnTo>
                        <a:pt x="1112" y="616498"/>
                      </a:lnTo>
                      <a:cubicBezTo>
                        <a:pt x="-460" y="538205"/>
                        <a:pt x="1572" y="459913"/>
                        <a:pt x="0" y="381620"/>
                      </a:cubicBezTo>
                      <a:lnTo>
                        <a:pt x="664472" y="0"/>
                      </a:lnTo>
                      <a:close/>
                    </a:path>
                  </a:pathLst>
                </a:custGeom>
                <a:solidFill>
                  <a:srgbClr val="ABC6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 dirty="0"/>
                </a:p>
              </p:txBody>
            </p:sp>
            <p:sp>
              <p:nvSpPr>
                <p:cNvPr id="19" name="Полілінія: фігура 18">
                  <a:extLst>
                    <a:ext uri="{FF2B5EF4-FFF2-40B4-BE49-F238E27FC236}">
                      <a16:creationId xmlns:a16="http://schemas.microsoft.com/office/drawing/2014/main" id="{ED9FA61E-A0BC-E48E-F4AA-B00FB18B92DE}"/>
                    </a:ext>
                  </a:extLst>
                </p:cNvPr>
                <p:cNvSpPr/>
                <p:nvPr/>
              </p:nvSpPr>
              <p:spPr>
                <a:xfrm>
                  <a:off x="7067463" y="6062609"/>
                  <a:ext cx="667739" cy="608387"/>
                </a:xfrm>
                <a:custGeom>
                  <a:avLst/>
                  <a:gdLst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0 w 664659"/>
                    <a:gd name="connsiteY3" fmla="*/ 371512 h 610191"/>
                    <a:gd name="connsiteX4" fmla="*/ 7675 w 664659"/>
                    <a:gd name="connsiteY4" fmla="*/ 375699 h 610191"/>
                    <a:gd name="connsiteX5" fmla="*/ 662330 w 664659"/>
                    <a:gd name="connsiteY5" fmla="*/ 0 h 610191"/>
                    <a:gd name="connsiteX0" fmla="*/ 667739 w 667739"/>
                    <a:gd name="connsiteY0" fmla="*/ 0 h 608387"/>
                    <a:gd name="connsiteX1" fmla="*/ 664659 w 667739"/>
                    <a:gd name="connsiteY1" fmla="*/ 232407 h 608387"/>
                    <a:gd name="connsiteX2" fmla="*/ 0 w 667739"/>
                    <a:gd name="connsiteY2" fmla="*/ 608387 h 608387"/>
                    <a:gd name="connsiteX3" fmla="*/ 0 w 667739"/>
                    <a:gd name="connsiteY3" fmla="*/ 369708 h 608387"/>
                    <a:gd name="connsiteX4" fmla="*/ 7675 w 667739"/>
                    <a:gd name="connsiteY4" fmla="*/ 373895 h 608387"/>
                    <a:gd name="connsiteX5" fmla="*/ 667739 w 667739"/>
                    <a:gd name="connsiteY5" fmla="*/ 0 h 608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67739" h="608387">
                      <a:moveTo>
                        <a:pt x="667739" y="0"/>
                      </a:moveTo>
                      <a:cubicBezTo>
                        <a:pt x="666712" y="77469"/>
                        <a:pt x="665686" y="154938"/>
                        <a:pt x="664659" y="232407"/>
                      </a:cubicBezTo>
                      <a:lnTo>
                        <a:pt x="0" y="608387"/>
                      </a:lnTo>
                      <a:lnTo>
                        <a:pt x="0" y="369708"/>
                      </a:lnTo>
                      <a:lnTo>
                        <a:pt x="7675" y="373895"/>
                      </a:lnTo>
                      <a:lnTo>
                        <a:pt x="667739" y="0"/>
                      </a:lnTo>
                      <a:close/>
                    </a:path>
                  </a:pathLst>
                </a:custGeom>
                <a:solidFill>
                  <a:srgbClr val="98B1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cxnSp>
            <p:nvCxnSpPr>
              <p:cNvPr id="15" name="Пряма сполучна лінія 14">
                <a:extLst>
                  <a:ext uri="{FF2B5EF4-FFF2-40B4-BE49-F238E27FC236}">
                    <a16:creationId xmlns:a16="http://schemas.microsoft.com/office/drawing/2014/main" id="{11FA0F65-3204-5675-2D74-D64744A6AA85}"/>
                  </a:ext>
                </a:extLst>
              </p:cNvPr>
              <p:cNvCxnSpPr>
                <a:cxnSpLocks/>
                <a:stCxn id="16" idx="2"/>
                <a:endCxn id="20" idx="2"/>
              </p:cNvCxnSpPr>
              <p:nvPr/>
            </p:nvCxnSpPr>
            <p:spPr>
              <a:xfrm flipH="1">
                <a:off x="7078628" y="5989047"/>
                <a:ext cx="13807" cy="705742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Полілінія: фігура 15">
                <a:extLst>
                  <a:ext uri="{FF2B5EF4-FFF2-40B4-BE49-F238E27FC236}">
                    <a16:creationId xmlns:a16="http://schemas.microsoft.com/office/drawing/2014/main" id="{878C3C8C-8306-9B46-E91E-0F5D0B9891C8}"/>
                  </a:ext>
                </a:extLst>
              </p:cNvPr>
              <p:cNvSpPr/>
              <p:nvPr/>
            </p:nvSpPr>
            <p:spPr>
              <a:xfrm>
                <a:off x="6421456" y="5231641"/>
                <a:ext cx="1326795" cy="757406"/>
              </a:xfrm>
              <a:custGeom>
                <a:avLst/>
                <a:gdLst>
                  <a:gd name="connsiteX0" fmla="*/ 301555 w 584326"/>
                  <a:gd name="connsiteY0" fmla="*/ 0 h 347372"/>
                  <a:gd name="connsiteX1" fmla="*/ 584326 w 584326"/>
                  <a:gd name="connsiteY1" fmla="*/ 172421 h 347372"/>
                  <a:gd name="connsiteX2" fmla="*/ 289671 w 584326"/>
                  <a:gd name="connsiteY2" fmla="*/ 347372 h 347372"/>
                  <a:gd name="connsiteX3" fmla="*/ 0 w 584326"/>
                  <a:gd name="connsiteY3" fmla="*/ 174949 h 347372"/>
                  <a:gd name="connsiteX4" fmla="*/ 301555 w 584326"/>
                  <a:gd name="connsiteY4" fmla="*/ 0 h 347372"/>
                  <a:gd name="connsiteX0" fmla="*/ 301555 w 584326"/>
                  <a:gd name="connsiteY0" fmla="*/ 0 h 361660"/>
                  <a:gd name="connsiteX1" fmla="*/ 584326 w 584326"/>
                  <a:gd name="connsiteY1" fmla="*/ 172421 h 361660"/>
                  <a:gd name="connsiteX2" fmla="*/ 296815 w 584326"/>
                  <a:gd name="connsiteY2" fmla="*/ 361660 h 361660"/>
                  <a:gd name="connsiteX3" fmla="*/ 0 w 584326"/>
                  <a:gd name="connsiteY3" fmla="*/ 174949 h 361660"/>
                  <a:gd name="connsiteX4" fmla="*/ 301555 w 584326"/>
                  <a:gd name="connsiteY4" fmla="*/ 0 h 361660"/>
                  <a:gd name="connsiteX0" fmla="*/ 301555 w 596232"/>
                  <a:gd name="connsiteY0" fmla="*/ 0 h 361660"/>
                  <a:gd name="connsiteX1" fmla="*/ 596232 w 596232"/>
                  <a:gd name="connsiteY1" fmla="*/ 181946 h 361660"/>
                  <a:gd name="connsiteX2" fmla="*/ 296815 w 596232"/>
                  <a:gd name="connsiteY2" fmla="*/ 361660 h 361660"/>
                  <a:gd name="connsiteX3" fmla="*/ 0 w 596232"/>
                  <a:gd name="connsiteY3" fmla="*/ 174949 h 361660"/>
                  <a:gd name="connsiteX4" fmla="*/ 301555 w 596232"/>
                  <a:gd name="connsiteY4" fmla="*/ 0 h 361660"/>
                  <a:gd name="connsiteX0" fmla="*/ 311080 w 605757"/>
                  <a:gd name="connsiteY0" fmla="*/ 0 h 361660"/>
                  <a:gd name="connsiteX1" fmla="*/ 605757 w 605757"/>
                  <a:gd name="connsiteY1" fmla="*/ 181946 h 361660"/>
                  <a:gd name="connsiteX2" fmla="*/ 306340 w 605757"/>
                  <a:gd name="connsiteY2" fmla="*/ 361660 h 361660"/>
                  <a:gd name="connsiteX3" fmla="*/ 0 w 605757"/>
                  <a:gd name="connsiteY3" fmla="*/ 186855 h 361660"/>
                  <a:gd name="connsiteX4" fmla="*/ 311080 w 605757"/>
                  <a:gd name="connsiteY4" fmla="*/ 0 h 361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5757" h="361660">
                    <a:moveTo>
                      <a:pt x="311080" y="0"/>
                    </a:moveTo>
                    <a:lnTo>
                      <a:pt x="605757" y="181946"/>
                    </a:lnTo>
                    <a:lnTo>
                      <a:pt x="306340" y="361660"/>
                    </a:lnTo>
                    <a:lnTo>
                      <a:pt x="0" y="186855"/>
                    </a:lnTo>
                    <a:lnTo>
                      <a:pt x="311080" y="0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dirty="0"/>
              </a:p>
            </p:txBody>
          </p:sp>
        </p:grpSp>
        <p:grpSp>
          <p:nvGrpSpPr>
            <p:cNvPr id="22" name="Групувати 21">
              <a:extLst>
                <a:ext uri="{FF2B5EF4-FFF2-40B4-BE49-F238E27FC236}">
                  <a16:creationId xmlns:a16="http://schemas.microsoft.com/office/drawing/2014/main" id="{AA8F5143-1166-FD9C-1617-6D5CA8DB2C63}"/>
                </a:ext>
              </a:extLst>
            </p:cNvPr>
            <p:cNvGrpSpPr/>
            <p:nvPr/>
          </p:nvGrpSpPr>
          <p:grpSpPr>
            <a:xfrm>
              <a:off x="6505716" y="2030173"/>
              <a:ext cx="782995" cy="857402"/>
              <a:chOff x="5748464" y="6547810"/>
              <a:chExt cx="1334457" cy="1461271"/>
            </a:xfrm>
          </p:grpSpPr>
          <p:grpSp>
            <p:nvGrpSpPr>
              <p:cNvPr id="23" name="Групувати 22">
                <a:extLst>
                  <a:ext uri="{FF2B5EF4-FFF2-40B4-BE49-F238E27FC236}">
                    <a16:creationId xmlns:a16="http://schemas.microsoft.com/office/drawing/2014/main" id="{3D5F911A-CF84-AB0B-9B07-A6D21DD758AD}"/>
                  </a:ext>
                </a:extLst>
              </p:cNvPr>
              <p:cNvGrpSpPr/>
              <p:nvPr/>
            </p:nvGrpSpPr>
            <p:grpSpPr>
              <a:xfrm>
                <a:off x="5750989" y="6547810"/>
                <a:ext cx="1331932" cy="1461034"/>
                <a:chOff x="6421452" y="5208355"/>
                <a:chExt cx="1331932" cy="1461034"/>
              </a:xfrm>
            </p:grpSpPr>
            <p:sp>
              <p:nvSpPr>
                <p:cNvPr id="31" name="Полілінія: фігура 30">
                  <a:extLst>
                    <a:ext uri="{FF2B5EF4-FFF2-40B4-BE49-F238E27FC236}">
                      <a16:creationId xmlns:a16="http://schemas.microsoft.com/office/drawing/2014/main" id="{19BB09CA-04D5-5D95-8F96-50116721FAAA}"/>
                    </a:ext>
                  </a:extLst>
                </p:cNvPr>
                <p:cNvSpPr/>
                <p:nvPr/>
              </p:nvSpPr>
              <p:spPr>
                <a:xfrm>
                  <a:off x="6421452" y="5214422"/>
                  <a:ext cx="690893" cy="1454967"/>
                </a:xfrm>
                <a:custGeom>
                  <a:avLst/>
                  <a:gdLst>
                    <a:gd name="connsiteX0" fmla="*/ 661383 w 690893"/>
                    <a:gd name="connsiteY0" fmla="*/ 12129 h 1454967"/>
                    <a:gd name="connsiteX1" fmla="*/ 661383 w 690893"/>
                    <a:gd name="connsiteY1" fmla="*/ 1452580 h 1454967"/>
                    <a:gd name="connsiteX2" fmla="*/ 657176 w 690893"/>
                    <a:gd name="connsiteY2" fmla="*/ 1454967 h 1454967"/>
                    <a:gd name="connsiteX3" fmla="*/ 0 w 690893"/>
                    <a:gd name="connsiteY3" fmla="*/ 1080947 h 1454967"/>
                    <a:gd name="connsiteX4" fmla="*/ 0 w 690893"/>
                    <a:gd name="connsiteY4" fmla="*/ 838488 h 1454967"/>
                    <a:gd name="connsiteX5" fmla="*/ 0 w 690893"/>
                    <a:gd name="connsiteY5" fmla="*/ 621465 h 1454967"/>
                    <a:gd name="connsiteX6" fmla="*/ 0 w 690893"/>
                    <a:gd name="connsiteY6" fmla="*/ 379006 h 1454967"/>
                    <a:gd name="connsiteX7" fmla="*/ 22753 w 690893"/>
                    <a:gd name="connsiteY7" fmla="*/ 366386 h 1454967"/>
                    <a:gd name="connsiteX8" fmla="*/ 683258 w 690893"/>
                    <a:gd name="connsiteY8" fmla="*/ 0 h 1454967"/>
                    <a:gd name="connsiteX9" fmla="*/ 690893 w 690893"/>
                    <a:gd name="connsiteY9" fmla="*/ 4452 h 1454967"/>
                    <a:gd name="connsiteX10" fmla="*/ 690893 w 690893"/>
                    <a:gd name="connsiteY10" fmla="*/ 1435832 h 1454967"/>
                    <a:gd name="connsiteX11" fmla="*/ 661390 w 690893"/>
                    <a:gd name="connsiteY11" fmla="*/ 1452581 h 1454967"/>
                    <a:gd name="connsiteX12" fmla="*/ 661390 w 690893"/>
                    <a:gd name="connsiteY12" fmla="*/ 12130 h 14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90893" h="1454967">
                      <a:moveTo>
                        <a:pt x="661383" y="12129"/>
                      </a:moveTo>
                      <a:lnTo>
                        <a:pt x="661383" y="1452580"/>
                      </a:lnTo>
                      <a:lnTo>
                        <a:pt x="657176" y="1454967"/>
                      </a:lnTo>
                      <a:lnTo>
                        <a:pt x="0" y="1080947"/>
                      </a:lnTo>
                      <a:lnTo>
                        <a:pt x="0" y="838488"/>
                      </a:lnTo>
                      <a:lnTo>
                        <a:pt x="0" y="621465"/>
                      </a:lnTo>
                      <a:lnTo>
                        <a:pt x="0" y="379006"/>
                      </a:lnTo>
                      <a:lnTo>
                        <a:pt x="22753" y="366386"/>
                      </a:lnTo>
                      <a:close/>
                      <a:moveTo>
                        <a:pt x="683258" y="0"/>
                      </a:moveTo>
                      <a:lnTo>
                        <a:pt x="690893" y="4452"/>
                      </a:lnTo>
                      <a:lnTo>
                        <a:pt x="690893" y="1435832"/>
                      </a:lnTo>
                      <a:lnTo>
                        <a:pt x="661390" y="1452581"/>
                      </a:lnTo>
                      <a:lnTo>
                        <a:pt x="661390" y="12130"/>
                      </a:lnTo>
                      <a:close/>
                    </a:path>
                  </a:pathLst>
                </a:custGeom>
                <a:solidFill>
                  <a:srgbClr val="D3D1D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2" name="Полілінія: фігура 31">
                  <a:extLst>
                    <a:ext uri="{FF2B5EF4-FFF2-40B4-BE49-F238E27FC236}">
                      <a16:creationId xmlns:a16="http://schemas.microsoft.com/office/drawing/2014/main" id="{5CE995EF-224E-FEBB-0225-49C9AEBFC1BC}"/>
                    </a:ext>
                  </a:extLst>
                </p:cNvPr>
                <p:cNvSpPr/>
                <p:nvPr/>
              </p:nvSpPr>
              <p:spPr>
                <a:xfrm>
                  <a:off x="7112346" y="5208355"/>
                  <a:ext cx="641038" cy="1441898"/>
                </a:xfrm>
                <a:custGeom>
                  <a:avLst/>
                  <a:gdLst>
                    <a:gd name="connsiteX0" fmla="*/ 0 w 633895"/>
                    <a:gd name="connsiteY0" fmla="*/ 0 h 1431380"/>
                    <a:gd name="connsiteX1" fmla="*/ 611721 w 633895"/>
                    <a:gd name="connsiteY1" fmla="*/ 356641 h 1431380"/>
                    <a:gd name="connsiteX2" fmla="*/ 633895 w 633895"/>
                    <a:gd name="connsiteY2" fmla="*/ 369568 h 1431380"/>
                    <a:gd name="connsiteX3" fmla="*/ 633895 w 633895"/>
                    <a:gd name="connsiteY3" fmla="*/ 612028 h 1431380"/>
                    <a:gd name="connsiteX4" fmla="*/ 633895 w 633895"/>
                    <a:gd name="connsiteY4" fmla="*/ 829051 h 1431380"/>
                    <a:gd name="connsiteX5" fmla="*/ 633895 w 633895"/>
                    <a:gd name="connsiteY5" fmla="*/ 1071510 h 1431380"/>
                    <a:gd name="connsiteX6" fmla="*/ 0 w 633895"/>
                    <a:gd name="connsiteY6" fmla="*/ 1431380 h 1431380"/>
                    <a:gd name="connsiteX7" fmla="*/ 0 w 633895"/>
                    <a:gd name="connsiteY7" fmla="*/ 0 h 1431380"/>
                    <a:gd name="connsiteX0" fmla="*/ 0 w 641038"/>
                    <a:gd name="connsiteY0" fmla="*/ 0 h 1431380"/>
                    <a:gd name="connsiteX1" fmla="*/ 611721 w 641038"/>
                    <a:gd name="connsiteY1" fmla="*/ 356641 h 1431380"/>
                    <a:gd name="connsiteX2" fmla="*/ 641038 w 641038"/>
                    <a:gd name="connsiteY2" fmla="*/ 379024 h 1431380"/>
                    <a:gd name="connsiteX3" fmla="*/ 633895 w 641038"/>
                    <a:gd name="connsiteY3" fmla="*/ 612028 h 1431380"/>
                    <a:gd name="connsiteX4" fmla="*/ 633895 w 641038"/>
                    <a:gd name="connsiteY4" fmla="*/ 829051 h 1431380"/>
                    <a:gd name="connsiteX5" fmla="*/ 633895 w 641038"/>
                    <a:gd name="connsiteY5" fmla="*/ 1071510 h 1431380"/>
                    <a:gd name="connsiteX6" fmla="*/ 0 w 641038"/>
                    <a:gd name="connsiteY6" fmla="*/ 1431380 h 1431380"/>
                    <a:gd name="connsiteX7" fmla="*/ 0 w 641038"/>
                    <a:gd name="connsiteY7" fmla="*/ 0 h 1431380"/>
                    <a:gd name="connsiteX0" fmla="*/ 0 w 641038"/>
                    <a:gd name="connsiteY0" fmla="*/ 0 h 1431380"/>
                    <a:gd name="connsiteX1" fmla="*/ 611721 w 641038"/>
                    <a:gd name="connsiteY1" fmla="*/ 356641 h 1431380"/>
                    <a:gd name="connsiteX2" fmla="*/ 641038 w 641038"/>
                    <a:gd name="connsiteY2" fmla="*/ 379024 h 1431380"/>
                    <a:gd name="connsiteX3" fmla="*/ 633895 w 641038"/>
                    <a:gd name="connsiteY3" fmla="*/ 829051 h 1431380"/>
                    <a:gd name="connsiteX4" fmla="*/ 633895 w 641038"/>
                    <a:gd name="connsiteY4" fmla="*/ 1071510 h 1431380"/>
                    <a:gd name="connsiteX5" fmla="*/ 0 w 641038"/>
                    <a:gd name="connsiteY5" fmla="*/ 1431380 h 1431380"/>
                    <a:gd name="connsiteX6" fmla="*/ 0 w 641038"/>
                    <a:gd name="connsiteY6" fmla="*/ 0 h 1431380"/>
                    <a:gd name="connsiteX0" fmla="*/ 0 w 641038"/>
                    <a:gd name="connsiteY0" fmla="*/ 0 h 1431380"/>
                    <a:gd name="connsiteX1" fmla="*/ 611721 w 641038"/>
                    <a:gd name="connsiteY1" fmla="*/ 356641 h 1431380"/>
                    <a:gd name="connsiteX2" fmla="*/ 641038 w 641038"/>
                    <a:gd name="connsiteY2" fmla="*/ 379024 h 1431380"/>
                    <a:gd name="connsiteX3" fmla="*/ 633895 w 641038"/>
                    <a:gd name="connsiteY3" fmla="*/ 1071510 h 1431380"/>
                    <a:gd name="connsiteX4" fmla="*/ 0 w 641038"/>
                    <a:gd name="connsiteY4" fmla="*/ 1431380 h 1431380"/>
                    <a:gd name="connsiteX5" fmla="*/ 0 w 641038"/>
                    <a:gd name="connsiteY5" fmla="*/ 0 h 1431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41038" h="1431380">
                      <a:moveTo>
                        <a:pt x="0" y="0"/>
                      </a:moveTo>
                      <a:lnTo>
                        <a:pt x="611721" y="356641"/>
                      </a:lnTo>
                      <a:lnTo>
                        <a:pt x="641038" y="379024"/>
                      </a:lnTo>
                      <a:lnTo>
                        <a:pt x="633895" y="1071510"/>
                      </a:lnTo>
                      <a:lnTo>
                        <a:pt x="0" y="143138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7E6E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 dirty="0"/>
                </a:p>
              </p:txBody>
            </p:sp>
          </p:grpSp>
          <p:sp>
            <p:nvSpPr>
              <p:cNvPr id="24" name="Полілінія: фігура 23">
                <a:extLst>
                  <a:ext uri="{FF2B5EF4-FFF2-40B4-BE49-F238E27FC236}">
                    <a16:creationId xmlns:a16="http://schemas.microsoft.com/office/drawing/2014/main" id="{B4576843-1811-7A75-0F82-A9BE84C3B776}"/>
                  </a:ext>
                </a:extLst>
              </p:cNvPr>
              <p:cNvSpPr/>
              <p:nvPr/>
            </p:nvSpPr>
            <p:spPr>
              <a:xfrm>
                <a:off x="6407080" y="6988774"/>
                <a:ext cx="17466" cy="10371"/>
              </a:xfrm>
              <a:custGeom>
                <a:avLst/>
                <a:gdLst>
                  <a:gd name="connsiteX0" fmla="*/ 16890 w 17466"/>
                  <a:gd name="connsiteY0" fmla="*/ 0 h 10371"/>
                  <a:gd name="connsiteX1" fmla="*/ 17466 w 17466"/>
                  <a:gd name="connsiteY1" fmla="*/ 340 h 10371"/>
                  <a:gd name="connsiteX2" fmla="*/ 0 w 17466"/>
                  <a:gd name="connsiteY2" fmla="*/ 10371 h 10371"/>
                  <a:gd name="connsiteX3" fmla="*/ 0 w 17466"/>
                  <a:gd name="connsiteY3" fmla="*/ 9701 h 10371"/>
                  <a:gd name="connsiteX4" fmla="*/ 16890 w 17466"/>
                  <a:gd name="connsiteY4" fmla="*/ 0 h 10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66" h="10371">
                    <a:moveTo>
                      <a:pt x="16890" y="0"/>
                    </a:moveTo>
                    <a:lnTo>
                      <a:pt x="17466" y="340"/>
                    </a:lnTo>
                    <a:lnTo>
                      <a:pt x="0" y="10371"/>
                    </a:lnTo>
                    <a:lnTo>
                      <a:pt x="0" y="9701"/>
                    </a:lnTo>
                    <a:lnTo>
                      <a:pt x="1689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grpSp>
            <p:nvGrpSpPr>
              <p:cNvPr id="25" name="Групувати 24">
                <a:extLst>
                  <a:ext uri="{FF2B5EF4-FFF2-40B4-BE49-F238E27FC236}">
                    <a16:creationId xmlns:a16="http://schemas.microsoft.com/office/drawing/2014/main" id="{9DDCA629-E343-CCB0-1C26-897BE5C2420B}"/>
                  </a:ext>
                </a:extLst>
              </p:cNvPr>
              <p:cNvGrpSpPr/>
              <p:nvPr/>
            </p:nvGrpSpPr>
            <p:grpSpPr>
              <a:xfrm>
                <a:off x="5748464" y="6693732"/>
                <a:ext cx="1330292" cy="1315349"/>
                <a:chOff x="6407815" y="5355577"/>
                <a:chExt cx="1330292" cy="1315349"/>
              </a:xfrm>
            </p:grpSpPr>
            <p:sp>
              <p:nvSpPr>
                <p:cNvPr id="28" name="Полілінія: фігура 27">
                  <a:extLst>
                    <a:ext uri="{FF2B5EF4-FFF2-40B4-BE49-F238E27FC236}">
                      <a16:creationId xmlns:a16="http://schemas.microsoft.com/office/drawing/2014/main" id="{FF45F717-4E7B-F6C1-5DC6-779C6935C210}"/>
                    </a:ext>
                  </a:extLst>
                </p:cNvPr>
                <p:cNvSpPr/>
                <p:nvPr/>
              </p:nvSpPr>
              <p:spPr>
                <a:xfrm>
                  <a:off x="6412475" y="5355577"/>
                  <a:ext cx="1325632" cy="764210"/>
                </a:xfrm>
                <a:custGeom>
                  <a:avLst/>
                  <a:gdLst>
                    <a:gd name="connsiteX0" fmla="*/ 680770 w 1325634"/>
                    <a:gd name="connsiteY0" fmla="*/ 0 h 757066"/>
                    <a:gd name="connsiteX1" fmla="*/ 1325627 w 1325634"/>
                    <a:gd name="connsiteY1" fmla="*/ 380700 h 757066"/>
                    <a:gd name="connsiteX2" fmla="*/ 1325634 w 1325634"/>
                    <a:gd name="connsiteY2" fmla="*/ 381367 h 757066"/>
                    <a:gd name="connsiteX3" fmla="*/ 670979 w 1325634"/>
                    <a:gd name="connsiteY3" fmla="*/ 757066 h 757066"/>
                    <a:gd name="connsiteX4" fmla="*/ 0 w 1325634"/>
                    <a:gd name="connsiteY4" fmla="*/ 390981 h 757066"/>
                    <a:gd name="connsiteX5" fmla="*/ 680770 w 1325634"/>
                    <a:gd name="connsiteY5" fmla="*/ 0 h 757066"/>
                    <a:gd name="connsiteX0" fmla="*/ 692676 w 1325634"/>
                    <a:gd name="connsiteY0" fmla="*/ 0 h 757066"/>
                    <a:gd name="connsiteX1" fmla="*/ 1325627 w 1325634"/>
                    <a:gd name="connsiteY1" fmla="*/ 380700 h 757066"/>
                    <a:gd name="connsiteX2" fmla="*/ 1325634 w 1325634"/>
                    <a:gd name="connsiteY2" fmla="*/ 381367 h 757066"/>
                    <a:gd name="connsiteX3" fmla="*/ 670979 w 1325634"/>
                    <a:gd name="connsiteY3" fmla="*/ 757066 h 757066"/>
                    <a:gd name="connsiteX4" fmla="*/ 0 w 1325634"/>
                    <a:gd name="connsiteY4" fmla="*/ 390981 h 757066"/>
                    <a:gd name="connsiteX5" fmla="*/ 692676 w 1325634"/>
                    <a:gd name="connsiteY5" fmla="*/ 0 h 757066"/>
                    <a:gd name="connsiteX0" fmla="*/ 683151 w 1325634"/>
                    <a:gd name="connsiteY0" fmla="*/ 0 h 757066"/>
                    <a:gd name="connsiteX1" fmla="*/ 1325627 w 1325634"/>
                    <a:gd name="connsiteY1" fmla="*/ 380700 h 757066"/>
                    <a:gd name="connsiteX2" fmla="*/ 1325634 w 1325634"/>
                    <a:gd name="connsiteY2" fmla="*/ 381367 h 757066"/>
                    <a:gd name="connsiteX3" fmla="*/ 670979 w 1325634"/>
                    <a:gd name="connsiteY3" fmla="*/ 757066 h 757066"/>
                    <a:gd name="connsiteX4" fmla="*/ 0 w 1325634"/>
                    <a:gd name="connsiteY4" fmla="*/ 390981 h 757066"/>
                    <a:gd name="connsiteX5" fmla="*/ 683151 w 1325634"/>
                    <a:gd name="connsiteY5" fmla="*/ 0 h 757066"/>
                    <a:gd name="connsiteX0" fmla="*/ 687914 w 1325634"/>
                    <a:gd name="connsiteY0" fmla="*/ 0 h 764210"/>
                    <a:gd name="connsiteX1" fmla="*/ 1325627 w 1325634"/>
                    <a:gd name="connsiteY1" fmla="*/ 387844 h 764210"/>
                    <a:gd name="connsiteX2" fmla="*/ 1325634 w 1325634"/>
                    <a:gd name="connsiteY2" fmla="*/ 388511 h 764210"/>
                    <a:gd name="connsiteX3" fmla="*/ 670979 w 1325634"/>
                    <a:gd name="connsiteY3" fmla="*/ 764210 h 764210"/>
                    <a:gd name="connsiteX4" fmla="*/ 0 w 1325634"/>
                    <a:gd name="connsiteY4" fmla="*/ 398125 h 764210"/>
                    <a:gd name="connsiteX5" fmla="*/ 687914 w 1325634"/>
                    <a:gd name="connsiteY5" fmla="*/ 0 h 764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5634" h="764210">
                      <a:moveTo>
                        <a:pt x="687914" y="0"/>
                      </a:moveTo>
                      <a:lnTo>
                        <a:pt x="1325627" y="387844"/>
                      </a:lnTo>
                      <a:cubicBezTo>
                        <a:pt x="1325629" y="388066"/>
                        <a:pt x="1325632" y="388289"/>
                        <a:pt x="1325634" y="388511"/>
                      </a:cubicBezTo>
                      <a:lnTo>
                        <a:pt x="670979" y="764210"/>
                      </a:lnTo>
                      <a:lnTo>
                        <a:pt x="0" y="398125"/>
                      </a:lnTo>
                      <a:lnTo>
                        <a:pt x="687914" y="0"/>
                      </a:lnTo>
                      <a:close/>
                    </a:path>
                  </a:pathLst>
                </a:custGeom>
                <a:solidFill>
                  <a:srgbClr val="B7D3ED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 dirty="0"/>
                </a:p>
              </p:txBody>
            </p:sp>
            <p:sp>
              <p:nvSpPr>
                <p:cNvPr id="29" name="Полілінія: фігура 28">
                  <a:extLst>
                    <a:ext uri="{FF2B5EF4-FFF2-40B4-BE49-F238E27FC236}">
                      <a16:creationId xmlns:a16="http://schemas.microsoft.com/office/drawing/2014/main" id="{519D1E4B-1B9F-8D4A-4EBC-4D6FAB149C5D}"/>
                    </a:ext>
                  </a:extLst>
                </p:cNvPr>
                <p:cNvSpPr/>
                <p:nvPr/>
              </p:nvSpPr>
              <p:spPr>
                <a:xfrm>
                  <a:off x="6407815" y="5747592"/>
                  <a:ext cx="672814" cy="919411"/>
                </a:xfrm>
                <a:custGeom>
                  <a:avLst/>
                  <a:gdLst>
                    <a:gd name="connsiteX0" fmla="*/ 664472 w 664472"/>
                    <a:gd name="connsiteY0" fmla="*/ 0 h 982583"/>
                    <a:gd name="connsiteX1" fmla="*/ 664472 w 664472"/>
                    <a:gd name="connsiteY1" fmla="*/ 670 h 982583"/>
                    <a:gd name="connsiteX2" fmla="*/ 1168 w 664472"/>
                    <a:gd name="connsiteY2" fmla="*/ 381620 h 982583"/>
                    <a:gd name="connsiteX3" fmla="*/ 664472 w 664472"/>
                    <a:gd name="connsiteY3" fmla="*/ 743518 h 982583"/>
                    <a:gd name="connsiteX4" fmla="*/ 664472 w 664472"/>
                    <a:gd name="connsiteY4" fmla="*/ 982197 h 982583"/>
                    <a:gd name="connsiteX5" fmla="*/ 663790 w 664472"/>
                    <a:gd name="connsiteY5" fmla="*/ 982583 h 982583"/>
                    <a:gd name="connsiteX6" fmla="*/ 4717 w 664472"/>
                    <a:gd name="connsiteY6" fmla="*/ 616498 h 982583"/>
                    <a:gd name="connsiteX7" fmla="*/ 0 w 664472"/>
                    <a:gd name="connsiteY7" fmla="*/ 381620 h 982583"/>
                    <a:gd name="connsiteX8" fmla="*/ 664472 w 664472"/>
                    <a:gd name="connsiteY8" fmla="*/ 0 h 982583"/>
                    <a:gd name="connsiteX0" fmla="*/ 0 w 664472"/>
                    <a:gd name="connsiteY0" fmla="*/ 380950 h 981913"/>
                    <a:gd name="connsiteX1" fmla="*/ 664472 w 664472"/>
                    <a:gd name="connsiteY1" fmla="*/ 0 h 981913"/>
                    <a:gd name="connsiteX2" fmla="*/ 1168 w 664472"/>
                    <a:gd name="connsiteY2" fmla="*/ 380950 h 981913"/>
                    <a:gd name="connsiteX3" fmla="*/ 664472 w 664472"/>
                    <a:gd name="connsiteY3" fmla="*/ 742848 h 981913"/>
                    <a:gd name="connsiteX4" fmla="*/ 664472 w 664472"/>
                    <a:gd name="connsiteY4" fmla="*/ 981527 h 981913"/>
                    <a:gd name="connsiteX5" fmla="*/ 663790 w 664472"/>
                    <a:gd name="connsiteY5" fmla="*/ 981913 h 981913"/>
                    <a:gd name="connsiteX6" fmla="*/ 4717 w 664472"/>
                    <a:gd name="connsiteY6" fmla="*/ 615828 h 981913"/>
                    <a:gd name="connsiteX7" fmla="*/ 0 w 664472"/>
                    <a:gd name="connsiteY7" fmla="*/ 380950 h 981913"/>
                    <a:gd name="connsiteX0" fmla="*/ 0 w 664472"/>
                    <a:gd name="connsiteY0" fmla="*/ 0 h 600963"/>
                    <a:gd name="connsiteX1" fmla="*/ 1168 w 664472"/>
                    <a:gd name="connsiteY1" fmla="*/ 0 h 600963"/>
                    <a:gd name="connsiteX2" fmla="*/ 664472 w 664472"/>
                    <a:gd name="connsiteY2" fmla="*/ 361898 h 600963"/>
                    <a:gd name="connsiteX3" fmla="*/ 664472 w 664472"/>
                    <a:gd name="connsiteY3" fmla="*/ 600577 h 600963"/>
                    <a:gd name="connsiteX4" fmla="*/ 663790 w 664472"/>
                    <a:gd name="connsiteY4" fmla="*/ 600963 h 600963"/>
                    <a:gd name="connsiteX5" fmla="*/ 4717 w 664472"/>
                    <a:gd name="connsiteY5" fmla="*/ 234878 h 600963"/>
                    <a:gd name="connsiteX6" fmla="*/ 0 w 664472"/>
                    <a:gd name="connsiteY6" fmla="*/ 0 h 600963"/>
                    <a:gd name="connsiteX0" fmla="*/ 5014 w 669486"/>
                    <a:gd name="connsiteY0" fmla="*/ 0 h 600963"/>
                    <a:gd name="connsiteX1" fmla="*/ 6182 w 669486"/>
                    <a:gd name="connsiteY1" fmla="*/ 0 h 600963"/>
                    <a:gd name="connsiteX2" fmla="*/ 669486 w 669486"/>
                    <a:gd name="connsiteY2" fmla="*/ 361898 h 600963"/>
                    <a:gd name="connsiteX3" fmla="*/ 669486 w 669486"/>
                    <a:gd name="connsiteY3" fmla="*/ 600577 h 600963"/>
                    <a:gd name="connsiteX4" fmla="*/ 668804 w 669486"/>
                    <a:gd name="connsiteY4" fmla="*/ 600963 h 600963"/>
                    <a:gd name="connsiteX5" fmla="*/ 206 w 669486"/>
                    <a:gd name="connsiteY5" fmla="*/ 234878 h 600963"/>
                    <a:gd name="connsiteX6" fmla="*/ 5014 w 669486"/>
                    <a:gd name="connsiteY6" fmla="*/ 0 h 600963"/>
                    <a:gd name="connsiteX0" fmla="*/ 5014 w 669486"/>
                    <a:gd name="connsiteY0" fmla="*/ 0 h 736694"/>
                    <a:gd name="connsiteX1" fmla="*/ 6182 w 669486"/>
                    <a:gd name="connsiteY1" fmla="*/ 135731 h 736694"/>
                    <a:gd name="connsiteX2" fmla="*/ 669486 w 669486"/>
                    <a:gd name="connsiteY2" fmla="*/ 497629 h 736694"/>
                    <a:gd name="connsiteX3" fmla="*/ 669486 w 669486"/>
                    <a:gd name="connsiteY3" fmla="*/ 736308 h 736694"/>
                    <a:gd name="connsiteX4" fmla="*/ 668804 w 669486"/>
                    <a:gd name="connsiteY4" fmla="*/ 736694 h 736694"/>
                    <a:gd name="connsiteX5" fmla="*/ 206 w 669486"/>
                    <a:gd name="connsiteY5" fmla="*/ 370609 h 736694"/>
                    <a:gd name="connsiteX6" fmla="*/ 5014 w 669486"/>
                    <a:gd name="connsiteY6" fmla="*/ 0 h 736694"/>
                    <a:gd name="connsiteX0" fmla="*/ 5014 w 669486"/>
                    <a:gd name="connsiteY0" fmla="*/ 0 h 736694"/>
                    <a:gd name="connsiteX1" fmla="*/ 669486 w 669486"/>
                    <a:gd name="connsiteY1" fmla="*/ 497629 h 736694"/>
                    <a:gd name="connsiteX2" fmla="*/ 669486 w 669486"/>
                    <a:gd name="connsiteY2" fmla="*/ 736308 h 736694"/>
                    <a:gd name="connsiteX3" fmla="*/ 668804 w 669486"/>
                    <a:gd name="connsiteY3" fmla="*/ 736694 h 736694"/>
                    <a:gd name="connsiteX4" fmla="*/ 206 w 669486"/>
                    <a:gd name="connsiteY4" fmla="*/ 370609 h 736694"/>
                    <a:gd name="connsiteX5" fmla="*/ 5014 w 669486"/>
                    <a:gd name="connsiteY5" fmla="*/ 0 h 736694"/>
                    <a:gd name="connsiteX0" fmla="*/ 494 w 669728"/>
                    <a:gd name="connsiteY0" fmla="*/ 0 h 767650"/>
                    <a:gd name="connsiteX1" fmla="*/ 669728 w 669728"/>
                    <a:gd name="connsiteY1" fmla="*/ 528585 h 767650"/>
                    <a:gd name="connsiteX2" fmla="*/ 669728 w 669728"/>
                    <a:gd name="connsiteY2" fmla="*/ 767264 h 767650"/>
                    <a:gd name="connsiteX3" fmla="*/ 669046 w 669728"/>
                    <a:gd name="connsiteY3" fmla="*/ 767650 h 767650"/>
                    <a:gd name="connsiteX4" fmla="*/ 448 w 669728"/>
                    <a:gd name="connsiteY4" fmla="*/ 401565 h 767650"/>
                    <a:gd name="connsiteX5" fmla="*/ 494 w 669728"/>
                    <a:gd name="connsiteY5" fmla="*/ 0 h 767650"/>
                    <a:gd name="connsiteX0" fmla="*/ 494 w 672110"/>
                    <a:gd name="connsiteY0" fmla="*/ 0 h 767650"/>
                    <a:gd name="connsiteX1" fmla="*/ 672110 w 672110"/>
                    <a:gd name="connsiteY1" fmla="*/ 373804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494 w 672111"/>
                    <a:gd name="connsiteY0" fmla="*/ 75 h 767725"/>
                    <a:gd name="connsiteX1" fmla="*/ 672110 w 672111"/>
                    <a:gd name="connsiteY1" fmla="*/ 373879 h 767725"/>
                    <a:gd name="connsiteX2" fmla="*/ 669728 w 672111"/>
                    <a:gd name="connsiteY2" fmla="*/ 767339 h 767725"/>
                    <a:gd name="connsiteX3" fmla="*/ 669046 w 672111"/>
                    <a:gd name="connsiteY3" fmla="*/ 767725 h 767725"/>
                    <a:gd name="connsiteX4" fmla="*/ 448 w 672111"/>
                    <a:gd name="connsiteY4" fmla="*/ 401640 h 767725"/>
                    <a:gd name="connsiteX5" fmla="*/ 494 w 672111"/>
                    <a:gd name="connsiteY5" fmla="*/ 75 h 767725"/>
                    <a:gd name="connsiteX0" fmla="*/ 494 w 672111"/>
                    <a:gd name="connsiteY0" fmla="*/ 75 h 767725"/>
                    <a:gd name="connsiteX1" fmla="*/ 672110 w 672111"/>
                    <a:gd name="connsiteY1" fmla="*/ 373879 h 767725"/>
                    <a:gd name="connsiteX2" fmla="*/ 669728 w 672111"/>
                    <a:gd name="connsiteY2" fmla="*/ 767339 h 767725"/>
                    <a:gd name="connsiteX3" fmla="*/ 669046 w 672111"/>
                    <a:gd name="connsiteY3" fmla="*/ 767725 h 767725"/>
                    <a:gd name="connsiteX4" fmla="*/ 448 w 672111"/>
                    <a:gd name="connsiteY4" fmla="*/ 401640 h 767725"/>
                    <a:gd name="connsiteX5" fmla="*/ 494 w 672111"/>
                    <a:gd name="connsiteY5" fmla="*/ 75 h 767725"/>
                    <a:gd name="connsiteX0" fmla="*/ 494 w 672110"/>
                    <a:gd name="connsiteY0" fmla="*/ 50 h 767700"/>
                    <a:gd name="connsiteX1" fmla="*/ 672110 w 672110"/>
                    <a:gd name="connsiteY1" fmla="*/ 373854 h 767700"/>
                    <a:gd name="connsiteX2" fmla="*/ 669728 w 672110"/>
                    <a:gd name="connsiteY2" fmla="*/ 767314 h 767700"/>
                    <a:gd name="connsiteX3" fmla="*/ 669046 w 672110"/>
                    <a:gd name="connsiteY3" fmla="*/ 767700 h 767700"/>
                    <a:gd name="connsiteX4" fmla="*/ 448 w 672110"/>
                    <a:gd name="connsiteY4" fmla="*/ 401615 h 767700"/>
                    <a:gd name="connsiteX5" fmla="*/ 494 w 672110"/>
                    <a:gd name="connsiteY5" fmla="*/ 50 h 767700"/>
                    <a:gd name="connsiteX0" fmla="*/ 494 w 672110"/>
                    <a:gd name="connsiteY0" fmla="*/ 0 h 767650"/>
                    <a:gd name="connsiteX1" fmla="*/ 672110 w 672110"/>
                    <a:gd name="connsiteY1" fmla="*/ 373804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494 w 672110"/>
                    <a:gd name="connsiteY0" fmla="*/ 0 h 767650"/>
                    <a:gd name="connsiteX1" fmla="*/ 672110 w 672110"/>
                    <a:gd name="connsiteY1" fmla="*/ 361898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2710 w 671945"/>
                    <a:gd name="connsiteY0" fmla="*/ 0 h 767650"/>
                    <a:gd name="connsiteX1" fmla="*/ 671945 w 671945"/>
                    <a:gd name="connsiteY1" fmla="*/ 361898 h 767650"/>
                    <a:gd name="connsiteX2" fmla="*/ 669563 w 671945"/>
                    <a:gd name="connsiteY2" fmla="*/ 767264 h 767650"/>
                    <a:gd name="connsiteX3" fmla="*/ 668881 w 671945"/>
                    <a:gd name="connsiteY3" fmla="*/ 767650 h 767650"/>
                    <a:gd name="connsiteX4" fmla="*/ 283 w 671945"/>
                    <a:gd name="connsiteY4" fmla="*/ 401565 h 767650"/>
                    <a:gd name="connsiteX5" fmla="*/ 2710 w 671945"/>
                    <a:gd name="connsiteY5" fmla="*/ 0 h 767650"/>
                    <a:gd name="connsiteX0" fmla="*/ 7353 w 671826"/>
                    <a:gd name="connsiteY0" fmla="*/ 0 h 979581"/>
                    <a:gd name="connsiteX1" fmla="*/ 671826 w 671826"/>
                    <a:gd name="connsiteY1" fmla="*/ 573829 h 979581"/>
                    <a:gd name="connsiteX2" fmla="*/ 669444 w 671826"/>
                    <a:gd name="connsiteY2" fmla="*/ 979195 h 979581"/>
                    <a:gd name="connsiteX3" fmla="*/ 668762 w 671826"/>
                    <a:gd name="connsiteY3" fmla="*/ 979581 h 979581"/>
                    <a:gd name="connsiteX4" fmla="*/ 164 w 671826"/>
                    <a:gd name="connsiteY4" fmla="*/ 613496 h 979581"/>
                    <a:gd name="connsiteX5" fmla="*/ 7353 w 671826"/>
                    <a:gd name="connsiteY5" fmla="*/ 0 h 979581"/>
                    <a:gd name="connsiteX0" fmla="*/ 7353 w 676589"/>
                    <a:gd name="connsiteY0" fmla="*/ 0 h 979581"/>
                    <a:gd name="connsiteX1" fmla="*/ 676589 w 676589"/>
                    <a:gd name="connsiteY1" fmla="*/ 352373 h 979581"/>
                    <a:gd name="connsiteX2" fmla="*/ 669444 w 676589"/>
                    <a:gd name="connsiteY2" fmla="*/ 979195 h 979581"/>
                    <a:gd name="connsiteX3" fmla="*/ 668762 w 676589"/>
                    <a:gd name="connsiteY3" fmla="*/ 979581 h 979581"/>
                    <a:gd name="connsiteX4" fmla="*/ 164 w 676589"/>
                    <a:gd name="connsiteY4" fmla="*/ 613496 h 979581"/>
                    <a:gd name="connsiteX5" fmla="*/ 7353 w 676589"/>
                    <a:gd name="connsiteY5" fmla="*/ 0 h 979581"/>
                    <a:gd name="connsiteX0" fmla="*/ 493 w 676873"/>
                    <a:gd name="connsiteY0" fmla="*/ 0 h 984344"/>
                    <a:gd name="connsiteX1" fmla="*/ 676873 w 676873"/>
                    <a:gd name="connsiteY1" fmla="*/ 357136 h 984344"/>
                    <a:gd name="connsiteX2" fmla="*/ 669728 w 676873"/>
                    <a:gd name="connsiteY2" fmla="*/ 983958 h 984344"/>
                    <a:gd name="connsiteX3" fmla="*/ 669046 w 676873"/>
                    <a:gd name="connsiteY3" fmla="*/ 984344 h 984344"/>
                    <a:gd name="connsiteX4" fmla="*/ 448 w 676873"/>
                    <a:gd name="connsiteY4" fmla="*/ 618259 h 984344"/>
                    <a:gd name="connsiteX5" fmla="*/ 493 w 676873"/>
                    <a:gd name="connsiteY5" fmla="*/ 0 h 984344"/>
                    <a:gd name="connsiteX0" fmla="*/ 493 w 676873"/>
                    <a:gd name="connsiteY0" fmla="*/ 0 h 907236"/>
                    <a:gd name="connsiteX1" fmla="*/ 676873 w 676873"/>
                    <a:gd name="connsiteY1" fmla="*/ 280028 h 907236"/>
                    <a:gd name="connsiteX2" fmla="*/ 669728 w 676873"/>
                    <a:gd name="connsiteY2" fmla="*/ 906850 h 907236"/>
                    <a:gd name="connsiteX3" fmla="*/ 669046 w 676873"/>
                    <a:gd name="connsiteY3" fmla="*/ 907236 h 907236"/>
                    <a:gd name="connsiteX4" fmla="*/ 448 w 676873"/>
                    <a:gd name="connsiteY4" fmla="*/ 541151 h 907236"/>
                    <a:gd name="connsiteX5" fmla="*/ 493 w 676873"/>
                    <a:gd name="connsiteY5" fmla="*/ 0 h 907236"/>
                    <a:gd name="connsiteX0" fmla="*/ 493 w 672813"/>
                    <a:gd name="connsiteY0" fmla="*/ 0 h 907236"/>
                    <a:gd name="connsiteX1" fmla="*/ 672813 w 672813"/>
                    <a:gd name="connsiteY1" fmla="*/ 332787 h 907236"/>
                    <a:gd name="connsiteX2" fmla="*/ 669728 w 672813"/>
                    <a:gd name="connsiteY2" fmla="*/ 906850 h 907236"/>
                    <a:gd name="connsiteX3" fmla="*/ 669046 w 672813"/>
                    <a:gd name="connsiteY3" fmla="*/ 907236 h 907236"/>
                    <a:gd name="connsiteX4" fmla="*/ 448 w 672813"/>
                    <a:gd name="connsiteY4" fmla="*/ 541151 h 907236"/>
                    <a:gd name="connsiteX5" fmla="*/ 493 w 672813"/>
                    <a:gd name="connsiteY5" fmla="*/ 0 h 907236"/>
                    <a:gd name="connsiteX0" fmla="*/ 493 w 672813"/>
                    <a:gd name="connsiteY0" fmla="*/ 0 h 907236"/>
                    <a:gd name="connsiteX1" fmla="*/ 672813 w 672813"/>
                    <a:gd name="connsiteY1" fmla="*/ 332787 h 907236"/>
                    <a:gd name="connsiteX2" fmla="*/ 669728 w 672813"/>
                    <a:gd name="connsiteY2" fmla="*/ 906850 h 907236"/>
                    <a:gd name="connsiteX3" fmla="*/ 669046 w 672813"/>
                    <a:gd name="connsiteY3" fmla="*/ 907236 h 907236"/>
                    <a:gd name="connsiteX4" fmla="*/ 448 w 672813"/>
                    <a:gd name="connsiteY4" fmla="*/ 541151 h 907236"/>
                    <a:gd name="connsiteX5" fmla="*/ 493 w 672813"/>
                    <a:gd name="connsiteY5" fmla="*/ 0 h 907236"/>
                    <a:gd name="connsiteX0" fmla="*/ 0 w 676378"/>
                    <a:gd name="connsiteY0" fmla="*/ 0 h 915352"/>
                    <a:gd name="connsiteX1" fmla="*/ 676378 w 676378"/>
                    <a:gd name="connsiteY1" fmla="*/ 340903 h 915352"/>
                    <a:gd name="connsiteX2" fmla="*/ 673293 w 676378"/>
                    <a:gd name="connsiteY2" fmla="*/ 914966 h 915352"/>
                    <a:gd name="connsiteX3" fmla="*/ 672611 w 676378"/>
                    <a:gd name="connsiteY3" fmla="*/ 915352 h 915352"/>
                    <a:gd name="connsiteX4" fmla="*/ 4013 w 676378"/>
                    <a:gd name="connsiteY4" fmla="*/ 549267 h 915352"/>
                    <a:gd name="connsiteX5" fmla="*/ 0 w 676378"/>
                    <a:gd name="connsiteY5" fmla="*/ 0 h 915352"/>
                    <a:gd name="connsiteX0" fmla="*/ 0 w 676378"/>
                    <a:gd name="connsiteY0" fmla="*/ 0 h 915352"/>
                    <a:gd name="connsiteX1" fmla="*/ 676378 w 676378"/>
                    <a:gd name="connsiteY1" fmla="*/ 340903 h 915352"/>
                    <a:gd name="connsiteX2" fmla="*/ 673293 w 676378"/>
                    <a:gd name="connsiteY2" fmla="*/ 914966 h 915352"/>
                    <a:gd name="connsiteX3" fmla="*/ 672611 w 676378"/>
                    <a:gd name="connsiteY3" fmla="*/ 915352 h 915352"/>
                    <a:gd name="connsiteX4" fmla="*/ 4013 w 676378"/>
                    <a:gd name="connsiteY4" fmla="*/ 549267 h 915352"/>
                    <a:gd name="connsiteX5" fmla="*/ 0 w 676378"/>
                    <a:gd name="connsiteY5" fmla="*/ 0 h 915352"/>
                    <a:gd name="connsiteX0" fmla="*/ 494 w 672814"/>
                    <a:gd name="connsiteY0" fmla="*/ 0 h 919410"/>
                    <a:gd name="connsiteX1" fmla="*/ 672814 w 672814"/>
                    <a:gd name="connsiteY1" fmla="*/ 344961 h 919410"/>
                    <a:gd name="connsiteX2" fmla="*/ 669729 w 672814"/>
                    <a:gd name="connsiteY2" fmla="*/ 919024 h 919410"/>
                    <a:gd name="connsiteX3" fmla="*/ 669047 w 672814"/>
                    <a:gd name="connsiteY3" fmla="*/ 919410 h 919410"/>
                    <a:gd name="connsiteX4" fmla="*/ 449 w 672814"/>
                    <a:gd name="connsiteY4" fmla="*/ 553325 h 919410"/>
                    <a:gd name="connsiteX5" fmla="*/ 494 w 672814"/>
                    <a:gd name="connsiteY5" fmla="*/ 0 h 919410"/>
                    <a:gd name="connsiteX0" fmla="*/ 494 w 672814"/>
                    <a:gd name="connsiteY0" fmla="*/ 0 h 919410"/>
                    <a:gd name="connsiteX1" fmla="*/ 672814 w 672814"/>
                    <a:gd name="connsiteY1" fmla="*/ 344961 h 919410"/>
                    <a:gd name="connsiteX2" fmla="*/ 669729 w 672814"/>
                    <a:gd name="connsiteY2" fmla="*/ 919024 h 919410"/>
                    <a:gd name="connsiteX3" fmla="*/ 669047 w 672814"/>
                    <a:gd name="connsiteY3" fmla="*/ 919410 h 919410"/>
                    <a:gd name="connsiteX4" fmla="*/ 449 w 672814"/>
                    <a:gd name="connsiteY4" fmla="*/ 553325 h 919410"/>
                    <a:gd name="connsiteX5" fmla="*/ 494 w 672814"/>
                    <a:gd name="connsiteY5" fmla="*/ 0 h 919410"/>
                    <a:gd name="connsiteX0" fmla="*/ 494 w 672814"/>
                    <a:gd name="connsiteY0" fmla="*/ 0 h 919410"/>
                    <a:gd name="connsiteX1" fmla="*/ 672814 w 672814"/>
                    <a:gd name="connsiteY1" fmla="*/ 373369 h 919410"/>
                    <a:gd name="connsiteX2" fmla="*/ 669729 w 672814"/>
                    <a:gd name="connsiteY2" fmla="*/ 919024 h 919410"/>
                    <a:gd name="connsiteX3" fmla="*/ 669047 w 672814"/>
                    <a:gd name="connsiteY3" fmla="*/ 919410 h 919410"/>
                    <a:gd name="connsiteX4" fmla="*/ 449 w 672814"/>
                    <a:gd name="connsiteY4" fmla="*/ 553325 h 919410"/>
                    <a:gd name="connsiteX5" fmla="*/ 494 w 672814"/>
                    <a:gd name="connsiteY5" fmla="*/ 0 h 9194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2814" h="919410">
                      <a:moveTo>
                        <a:pt x="494" y="0"/>
                      </a:moveTo>
                      <a:lnTo>
                        <a:pt x="672814" y="373369"/>
                      </a:lnTo>
                      <a:cubicBezTo>
                        <a:pt x="670432" y="582310"/>
                        <a:pt x="672111" y="710083"/>
                        <a:pt x="669729" y="919024"/>
                      </a:cubicBezTo>
                      <a:lnTo>
                        <a:pt x="669047" y="919410"/>
                      </a:lnTo>
                      <a:lnTo>
                        <a:pt x="449" y="553325"/>
                      </a:lnTo>
                      <a:cubicBezTo>
                        <a:pt x="-1123" y="475032"/>
                        <a:pt x="2066" y="78293"/>
                        <a:pt x="494" y="0"/>
                      </a:cubicBezTo>
                      <a:close/>
                    </a:path>
                  </a:pathLst>
                </a:custGeom>
                <a:solidFill>
                  <a:srgbClr val="ABC6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 dirty="0"/>
                </a:p>
              </p:txBody>
            </p:sp>
            <p:sp>
              <p:nvSpPr>
                <p:cNvPr id="30" name="Полілінія: фігура 29">
                  <a:extLst>
                    <a:ext uri="{FF2B5EF4-FFF2-40B4-BE49-F238E27FC236}">
                      <a16:creationId xmlns:a16="http://schemas.microsoft.com/office/drawing/2014/main" id="{897345E3-D750-3A3A-F6E6-1CEE13319719}"/>
                    </a:ext>
                  </a:extLst>
                </p:cNvPr>
                <p:cNvSpPr/>
                <p:nvPr/>
              </p:nvSpPr>
              <p:spPr>
                <a:xfrm>
                  <a:off x="7070422" y="5742285"/>
                  <a:ext cx="667233" cy="928641"/>
                </a:xfrm>
                <a:custGeom>
                  <a:avLst/>
                  <a:gdLst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0 w 664659"/>
                    <a:gd name="connsiteY3" fmla="*/ 371512 h 610191"/>
                    <a:gd name="connsiteX4" fmla="*/ 7675 w 664659"/>
                    <a:gd name="connsiteY4" fmla="*/ 375699 h 610191"/>
                    <a:gd name="connsiteX5" fmla="*/ 662330 w 664659"/>
                    <a:gd name="connsiteY5" fmla="*/ 0 h 610191"/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0 w 664659"/>
                    <a:gd name="connsiteY3" fmla="*/ 371512 h 610191"/>
                    <a:gd name="connsiteX4" fmla="*/ 662330 w 664659"/>
                    <a:gd name="connsiteY4" fmla="*/ 0 h 610191"/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9525 w 664659"/>
                    <a:gd name="connsiteY3" fmla="*/ 209587 h 610191"/>
                    <a:gd name="connsiteX4" fmla="*/ 662330 w 664659"/>
                    <a:gd name="connsiteY4" fmla="*/ 0 h 610191"/>
                    <a:gd name="connsiteX0" fmla="*/ 671855 w 671903"/>
                    <a:gd name="connsiteY0" fmla="*/ 0 h 769735"/>
                    <a:gd name="connsiteX1" fmla="*/ 664659 w 671903"/>
                    <a:gd name="connsiteY1" fmla="*/ 393755 h 769735"/>
                    <a:gd name="connsiteX2" fmla="*/ 0 w 671903"/>
                    <a:gd name="connsiteY2" fmla="*/ 769735 h 769735"/>
                    <a:gd name="connsiteX3" fmla="*/ 9525 w 671903"/>
                    <a:gd name="connsiteY3" fmla="*/ 369131 h 769735"/>
                    <a:gd name="connsiteX4" fmla="*/ 671855 w 671903"/>
                    <a:gd name="connsiteY4" fmla="*/ 0 h 769735"/>
                    <a:gd name="connsiteX0" fmla="*/ 669474 w 669522"/>
                    <a:gd name="connsiteY0" fmla="*/ 0 h 776879"/>
                    <a:gd name="connsiteX1" fmla="*/ 662278 w 669522"/>
                    <a:gd name="connsiteY1" fmla="*/ 393755 h 776879"/>
                    <a:gd name="connsiteX2" fmla="*/ 0 w 669522"/>
                    <a:gd name="connsiteY2" fmla="*/ 776879 h 776879"/>
                    <a:gd name="connsiteX3" fmla="*/ 7144 w 669522"/>
                    <a:gd name="connsiteY3" fmla="*/ 369131 h 776879"/>
                    <a:gd name="connsiteX4" fmla="*/ 669474 w 669522"/>
                    <a:gd name="connsiteY4" fmla="*/ 0 h 776879"/>
                    <a:gd name="connsiteX0" fmla="*/ 669474 w 669522"/>
                    <a:gd name="connsiteY0" fmla="*/ 0 h 776879"/>
                    <a:gd name="connsiteX1" fmla="*/ 662278 w 669522"/>
                    <a:gd name="connsiteY1" fmla="*/ 393755 h 776879"/>
                    <a:gd name="connsiteX2" fmla="*/ 0 w 669522"/>
                    <a:gd name="connsiteY2" fmla="*/ 776879 h 776879"/>
                    <a:gd name="connsiteX3" fmla="*/ 11889 w 669522"/>
                    <a:gd name="connsiteY3" fmla="*/ 152438 h 776879"/>
                    <a:gd name="connsiteX4" fmla="*/ 669474 w 669522"/>
                    <a:gd name="connsiteY4" fmla="*/ 0 h 776879"/>
                    <a:gd name="connsiteX0" fmla="*/ 669474 w 669522"/>
                    <a:gd name="connsiteY0" fmla="*/ 0 h 993573"/>
                    <a:gd name="connsiteX1" fmla="*/ 662278 w 669522"/>
                    <a:gd name="connsiteY1" fmla="*/ 610449 h 993573"/>
                    <a:gd name="connsiteX2" fmla="*/ 0 w 669522"/>
                    <a:gd name="connsiteY2" fmla="*/ 993573 h 993573"/>
                    <a:gd name="connsiteX3" fmla="*/ 11889 w 669522"/>
                    <a:gd name="connsiteY3" fmla="*/ 369132 h 993573"/>
                    <a:gd name="connsiteX4" fmla="*/ 669474 w 669522"/>
                    <a:gd name="connsiteY4" fmla="*/ 0 h 993573"/>
                    <a:gd name="connsiteX0" fmla="*/ 664728 w 664828"/>
                    <a:gd name="connsiteY0" fmla="*/ 0 h 993573"/>
                    <a:gd name="connsiteX1" fmla="*/ 662278 w 664828"/>
                    <a:gd name="connsiteY1" fmla="*/ 610449 h 993573"/>
                    <a:gd name="connsiteX2" fmla="*/ 0 w 664828"/>
                    <a:gd name="connsiteY2" fmla="*/ 993573 h 993573"/>
                    <a:gd name="connsiteX3" fmla="*/ 11889 w 664828"/>
                    <a:gd name="connsiteY3" fmla="*/ 369132 h 993573"/>
                    <a:gd name="connsiteX4" fmla="*/ 664728 w 664828"/>
                    <a:gd name="connsiteY4" fmla="*/ 0 h 993573"/>
                    <a:gd name="connsiteX0" fmla="*/ 664728 w 664828"/>
                    <a:gd name="connsiteY0" fmla="*/ 0 h 993573"/>
                    <a:gd name="connsiteX1" fmla="*/ 662278 w 664828"/>
                    <a:gd name="connsiteY1" fmla="*/ 610449 h 993573"/>
                    <a:gd name="connsiteX2" fmla="*/ 0 w 664828"/>
                    <a:gd name="connsiteY2" fmla="*/ 993573 h 993573"/>
                    <a:gd name="connsiteX3" fmla="*/ 15932 w 664828"/>
                    <a:gd name="connsiteY3" fmla="*/ 401600 h 993573"/>
                    <a:gd name="connsiteX4" fmla="*/ 664728 w 664828"/>
                    <a:gd name="connsiteY4" fmla="*/ 0 h 993573"/>
                    <a:gd name="connsiteX0" fmla="*/ 664728 w 664828"/>
                    <a:gd name="connsiteY0" fmla="*/ 0 h 916465"/>
                    <a:gd name="connsiteX1" fmla="*/ 662278 w 664828"/>
                    <a:gd name="connsiteY1" fmla="*/ 533341 h 916465"/>
                    <a:gd name="connsiteX2" fmla="*/ 0 w 664828"/>
                    <a:gd name="connsiteY2" fmla="*/ 916465 h 916465"/>
                    <a:gd name="connsiteX3" fmla="*/ 15932 w 664828"/>
                    <a:gd name="connsiteY3" fmla="*/ 324492 h 916465"/>
                    <a:gd name="connsiteX4" fmla="*/ 664728 w 664828"/>
                    <a:gd name="connsiteY4" fmla="*/ 0 h 916465"/>
                    <a:gd name="connsiteX0" fmla="*/ 664728 w 664828"/>
                    <a:gd name="connsiteY0" fmla="*/ 0 h 928641"/>
                    <a:gd name="connsiteX1" fmla="*/ 662278 w 664828"/>
                    <a:gd name="connsiteY1" fmla="*/ 545517 h 928641"/>
                    <a:gd name="connsiteX2" fmla="*/ 0 w 664828"/>
                    <a:gd name="connsiteY2" fmla="*/ 928641 h 928641"/>
                    <a:gd name="connsiteX3" fmla="*/ 15932 w 664828"/>
                    <a:gd name="connsiteY3" fmla="*/ 336668 h 928641"/>
                    <a:gd name="connsiteX4" fmla="*/ 664728 w 664828"/>
                    <a:gd name="connsiteY4" fmla="*/ 0 h 928641"/>
                    <a:gd name="connsiteX0" fmla="*/ 664728 w 664828"/>
                    <a:gd name="connsiteY0" fmla="*/ 0 h 928641"/>
                    <a:gd name="connsiteX1" fmla="*/ 662278 w 664828"/>
                    <a:gd name="connsiteY1" fmla="*/ 545517 h 928641"/>
                    <a:gd name="connsiteX2" fmla="*/ 0 w 664828"/>
                    <a:gd name="connsiteY2" fmla="*/ 928641 h 928641"/>
                    <a:gd name="connsiteX3" fmla="*/ 11887 w 664828"/>
                    <a:gd name="connsiteY3" fmla="*/ 369134 h 928641"/>
                    <a:gd name="connsiteX4" fmla="*/ 664728 w 664828"/>
                    <a:gd name="connsiteY4" fmla="*/ 0 h 9286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28" h="928641">
                      <a:moveTo>
                        <a:pt x="664728" y="0"/>
                      </a:moveTo>
                      <a:cubicBezTo>
                        <a:pt x="665504" y="78070"/>
                        <a:pt x="661502" y="467447"/>
                        <a:pt x="662278" y="545517"/>
                      </a:cubicBezTo>
                      <a:lnTo>
                        <a:pt x="0" y="928641"/>
                      </a:lnTo>
                      <a:lnTo>
                        <a:pt x="11887" y="369134"/>
                      </a:lnTo>
                      <a:lnTo>
                        <a:pt x="664728" y="0"/>
                      </a:lnTo>
                      <a:close/>
                    </a:path>
                  </a:pathLst>
                </a:custGeom>
                <a:solidFill>
                  <a:srgbClr val="98B1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cxnSp>
            <p:nvCxnSpPr>
              <p:cNvPr id="26" name="Пряма сполучна лінія 25">
                <a:extLst>
                  <a:ext uri="{FF2B5EF4-FFF2-40B4-BE49-F238E27FC236}">
                    <a16:creationId xmlns:a16="http://schemas.microsoft.com/office/drawing/2014/main" id="{813F4882-270F-7020-C1CF-D9A209298546}"/>
                  </a:ext>
                </a:extLst>
              </p:cNvPr>
              <p:cNvCxnSpPr>
                <a:cxnSpLocks/>
                <a:stCxn id="27" idx="2"/>
                <a:endCxn id="30" idx="2"/>
              </p:cNvCxnSpPr>
              <p:nvPr/>
            </p:nvCxnSpPr>
            <p:spPr>
              <a:xfrm flipH="1">
                <a:off x="6411071" y="7303103"/>
                <a:ext cx="10901" cy="705978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Полілінія: фігура 26">
                <a:extLst>
                  <a:ext uri="{FF2B5EF4-FFF2-40B4-BE49-F238E27FC236}">
                    <a16:creationId xmlns:a16="http://schemas.microsoft.com/office/drawing/2014/main" id="{CB188A82-EA05-B4B8-4DA9-6219E8232D14}"/>
                  </a:ext>
                </a:extLst>
              </p:cNvPr>
              <p:cNvSpPr/>
              <p:nvPr/>
            </p:nvSpPr>
            <p:spPr>
              <a:xfrm>
                <a:off x="5750993" y="6550458"/>
                <a:ext cx="1326795" cy="752644"/>
              </a:xfrm>
              <a:custGeom>
                <a:avLst/>
                <a:gdLst>
                  <a:gd name="connsiteX0" fmla="*/ 301555 w 584326"/>
                  <a:gd name="connsiteY0" fmla="*/ 0 h 347372"/>
                  <a:gd name="connsiteX1" fmla="*/ 584326 w 584326"/>
                  <a:gd name="connsiteY1" fmla="*/ 172421 h 347372"/>
                  <a:gd name="connsiteX2" fmla="*/ 289671 w 584326"/>
                  <a:gd name="connsiteY2" fmla="*/ 347372 h 347372"/>
                  <a:gd name="connsiteX3" fmla="*/ 0 w 584326"/>
                  <a:gd name="connsiteY3" fmla="*/ 174949 h 347372"/>
                  <a:gd name="connsiteX4" fmla="*/ 301555 w 584326"/>
                  <a:gd name="connsiteY4" fmla="*/ 0 h 347372"/>
                  <a:gd name="connsiteX0" fmla="*/ 301555 w 584326"/>
                  <a:gd name="connsiteY0" fmla="*/ 0 h 361660"/>
                  <a:gd name="connsiteX1" fmla="*/ 584326 w 584326"/>
                  <a:gd name="connsiteY1" fmla="*/ 172421 h 361660"/>
                  <a:gd name="connsiteX2" fmla="*/ 296815 w 584326"/>
                  <a:gd name="connsiteY2" fmla="*/ 361660 h 361660"/>
                  <a:gd name="connsiteX3" fmla="*/ 0 w 584326"/>
                  <a:gd name="connsiteY3" fmla="*/ 174949 h 361660"/>
                  <a:gd name="connsiteX4" fmla="*/ 301555 w 584326"/>
                  <a:gd name="connsiteY4" fmla="*/ 0 h 361660"/>
                  <a:gd name="connsiteX0" fmla="*/ 301555 w 596232"/>
                  <a:gd name="connsiteY0" fmla="*/ 0 h 361660"/>
                  <a:gd name="connsiteX1" fmla="*/ 596232 w 596232"/>
                  <a:gd name="connsiteY1" fmla="*/ 181946 h 361660"/>
                  <a:gd name="connsiteX2" fmla="*/ 296815 w 596232"/>
                  <a:gd name="connsiteY2" fmla="*/ 361660 h 361660"/>
                  <a:gd name="connsiteX3" fmla="*/ 0 w 596232"/>
                  <a:gd name="connsiteY3" fmla="*/ 174949 h 361660"/>
                  <a:gd name="connsiteX4" fmla="*/ 301555 w 596232"/>
                  <a:gd name="connsiteY4" fmla="*/ 0 h 361660"/>
                  <a:gd name="connsiteX0" fmla="*/ 311080 w 605757"/>
                  <a:gd name="connsiteY0" fmla="*/ 0 h 361660"/>
                  <a:gd name="connsiteX1" fmla="*/ 605757 w 605757"/>
                  <a:gd name="connsiteY1" fmla="*/ 181946 h 361660"/>
                  <a:gd name="connsiteX2" fmla="*/ 306340 w 605757"/>
                  <a:gd name="connsiteY2" fmla="*/ 361660 h 361660"/>
                  <a:gd name="connsiteX3" fmla="*/ 0 w 605757"/>
                  <a:gd name="connsiteY3" fmla="*/ 186855 h 361660"/>
                  <a:gd name="connsiteX4" fmla="*/ 311080 w 605757"/>
                  <a:gd name="connsiteY4" fmla="*/ 0 h 361660"/>
                  <a:gd name="connsiteX0" fmla="*/ 316516 w 605757"/>
                  <a:gd name="connsiteY0" fmla="*/ 0 h 362797"/>
                  <a:gd name="connsiteX1" fmla="*/ 605757 w 605757"/>
                  <a:gd name="connsiteY1" fmla="*/ 183083 h 362797"/>
                  <a:gd name="connsiteX2" fmla="*/ 306340 w 605757"/>
                  <a:gd name="connsiteY2" fmla="*/ 362797 h 362797"/>
                  <a:gd name="connsiteX3" fmla="*/ 0 w 605757"/>
                  <a:gd name="connsiteY3" fmla="*/ 187992 h 362797"/>
                  <a:gd name="connsiteX4" fmla="*/ 316516 w 605757"/>
                  <a:gd name="connsiteY4" fmla="*/ 0 h 362797"/>
                  <a:gd name="connsiteX0" fmla="*/ 316516 w 605757"/>
                  <a:gd name="connsiteY0" fmla="*/ 0 h 359386"/>
                  <a:gd name="connsiteX1" fmla="*/ 605757 w 605757"/>
                  <a:gd name="connsiteY1" fmla="*/ 179672 h 359386"/>
                  <a:gd name="connsiteX2" fmla="*/ 306340 w 605757"/>
                  <a:gd name="connsiteY2" fmla="*/ 359386 h 359386"/>
                  <a:gd name="connsiteX3" fmla="*/ 0 w 605757"/>
                  <a:gd name="connsiteY3" fmla="*/ 184581 h 359386"/>
                  <a:gd name="connsiteX4" fmla="*/ 316516 w 605757"/>
                  <a:gd name="connsiteY4" fmla="*/ 0 h 359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5757" h="359386">
                    <a:moveTo>
                      <a:pt x="316516" y="0"/>
                    </a:moveTo>
                    <a:lnTo>
                      <a:pt x="605757" y="179672"/>
                    </a:lnTo>
                    <a:lnTo>
                      <a:pt x="306340" y="359386"/>
                    </a:lnTo>
                    <a:lnTo>
                      <a:pt x="0" y="184581"/>
                    </a:lnTo>
                    <a:lnTo>
                      <a:pt x="316516" y="0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dirty="0"/>
              </a:p>
            </p:txBody>
          </p:sp>
        </p:grpSp>
        <p:grpSp>
          <p:nvGrpSpPr>
            <p:cNvPr id="33" name="Групувати 32">
              <a:extLst>
                <a:ext uri="{FF2B5EF4-FFF2-40B4-BE49-F238E27FC236}">
                  <a16:creationId xmlns:a16="http://schemas.microsoft.com/office/drawing/2014/main" id="{AE6F8F9B-2632-4CDA-20A2-5E4CA924912A}"/>
                </a:ext>
              </a:extLst>
            </p:cNvPr>
            <p:cNvGrpSpPr/>
            <p:nvPr/>
          </p:nvGrpSpPr>
          <p:grpSpPr>
            <a:xfrm>
              <a:off x="6009825" y="2468869"/>
              <a:ext cx="716344" cy="785594"/>
              <a:chOff x="5748629" y="6545696"/>
              <a:chExt cx="1334387" cy="1463385"/>
            </a:xfrm>
          </p:grpSpPr>
          <p:grpSp>
            <p:nvGrpSpPr>
              <p:cNvPr id="34" name="Групувати 33">
                <a:extLst>
                  <a:ext uri="{FF2B5EF4-FFF2-40B4-BE49-F238E27FC236}">
                    <a16:creationId xmlns:a16="http://schemas.microsoft.com/office/drawing/2014/main" id="{55ABAC33-7975-20D3-F2DC-FD527CE18674}"/>
                  </a:ext>
                </a:extLst>
              </p:cNvPr>
              <p:cNvGrpSpPr/>
              <p:nvPr/>
            </p:nvGrpSpPr>
            <p:grpSpPr>
              <a:xfrm>
                <a:off x="5750989" y="6553877"/>
                <a:ext cx="1324788" cy="1454967"/>
                <a:chOff x="6421452" y="5214422"/>
                <a:chExt cx="1324788" cy="1454967"/>
              </a:xfrm>
            </p:grpSpPr>
            <p:sp>
              <p:nvSpPr>
                <p:cNvPr id="42" name="Полілінія: фігура 41">
                  <a:extLst>
                    <a:ext uri="{FF2B5EF4-FFF2-40B4-BE49-F238E27FC236}">
                      <a16:creationId xmlns:a16="http://schemas.microsoft.com/office/drawing/2014/main" id="{243F728B-2F34-26F8-795E-D1DBC1F02F41}"/>
                    </a:ext>
                  </a:extLst>
                </p:cNvPr>
                <p:cNvSpPr/>
                <p:nvPr/>
              </p:nvSpPr>
              <p:spPr>
                <a:xfrm>
                  <a:off x="6421452" y="5214422"/>
                  <a:ext cx="690893" cy="1454967"/>
                </a:xfrm>
                <a:custGeom>
                  <a:avLst/>
                  <a:gdLst>
                    <a:gd name="connsiteX0" fmla="*/ 661383 w 690893"/>
                    <a:gd name="connsiteY0" fmla="*/ 12129 h 1454967"/>
                    <a:gd name="connsiteX1" fmla="*/ 661383 w 690893"/>
                    <a:gd name="connsiteY1" fmla="*/ 1452580 h 1454967"/>
                    <a:gd name="connsiteX2" fmla="*/ 657176 w 690893"/>
                    <a:gd name="connsiteY2" fmla="*/ 1454967 h 1454967"/>
                    <a:gd name="connsiteX3" fmla="*/ 0 w 690893"/>
                    <a:gd name="connsiteY3" fmla="*/ 1080947 h 1454967"/>
                    <a:gd name="connsiteX4" fmla="*/ 0 w 690893"/>
                    <a:gd name="connsiteY4" fmla="*/ 838488 h 1454967"/>
                    <a:gd name="connsiteX5" fmla="*/ 0 w 690893"/>
                    <a:gd name="connsiteY5" fmla="*/ 621465 h 1454967"/>
                    <a:gd name="connsiteX6" fmla="*/ 0 w 690893"/>
                    <a:gd name="connsiteY6" fmla="*/ 379006 h 1454967"/>
                    <a:gd name="connsiteX7" fmla="*/ 22753 w 690893"/>
                    <a:gd name="connsiteY7" fmla="*/ 366386 h 1454967"/>
                    <a:gd name="connsiteX8" fmla="*/ 683258 w 690893"/>
                    <a:gd name="connsiteY8" fmla="*/ 0 h 1454967"/>
                    <a:gd name="connsiteX9" fmla="*/ 690893 w 690893"/>
                    <a:gd name="connsiteY9" fmla="*/ 4452 h 1454967"/>
                    <a:gd name="connsiteX10" fmla="*/ 690893 w 690893"/>
                    <a:gd name="connsiteY10" fmla="*/ 1435832 h 1454967"/>
                    <a:gd name="connsiteX11" fmla="*/ 661390 w 690893"/>
                    <a:gd name="connsiteY11" fmla="*/ 1452581 h 1454967"/>
                    <a:gd name="connsiteX12" fmla="*/ 661390 w 690893"/>
                    <a:gd name="connsiteY12" fmla="*/ 12130 h 1454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690893" h="1454967">
                      <a:moveTo>
                        <a:pt x="661383" y="12129"/>
                      </a:moveTo>
                      <a:lnTo>
                        <a:pt x="661383" y="1452580"/>
                      </a:lnTo>
                      <a:lnTo>
                        <a:pt x="657176" y="1454967"/>
                      </a:lnTo>
                      <a:lnTo>
                        <a:pt x="0" y="1080947"/>
                      </a:lnTo>
                      <a:lnTo>
                        <a:pt x="0" y="838488"/>
                      </a:lnTo>
                      <a:lnTo>
                        <a:pt x="0" y="621465"/>
                      </a:lnTo>
                      <a:lnTo>
                        <a:pt x="0" y="379006"/>
                      </a:lnTo>
                      <a:lnTo>
                        <a:pt x="22753" y="366386"/>
                      </a:lnTo>
                      <a:close/>
                      <a:moveTo>
                        <a:pt x="683258" y="0"/>
                      </a:moveTo>
                      <a:lnTo>
                        <a:pt x="690893" y="4452"/>
                      </a:lnTo>
                      <a:lnTo>
                        <a:pt x="690893" y="1435832"/>
                      </a:lnTo>
                      <a:lnTo>
                        <a:pt x="661390" y="1452581"/>
                      </a:lnTo>
                      <a:lnTo>
                        <a:pt x="661390" y="12130"/>
                      </a:lnTo>
                      <a:close/>
                    </a:path>
                  </a:pathLst>
                </a:custGeom>
                <a:solidFill>
                  <a:srgbClr val="D3D1D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3" name="Полілінія: фігура 42">
                  <a:extLst>
                    <a:ext uri="{FF2B5EF4-FFF2-40B4-BE49-F238E27FC236}">
                      <a16:creationId xmlns:a16="http://schemas.microsoft.com/office/drawing/2014/main" id="{49D20975-C638-66F9-B5F5-28A19648AEFD}"/>
                    </a:ext>
                  </a:extLst>
                </p:cNvPr>
                <p:cNvSpPr/>
                <p:nvPr/>
              </p:nvSpPr>
              <p:spPr>
                <a:xfrm>
                  <a:off x="7112345" y="5218873"/>
                  <a:ext cx="633895" cy="1431380"/>
                </a:xfrm>
                <a:custGeom>
                  <a:avLst/>
                  <a:gdLst>
                    <a:gd name="connsiteX0" fmla="*/ 0 w 633895"/>
                    <a:gd name="connsiteY0" fmla="*/ 0 h 1431380"/>
                    <a:gd name="connsiteX1" fmla="*/ 611721 w 633895"/>
                    <a:gd name="connsiteY1" fmla="*/ 356641 h 1431380"/>
                    <a:gd name="connsiteX2" fmla="*/ 633895 w 633895"/>
                    <a:gd name="connsiteY2" fmla="*/ 369568 h 1431380"/>
                    <a:gd name="connsiteX3" fmla="*/ 633895 w 633895"/>
                    <a:gd name="connsiteY3" fmla="*/ 612028 h 1431380"/>
                    <a:gd name="connsiteX4" fmla="*/ 633895 w 633895"/>
                    <a:gd name="connsiteY4" fmla="*/ 829051 h 1431380"/>
                    <a:gd name="connsiteX5" fmla="*/ 633895 w 633895"/>
                    <a:gd name="connsiteY5" fmla="*/ 1071510 h 1431380"/>
                    <a:gd name="connsiteX6" fmla="*/ 0 w 633895"/>
                    <a:gd name="connsiteY6" fmla="*/ 1431380 h 1431380"/>
                    <a:gd name="connsiteX7" fmla="*/ 0 w 633895"/>
                    <a:gd name="connsiteY7" fmla="*/ 0 h 1431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3895" h="1431380">
                      <a:moveTo>
                        <a:pt x="0" y="0"/>
                      </a:moveTo>
                      <a:lnTo>
                        <a:pt x="611721" y="356641"/>
                      </a:lnTo>
                      <a:lnTo>
                        <a:pt x="633895" y="369568"/>
                      </a:lnTo>
                      <a:lnTo>
                        <a:pt x="633895" y="612028"/>
                      </a:lnTo>
                      <a:lnTo>
                        <a:pt x="633895" y="829051"/>
                      </a:lnTo>
                      <a:lnTo>
                        <a:pt x="633895" y="1071510"/>
                      </a:lnTo>
                      <a:lnTo>
                        <a:pt x="0" y="143138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7E6E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sp>
            <p:nvSpPr>
              <p:cNvPr id="35" name="Полілінія: фігура 34">
                <a:extLst>
                  <a:ext uri="{FF2B5EF4-FFF2-40B4-BE49-F238E27FC236}">
                    <a16:creationId xmlns:a16="http://schemas.microsoft.com/office/drawing/2014/main" id="{53716314-B1B3-6651-0210-CE22710909B8}"/>
                  </a:ext>
                </a:extLst>
              </p:cNvPr>
              <p:cNvSpPr/>
              <p:nvPr/>
            </p:nvSpPr>
            <p:spPr>
              <a:xfrm>
                <a:off x="6407080" y="6988774"/>
                <a:ext cx="17466" cy="10371"/>
              </a:xfrm>
              <a:custGeom>
                <a:avLst/>
                <a:gdLst>
                  <a:gd name="connsiteX0" fmla="*/ 16890 w 17466"/>
                  <a:gd name="connsiteY0" fmla="*/ 0 h 10371"/>
                  <a:gd name="connsiteX1" fmla="*/ 17466 w 17466"/>
                  <a:gd name="connsiteY1" fmla="*/ 340 h 10371"/>
                  <a:gd name="connsiteX2" fmla="*/ 0 w 17466"/>
                  <a:gd name="connsiteY2" fmla="*/ 10371 h 10371"/>
                  <a:gd name="connsiteX3" fmla="*/ 0 w 17466"/>
                  <a:gd name="connsiteY3" fmla="*/ 9701 h 10371"/>
                  <a:gd name="connsiteX4" fmla="*/ 16890 w 17466"/>
                  <a:gd name="connsiteY4" fmla="*/ 0 h 10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66" h="10371">
                    <a:moveTo>
                      <a:pt x="16890" y="0"/>
                    </a:moveTo>
                    <a:lnTo>
                      <a:pt x="17466" y="340"/>
                    </a:lnTo>
                    <a:lnTo>
                      <a:pt x="0" y="10371"/>
                    </a:lnTo>
                    <a:lnTo>
                      <a:pt x="0" y="9701"/>
                    </a:lnTo>
                    <a:lnTo>
                      <a:pt x="1689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grpSp>
            <p:nvGrpSpPr>
              <p:cNvPr id="36" name="Групувати 35">
                <a:extLst>
                  <a:ext uri="{FF2B5EF4-FFF2-40B4-BE49-F238E27FC236}">
                    <a16:creationId xmlns:a16="http://schemas.microsoft.com/office/drawing/2014/main" id="{781F9C19-0DBB-5FD7-AED0-D21B7DF0B34E}"/>
                  </a:ext>
                </a:extLst>
              </p:cNvPr>
              <p:cNvGrpSpPr/>
              <p:nvPr/>
            </p:nvGrpSpPr>
            <p:grpSpPr>
              <a:xfrm>
                <a:off x="5748629" y="6852356"/>
                <a:ext cx="1334387" cy="1156725"/>
                <a:chOff x="6407980" y="5514201"/>
                <a:chExt cx="1334387" cy="1156725"/>
              </a:xfrm>
            </p:grpSpPr>
            <p:sp>
              <p:nvSpPr>
                <p:cNvPr id="39" name="Полілінія: фігура 38">
                  <a:extLst>
                    <a:ext uri="{FF2B5EF4-FFF2-40B4-BE49-F238E27FC236}">
                      <a16:creationId xmlns:a16="http://schemas.microsoft.com/office/drawing/2014/main" id="{A6ABD21F-810A-0A41-B104-75DDD3053392}"/>
                    </a:ext>
                  </a:extLst>
                </p:cNvPr>
                <p:cNvSpPr/>
                <p:nvPr/>
              </p:nvSpPr>
              <p:spPr>
                <a:xfrm>
                  <a:off x="6414498" y="5514201"/>
                  <a:ext cx="1325634" cy="757066"/>
                </a:xfrm>
                <a:custGeom>
                  <a:avLst/>
                  <a:gdLst>
                    <a:gd name="connsiteX0" fmla="*/ 680770 w 1325634"/>
                    <a:gd name="connsiteY0" fmla="*/ 0 h 757066"/>
                    <a:gd name="connsiteX1" fmla="*/ 1325627 w 1325634"/>
                    <a:gd name="connsiteY1" fmla="*/ 380700 h 757066"/>
                    <a:gd name="connsiteX2" fmla="*/ 1325634 w 1325634"/>
                    <a:gd name="connsiteY2" fmla="*/ 381367 h 757066"/>
                    <a:gd name="connsiteX3" fmla="*/ 670979 w 1325634"/>
                    <a:gd name="connsiteY3" fmla="*/ 757066 h 757066"/>
                    <a:gd name="connsiteX4" fmla="*/ 0 w 1325634"/>
                    <a:gd name="connsiteY4" fmla="*/ 390981 h 757066"/>
                    <a:gd name="connsiteX5" fmla="*/ 680770 w 1325634"/>
                    <a:gd name="connsiteY5" fmla="*/ 0 h 757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5634" h="757066">
                      <a:moveTo>
                        <a:pt x="680770" y="0"/>
                      </a:moveTo>
                      <a:lnTo>
                        <a:pt x="1325627" y="380700"/>
                      </a:lnTo>
                      <a:lnTo>
                        <a:pt x="1325634" y="381367"/>
                      </a:lnTo>
                      <a:lnTo>
                        <a:pt x="670979" y="757066"/>
                      </a:lnTo>
                      <a:lnTo>
                        <a:pt x="0" y="390981"/>
                      </a:lnTo>
                      <a:lnTo>
                        <a:pt x="680770" y="0"/>
                      </a:lnTo>
                      <a:close/>
                    </a:path>
                  </a:pathLst>
                </a:custGeom>
                <a:solidFill>
                  <a:srgbClr val="B7D3ED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0" name="Полілінія: фігура 39">
                  <a:extLst>
                    <a:ext uri="{FF2B5EF4-FFF2-40B4-BE49-F238E27FC236}">
                      <a16:creationId xmlns:a16="http://schemas.microsoft.com/office/drawing/2014/main" id="{72667A67-25A4-22A8-50DC-592ED8F3043B}"/>
                    </a:ext>
                  </a:extLst>
                </p:cNvPr>
                <p:cNvSpPr/>
                <p:nvPr/>
              </p:nvSpPr>
              <p:spPr>
                <a:xfrm>
                  <a:off x="6407980" y="5899353"/>
                  <a:ext cx="671945" cy="767650"/>
                </a:xfrm>
                <a:custGeom>
                  <a:avLst/>
                  <a:gdLst>
                    <a:gd name="connsiteX0" fmla="*/ 664472 w 664472"/>
                    <a:gd name="connsiteY0" fmla="*/ 0 h 982583"/>
                    <a:gd name="connsiteX1" fmla="*/ 664472 w 664472"/>
                    <a:gd name="connsiteY1" fmla="*/ 670 h 982583"/>
                    <a:gd name="connsiteX2" fmla="*/ 1168 w 664472"/>
                    <a:gd name="connsiteY2" fmla="*/ 381620 h 982583"/>
                    <a:gd name="connsiteX3" fmla="*/ 664472 w 664472"/>
                    <a:gd name="connsiteY3" fmla="*/ 743518 h 982583"/>
                    <a:gd name="connsiteX4" fmla="*/ 664472 w 664472"/>
                    <a:gd name="connsiteY4" fmla="*/ 982197 h 982583"/>
                    <a:gd name="connsiteX5" fmla="*/ 663790 w 664472"/>
                    <a:gd name="connsiteY5" fmla="*/ 982583 h 982583"/>
                    <a:gd name="connsiteX6" fmla="*/ 4717 w 664472"/>
                    <a:gd name="connsiteY6" fmla="*/ 616498 h 982583"/>
                    <a:gd name="connsiteX7" fmla="*/ 0 w 664472"/>
                    <a:gd name="connsiteY7" fmla="*/ 381620 h 982583"/>
                    <a:gd name="connsiteX8" fmla="*/ 664472 w 664472"/>
                    <a:gd name="connsiteY8" fmla="*/ 0 h 982583"/>
                    <a:gd name="connsiteX0" fmla="*/ 0 w 664472"/>
                    <a:gd name="connsiteY0" fmla="*/ 380950 h 981913"/>
                    <a:gd name="connsiteX1" fmla="*/ 664472 w 664472"/>
                    <a:gd name="connsiteY1" fmla="*/ 0 h 981913"/>
                    <a:gd name="connsiteX2" fmla="*/ 1168 w 664472"/>
                    <a:gd name="connsiteY2" fmla="*/ 380950 h 981913"/>
                    <a:gd name="connsiteX3" fmla="*/ 664472 w 664472"/>
                    <a:gd name="connsiteY3" fmla="*/ 742848 h 981913"/>
                    <a:gd name="connsiteX4" fmla="*/ 664472 w 664472"/>
                    <a:gd name="connsiteY4" fmla="*/ 981527 h 981913"/>
                    <a:gd name="connsiteX5" fmla="*/ 663790 w 664472"/>
                    <a:gd name="connsiteY5" fmla="*/ 981913 h 981913"/>
                    <a:gd name="connsiteX6" fmla="*/ 4717 w 664472"/>
                    <a:gd name="connsiteY6" fmla="*/ 615828 h 981913"/>
                    <a:gd name="connsiteX7" fmla="*/ 0 w 664472"/>
                    <a:gd name="connsiteY7" fmla="*/ 380950 h 981913"/>
                    <a:gd name="connsiteX0" fmla="*/ 0 w 664472"/>
                    <a:gd name="connsiteY0" fmla="*/ 0 h 600963"/>
                    <a:gd name="connsiteX1" fmla="*/ 1168 w 664472"/>
                    <a:gd name="connsiteY1" fmla="*/ 0 h 600963"/>
                    <a:gd name="connsiteX2" fmla="*/ 664472 w 664472"/>
                    <a:gd name="connsiteY2" fmla="*/ 361898 h 600963"/>
                    <a:gd name="connsiteX3" fmla="*/ 664472 w 664472"/>
                    <a:gd name="connsiteY3" fmla="*/ 600577 h 600963"/>
                    <a:gd name="connsiteX4" fmla="*/ 663790 w 664472"/>
                    <a:gd name="connsiteY4" fmla="*/ 600963 h 600963"/>
                    <a:gd name="connsiteX5" fmla="*/ 4717 w 664472"/>
                    <a:gd name="connsiteY5" fmla="*/ 234878 h 600963"/>
                    <a:gd name="connsiteX6" fmla="*/ 0 w 664472"/>
                    <a:gd name="connsiteY6" fmla="*/ 0 h 600963"/>
                    <a:gd name="connsiteX0" fmla="*/ 5014 w 669486"/>
                    <a:gd name="connsiteY0" fmla="*/ 0 h 600963"/>
                    <a:gd name="connsiteX1" fmla="*/ 6182 w 669486"/>
                    <a:gd name="connsiteY1" fmla="*/ 0 h 600963"/>
                    <a:gd name="connsiteX2" fmla="*/ 669486 w 669486"/>
                    <a:gd name="connsiteY2" fmla="*/ 361898 h 600963"/>
                    <a:gd name="connsiteX3" fmla="*/ 669486 w 669486"/>
                    <a:gd name="connsiteY3" fmla="*/ 600577 h 600963"/>
                    <a:gd name="connsiteX4" fmla="*/ 668804 w 669486"/>
                    <a:gd name="connsiteY4" fmla="*/ 600963 h 600963"/>
                    <a:gd name="connsiteX5" fmla="*/ 206 w 669486"/>
                    <a:gd name="connsiteY5" fmla="*/ 234878 h 600963"/>
                    <a:gd name="connsiteX6" fmla="*/ 5014 w 669486"/>
                    <a:gd name="connsiteY6" fmla="*/ 0 h 600963"/>
                    <a:gd name="connsiteX0" fmla="*/ 5014 w 669486"/>
                    <a:gd name="connsiteY0" fmla="*/ 0 h 736694"/>
                    <a:gd name="connsiteX1" fmla="*/ 6182 w 669486"/>
                    <a:gd name="connsiteY1" fmla="*/ 135731 h 736694"/>
                    <a:gd name="connsiteX2" fmla="*/ 669486 w 669486"/>
                    <a:gd name="connsiteY2" fmla="*/ 497629 h 736694"/>
                    <a:gd name="connsiteX3" fmla="*/ 669486 w 669486"/>
                    <a:gd name="connsiteY3" fmla="*/ 736308 h 736694"/>
                    <a:gd name="connsiteX4" fmla="*/ 668804 w 669486"/>
                    <a:gd name="connsiteY4" fmla="*/ 736694 h 736694"/>
                    <a:gd name="connsiteX5" fmla="*/ 206 w 669486"/>
                    <a:gd name="connsiteY5" fmla="*/ 370609 h 736694"/>
                    <a:gd name="connsiteX6" fmla="*/ 5014 w 669486"/>
                    <a:gd name="connsiteY6" fmla="*/ 0 h 736694"/>
                    <a:gd name="connsiteX0" fmla="*/ 5014 w 669486"/>
                    <a:gd name="connsiteY0" fmla="*/ 0 h 736694"/>
                    <a:gd name="connsiteX1" fmla="*/ 669486 w 669486"/>
                    <a:gd name="connsiteY1" fmla="*/ 497629 h 736694"/>
                    <a:gd name="connsiteX2" fmla="*/ 669486 w 669486"/>
                    <a:gd name="connsiteY2" fmla="*/ 736308 h 736694"/>
                    <a:gd name="connsiteX3" fmla="*/ 668804 w 669486"/>
                    <a:gd name="connsiteY3" fmla="*/ 736694 h 736694"/>
                    <a:gd name="connsiteX4" fmla="*/ 206 w 669486"/>
                    <a:gd name="connsiteY4" fmla="*/ 370609 h 736694"/>
                    <a:gd name="connsiteX5" fmla="*/ 5014 w 669486"/>
                    <a:gd name="connsiteY5" fmla="*/ 0 h 736694"/>
                    <a:gd name="connsiteX0" fmla="*/ 494 w 669728"/>
                    <a:gd name="connsiteY0" fmla="*/ 0 h 767650"/>
                    <a:gd name="connsiteX1" fmla="*/ 669728 w 669728"/>
                    <a:gd name="connsiteY1" fmla="*/ 528585 h 767650"/>
                    <a:gd name="connsiteX2" fmla="*/ 669728 w 669728"/>
                    <a:gd name="connsiteY2" fmla="*/ 767264 h 767650"/>
                    <a:gd name="connsiteX3" fmla="*/ 669046 w 669728"/>
                    <a:gd name="connsiteY3" fmla="*/ 767650 h 767650"/>
                    <a:gd name="connsiteX4" fmla="*/ 448 w 669728"/>
                    <a:gd name="connsiteY4" fmla="*/ 401565 h 767650"/>
                    <a:gd name="connsiteX5" fmla="*/ 494 w 669728"/>
                    <a:gd name="connsiteY5" fmla="*/ 0 h 767650"/>
                    <a:gd name="connsiteX0" fmla="*/ 494 w 672110"/>
                    <a:gd name="connsiteY0" fmla="*/ 0 h 767650"/>
                    <a:gd name="connsiteX1" fmla="*/ 672110 w 672110"/>
                    <a:gd name="connsiteY1" fmla="*/ 373804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494 w 672111"/>
                    <a:gd name="connsiteY0" fmla="*/ 75 h 767725"/>
                    <a:gd name="connsiteX1" fmla="*/ 672110 w 672111"/>
                    <a:gd name="connsiteY1" fmla="*/ 373879 h 767725"/>
                    <a:gd name="connsiteX2" fmla="*/ 669728 w 672111"/>
                    <a:gd name="connsiteY2" fmla="*/ 767339 h 767725"/>
                    <a:gd name="connsiteX3" fmla="*/ 669046 w 672111"/>
                    <a:gd name="connsiteY3" fmla="*/ 767725 h 767725"/>
                    <a:gd name="connsiteX4" fmla="*/ 448 w 672111"/>
                    <a:gd name="connsiteY4" fmla="*/ 401640 h 767725"/>
                    <a:gd name="connsiteX5" fmla="*/ 494 w 672111"/>
                    <a:gd name="connsiteY5" fmla="*/ 75 h 767725"/>
                    <a:gd name="connsiteX0" fmla="*/ 494 w 672111"/>
                    <a:gd name="connsiteY0" fmla="*/ 75 h 767725"/>
                    <a:gd name="connsiteX1" fmla="*/ 672110 w 672111"/>
                    <a:gd name="connsiteY1" fmla="*/ 373879 h 767725"/>
                    <a:gd name="connsiteX2" fmla="*/ 669728 w 672111"/>
                    <a:gd name="connsiteY2" fmla="*/ 767339 h 767725"/>
                    <a:gd name="connsiteX3" fmla="*/ 669046 w 672111"/>
                    <a:gd name="connsiteY3" fmla="*/ 767725 h 767725"/>
                    <a:gd name="connsiteX4" fmla="*/ 448 w 672111"/>
                    <a:gd name="connsiteY4" fmla="*/ 401640 h 767725"/>
                    <a:gd name="connsiteX5" fmla="*/ 494 w 672111"/>
                    <a:gd name="connsiteY5" fmla="*/ 75 h 767725"/>
                    <a:gd name="connsiteX0" fmla="*/ 494 w 672110"/>
                    <a:gd name="connsiteY0" fmla="*/ 50 h 767700"/>
                    <a:gd name="connsiteX1" fmla="*/ 672110 w 672110"/>
                    <a:gd name="connsiteY1" fmla="*/ 373854 h 767700"/>
                    <a:gd name="connsiteX2" fmla="*/ 669728 w 672110"/>
                    <a:gd name="connsiteY2" fmla="*/ 767314 h 767700"/>
                    <a:gd name="connsiteX3" fmla="*/ 669046 w 672110"/>
                    <a:gd name="connsiteY3" fmla="*/ 767700 h 767700"/>
                    <a:gd name="connsiteX4" fmla="*/ 448 w 672110"/>
                    <a:gd name="connsiteY4" fmla="*/ 401615 h 767700"/>
                    <a:gd name="connsiteX5" fmla="*/ 494 w 672110"/>
                    <a:gd name="connsiteY5" fmla="*/ 50 h 767700"/>
                    <a:gd name="connsiteX0" fmla="*/ 494 w 672110"/>
                    <a:gd name="connsiteY0" fmla="*/ 0 h 767650"/>
                    <a:gd name="connsiteX1" fmla="*/ 672110 w 672110"/>
                    <a:gd name="connsiteY1" fmla="*/ 373804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494 w 672110"/>
                    <a:gd name="connsiteY0" fmla="*/ 0 h 767650"/>
                    <a:gd name="connsiteX1" fmla="*/ 672110 w 672110"/>
                    <a:gd name="connsiteY1" fmla="*/ 361898 h 767650"/>
                    <a:gd name="connsiteX2" fmla="*/ 669728 w 672110"/>
                    <a:gd name="connsiteY2" fmla="*/ 767264 h 767650"/>
                    <a:gd name="connsiteX3" fmla="*/ 669046 w 672110"/>
                    <a:gd name="connsiteY3" fmla="*/ 767650 h 767650"/>
                    <a:gd name="connsiteX4" fmla="*/ 448 w 672110"/>
                    <a:gd name="connsiteY4" fmla="*/ 401565 h 767650"/>
                    <a:gd name="connsiteX5" fmla="*/ 494 w 672110"/>
                    <a:gd name="connsiteY5" fmla="*/ 0 h 767650"/>
                    <a:gd name="connsiteX0" fmla="*/ 2710 w 671945"/>
                    <a:gd name="connsiteY0" fmla="*/ 0 h 767650"/>
                    <a:gd name="connsiteX1" fmla="*/ 671945 w 671945"/>
                    <a:gd name="connsiteY1" fmla="*/ 361898 h 767650"/>
                    <a:gd name="connsiteX2" fmla="*/ 669563 w 671945"/>
                    <a:gd name="connsiteY2" fmla="*/ 767264 h 767650"/>
                    <a:gd name="connsiteX3" fmla="*/ 668881 w 671945"/>
                    <a:gd name="connsiteY3" fmla="*/ 767650 h 767650"/>
                    <a:gd name="connsiteX4" fmla="*/ 283 w 671945"/>
                    <a:gd name="connsiteY4" fmla="*/ 401565 h 767650"/>
                    <a:gd name="connsiteX5" fmla="*/ 2710 w 671945"/>
                    <a:gd name="connsiteY5" fmla="*/ 0 h 7676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71945" h="767650">
                      <a:moveTo>
                        <a:pt x="2710" y="0"/>
                      </a:moveTo>
                      <a:cubicBezTo>
                        <a:pt x="143229" y="85860"/>
                        <a:pt x="572959" y="301752"/>
                        <a:pt x="671945" y="361898"/>
                      </a:cubicBezTo>
                      <a:lnTo>
                        <a:pt x="669563" y="767264"/>
                      </a:lnTo>
                      <a:lnTo>
                        <a:pt x="668881" y="767650"/>
                      </a:lnTo>
                      <a:lnTo>
                        <a:pt x="283" y="401565"/>
                      </a:lnTo>
                      <a:cubicBezTo>
                        <a:pt x="-1289" y="323272"/>
                        <a:pt x="4282" y="78293"/>
                        <a:pt x="2710" y="0"/>
                      </a:cubicBezTo>
                      <a:close/>
                    </a:path>
                  </a:pathLst>
                </a:custGeom>
                <a:solidFill>
                  <a:srgbClr val="ABC6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1" name="Полілінія: фігура 40">
                  <a:extLst>
                    <a:ext uri="{FF2B5EF4-FFF2-40B4-BE49-F238E27FC236}">
                      <a16:creationId xmlns:a16="http://schemas.microsoft.com/office/drawing/2014/main" id="{C74A52F8-AE2F-91F6-6A27-E792EB43B39D}"/>
                    </a:ext>
                  </a:extLst>
                </p:cNvPr>
                <p:cNvSpPr/>
                <p:nvPr/>
              </p:nvSpPr>
              <p:spPr>
                <a:xfrm>
                  <a:off x="7070422" y="5894047"/>
                  <a:ext cx="671945" cy="776879"/>
                </a:xfrm>
                <a:custGeom>
                  <a:avLst/>
                  <a:gdLst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0 w 664659"/>
                    <a:gd name="connsiteY3" fmla="*/ 371512 h 610191"/>
                    <a:gd name="connsiteX4" fmla="*/ 7675 w 664659"/>
                    <a:gd name="connsiteY4" fmla="*/ 375699 h 610191"/>
                    <a:gd name="connsiteX5" fmla="*/ 662330 w 664659"/>
                    <a:gd name="connsiteY5" fmla="*/ 0 h 610191"/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0 w 664659"/>
                    <a:gd name="connsiteY3" fmla="*/ 371512 h 610191"/>
                    <a:gd name="connsiteX4" fmla="*/ 662330 w 664659"/>
                    <a:gd name="connsiteY4" fmla="*/ 0 h 610191"/>
                    <a:gd name="connsiteX0" fmla="*/ 662330 w 664659"/>
                    <a:gd name="connsiteY0" fmla="*/ 0 h 610191"/>
                    <a:gd name="connsiteX1" fmla="*/ 664659 w 664659"/>
                    <a:gd name="connsiteY1" fmla="*/ 234211 h 610191"/>
                    <a:gd name="connsiteX2" fmla="*/ 0 w 664659"/>
                    <a:gd name="connsiteY2" fmla="*/ 610191 h 610191"/>
                    <a:gd name="connsiteX3" fmla="*/ 9525 w 664659"/>
                    <a:gd name="connsiteY3" fmla="*/ 209587 h 610191"/>
                    <a:gd name="connsiteX4" fmla="*/ 662330 w 664659"/>
                    <a:gd name="connsiteY4" fmla="*/ 0 h 610191"/>
                    <a:gd name="connsiteX0" fmla="*/ 671855 w 671903"/>
                    <a:gd name="connsiteY0" fmla="*/ 0 h 769735"/>
                    <a:gd name="connsiteX1" fmla="*/ 664659 w 671903"/>
                    <a:gd name="connsiteY1" fmla="*/ 393755 h 769735"/>
                    <a:gd name="connsiteX2" fmla="*/ 0 w 671903"/>
                    <a:gd name="connsiteY2" fmla="*/ 769735 h 769735"/>
                    <a:gd name="connsiteX3" fmla="*/ 9525 w 671903"/>
                    <a:gd name="connsiteY3" fmla="*/ 369131 h 769735"/>
                    <a:gd name="connsiteX4" fmla="*/ 671855 w 671903"/>
                    <a:gd name="connsiteY4" fmla="*/ 0 h 769735"/>
                    <a:gd name="connsiteX0" fmla="*/ 669474 w 669522"/>
                    <a:gd name="connsiteY0" fmla="*/ 0 h 776879"/>
                    <a:gd name="connsiteX1" fmla="*/ 662278 w 669522"/>
                    <a:gd name="connsiteY1" fmla="*/ 393755 h 776879"/>
                    <a:gd name="connsiteX2" fmla="*/ 0 w 669522"/>
                    <a:gd name="connsiteY2" fmla="*/ 776879 h 776879"/>
                    <a:gd name="connsiteX3" fmla="*/ 7144 w 669522"/>
                    <a:gd name="connsiteY3" fmla="*/ 369131 h 776879"/>
                    <a:gd name="connsiteX4" fmla="*/ 669474 w 669522"/>
                    <a:gd name="connsiteY4" fmla="*/ 0 h 776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9522" h="776879">
                      <a:moveTo>
                        <a:pt x="669474" y="0"/>
                      </a:moveTo>
                      <a:cubicBezTo>
                        <a:pt x="670250" y="78070"/>
                        <a:pt x="661502" y="315685"/>
                        <a:pt x="662278" y="393755"/>
                      </a:cubicBezTo>
                      <a:lnTo>
                        <a:pt x="0" y="776879"/>
                      </a:lnTo>
                      <a:lnTo>
                        <a:pt x="7144" y="369131"/>
                      </a:lnTo>
                      <a:lnTo>
                        <a:pt x="669474" y="0"/>
                      </a:lnTo>
                      <a:close/>
                    </a:path>
                  </a:pathLst>
                </a:custGeom>
                <a:solidFill>
                  <a:srgbClr val="98B1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cxnSp>
            <p:nvCxnSpPr>
              <p:cNvPr id="37" name="Пряма сполучна лінія 36">
                <a:extLst>
                  <a:ext uri="{FF2B5EF4-FFF2-40B4-BE49-F238E27FC236}">
                    <a16:creationId xmlns:a16="http://schemas.microsoft.com/office/drawing/2014/main" id="{F80E92D4-5EEB-3E05-B6EA-B1B6A1261EB0}"/>
                  </a:ext>
                </a:extLst>
              </p:cNvPr>
              <p:cNvCxnSpPr>
                <a:cxnSpLocks/>
                <a:stCxn id="38" idx="2"/>
                <a:endCxn id="41" idx="2"/>
              </p:cNvCxnSpPr>
              <p:nvPr/>
            </p:nvCxnSpPr>
            <p:spPr>
              <a:xfrm flipH="1">
                <a:off x="6411071" y="7303102"/>
                <a:ext cx="10901" cy="705979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Полілінія: фігура 37">
                <a:extLst>
                  <a:ext uri="{FF2B5EF4-FFF2-40B4-BE49-F238E27FC236}">
                    <a16:creationId xmlns:a16="http://schemas.microsoft.com/office/drawing/2014/main" id="{7CA01415-15A6-C854-95CA-76C5368494BD}"/>
                  </a:ext>
                </a:extLst>
              </p:cNvPr>
              <p:cNvSpPr/>
              <p:nvPr/>
            </p:nvSpPr>
            <p:spPr>
              <a:xfrm>
                <a:off x="5750993" y="6545696"/>
                <a:ext cx="1326795" cy="757406"/>
              </a:xfrm>
              <a:custGeom>
                <a:avLst/>
                <a:gdLst>
                  <a:gd name="connsiteX0" fmla="*/ 301555 w 584326"/>
                  <a:gd name="connsiteY0" fmla="*/ 0 h 347372"/>
                  <a:gd name="connsiteX1" fmla="*/ 584326 w 584326"/>
                  <a:gd name="connsiteY1" fmla="*/ 172421 h 347372"/>
                  <a:gd name="connsiteX2" fmla="*/ 289671 w 584326"/>
                  <a:gd name="connsiteY2" fmla="*/ 347372 h 347372"/>
                  <a:gd name="connsiteX3" fmla="*/ 0 w 584326"/>
                  <a:gd name="connsiteY3" fmla="*/ 174949 h 347372"/>
                  <a:gd name="connsiteX4" fmla="*/ 301555 w 584326"/>
                  <a:gd name="connsiteY4" fmla="*/ 0 h 347372"/>
                  <a:gd name="connsiteX0" fmla="*/ 301555 w 584326"/>
                  <a:gd name="connsiteY0" fmla="*/ 0 h 361660"/>
                  <a:gd name="connsiteX1" fmla="*/ 584326 w 584326"/>
                  <a:gd name="connsiteY1" fmla="*/ 172421 h 361660"/>
                  <a:gd name="connsiteX2" fmla="*/ 296815 w 584326"/>
                  <a:gd name="connsiteY2" fmla="*/ 361660 h 361660"/>
                  <a:gd name="connsiteX3" fmla="*/ 0 w 584326"/>
                  <a:gd name="connsiteY3" fmla="*/ 174949 h 361660"/>
                  <a:gd name="connsiteX4" fmla="*/ 301555 w 584326"/>
                  <a:gd name="connsiteY4" fmla="*/ 0 h 361660"/>
                  <a:gd name="connsiteX0" fmla="*/ 301555 w 596232"/>
                  <a:gd name="connsiteY0" fmla="*/ 0 h 361660"/>
                  <a:gd name="connsiteX1" fmla="*/ 596232 w 596232"/>
                  <a:gd name="connsiteY1" fmla="*/ 181946 h 361660"/>
                  <a:gd name="connsiteX2" fmla="*/ 296815 w 596232"/>
                  <a:gd name="connsiteY2" fmla="*/ 361660 h 361660"/>
                  <a:gd name="connsiteX3" fmla="*/ 0 w 596232"/>
                  <a:gd name="connsiteY3" fmla="*/ 174949 h 361660"/>
                  <a:gd name="connsiteX4" fmla="*/ 301555 w 596232"/>
                  <a:gd name="connsiteY4" fmla="*/ 0 h 361660"/>
                  <a:gd name="connsiteX0" fmla="*/ 311080 w 605757"/>
                  <a:gd name="connsiteY0" fmla="*/ 0 h 361660"/>
                  <a:gd name="connsiteX1" fmla="*/ 605757 w 605757"/>
                  <a:gd name="connsiteY1" fmla="*/ 181946 h 361660"/>
                  <a:gd name="connsiteX2" fmla="*/ 306340 w 605757"/>
                  <a:gd name="connsiteY2" fmla="*/ 361660 h 361660"/>
                  <a:gd name="connsiteX3" fmla="*/ 0 w 605757"/>
                  <a:gd name="connsiteY3" fmla="*/ 186855 h 361660"/>
                  <a:gd name="connsiteX4" fmla="*/ 311080 w 605757"/>
                  <a:gd name="connsiteY4" fmla="*/ 0 h 361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5757" h="361660">
                    <a:moveTo>
                      <a:pt x="311080" y="0"/>
                    </a:moveTo>
                    <a:lnTo>
                      <a:pt x="605757" y="181946"/>
                    </a:lnTo>
                    <a:lnTo>
                      <a:pt x="306340" y="361660"/>
                    </a:lnTo>
                    <a:lnTo>
                      <a:pt x="0" y="186855"/>
                    </a:lnTo>
                    <a:lnTo>
                      <a:pt x="311080" y="0"/>
                    </a:lnTo>
                    <a:close/>
                  </a:path>
                </a:pathLst>
              </a:cu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dirty="0"/>
              </a:p>
            </p:txBody>
          </p:sp>
        </p:grpSp>
      </p:grpSp>
      <p:sp>
        <p:nvSpPr>
          <p:cNvPr id="234" name="Прямокутник: один зрізаний кут 233">
            <a:extLst>
              <a:ext uri="{FF2B5EF4-FFF2-40B4-BE49-F238E27FC236}">
                <a16:creationId xmlns:a16="http://schemas.microsoft.com/office/drawing/2014/main" id="{70D1AFC9-4DFF-3DC0-69D8-9F7F80B45D0F}"/>
              </a:ext>
            </a:extLst>
          </p:cNvPr>
          <p:cNvSpPr/>
          <p:nvPr/>
        </p:nvSpPr>
        <p:spPr>
          <a:xfrm>
            <a:off x="4087" y="3601898"/>
            <a:ext cx="7525465" cy="3322780"/>
          </a:xfrm>
          <a:prstGeom prst="snip1Rect">
            <a:avLst>
              <a:gd name="adj" fmla="val 34723"/>
            </a:avLst>
          </a:prstGeom>
          <a:solidFill>
            <a:srgbClr val="F7F7F7"/>
          </a:solidFill>
          <a:ln>
            <a:noFill/>
          </a:ln>
          <a:effectLst>
            <a:outerShdw blurRad="635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5" name="Групувати 4">
            <a:extLst>
              <a:ext uri="{FF2B5EF4-FFF2-40B4-BE49-F238E27FC236}">
                <a16:creationId xmlns:a16="http://schemas.microsoft.com/office/drawing/2014/main" id="{CCE798F4-1342-D27D-E81E-EE7121FF7444}"/>
              </a:ext>
            </a:extLst>
          </p:cNvPr>
          <p:cNvGrpSpPr/>
          <p:nvPr/>
        </p:nvGrpSpPr>
        <p:grpSpPr>
          <a:xfrm>
            <a:off x="7967501" y="4778548"/>
            <a:ext cx="3891238" cy="1924782"/>
            <a:chOff x="7956348" y="4716614"/>
            <a:chExt cx="3891238" cy="1924782"/>
          </a:xfrm>
        </p:grpSpPr>
        <p:sp>
          <p:nvSpPr>
            <p:cNvPr id="245" name="Полілінія: фігура 244">
              <a:extLst>
                <a:ext uri="{FF2B5EF4-FFF2-40B4-BE49-F238E27FC236}">
                  <a16:creationId xmlns:a16="http://schemas.microsoft.com/office/drawing/2014/main" id="{C56021AC-1A3A-86B8-DE89-96C802BBEB83}"/>
                </a:ext>
              </a:extLst>
            </p:cNvPr>
            <p:cNvSpPr/>
            <p:nvPr/>
          </p:nvSpPr>
          <p:spPr>
            <a:xfrm>
              <a:off x="7956348" y="5328940"/>
              <a:ext cx="3891238" cy="1312456"/>
            </a:xfrm>
            <a:custGeom>
              <a:avLst/>
              <a:gdLst>
                <a:gd name="connsiteX0" fmla="*/ 0 w 4099481"/>
                <a:gd name="connsiteY0" fmla="*/ 0 h 1312456"/>
                <a:gd name="connsiteX1" fmla="*/ 4099481 w 4099481"/>
                <a:gd name="connsiteY1" fmla="*/ 0 h 1312456"/>
                <a:gd name="connsiteX2" fmla="*/ 4099481 w 4099481"/>
                <a:gd name="connsiteY2" fmla="*/ 1105946 h 1312456"/>
                <a:gd name="connsiteX3" fmla="*/ 3892971 w 4099481"/>
                <a:gd name="connsiteY3" fmla="*/ 1312456 h 1312456"/>
                <a:gd name="connsiteX4" fmla="*/ 206510 w 4099481"/>
                <a:gd name="connsiteY4" fmla="*/ 1312456 h 1312456"/>
                <a:gd name="connsiteX5" fmla="*/ 0 w 4099481"/>
                <a:gd name="connsiteY5" fmla="*/ 1105946 h 1312456"/>
                <a:gd name="connsiteX6" fmla="*/ 0 w 4099481"/>
                <a:gd name="connsiteY6" fmla="*/ 0 h 1312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9481" h="1312456">
                  <a:moveTo>
                    <a:pt x="0" y="0"/>
                  </a:moveTo>
                  <a:lnTo>
                    <a:pt x="4099481" y="0"/>
                  </a:lnTo>
                  <a:lnTo>
                    <a:pt x="4099481" y="1105946"/>
                  </a:lnTo>
                  <a:cubicBezTo>
                    <a:pt x="4099481" y="1219998"/>
                    <a:pt x="4007023" y="1312456"/>
                    <a:pt x="3892971" y="1312456"/>
                  </a:cubicBezTo>
                  <a:lnTo>
                    <a:pt x="206510" y="1312456"/>
                  </a:lnTo>
                  <a:cubicBezTo>
                    <a:pt x="92458" y="1312456"/>
                    <a:pt x="0" y="1219998"/>
                    <a:pt x="0" y="110594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EF4F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44" name="Полілінія: фігура 243">
              <a:extLst>
                <a:ext uri="{FF2B5EF4-FFF2-40B4-BE49-F238E27FC236}">
                  <a16:creationId xmlns:a16="http://schemas.microsoft.com/office/drawing/2014/main" id="{1D322F07-5D6A-CD37-492A-EAA2F62360AB}"/>
                </a:ext>
              </a:extLst>
            </p:cNvPr>
            <p:cNvSpPr/>
            <p:nvPr/>
          </p:nvSpPr>
          <p:spPr>
            <a:xfrm>
              <a:off x="7956348" y="4716614"/>
              <a:ext cx="3891238" cy="612326"/>
            </a:xfrm>
            <a:custGeom>
              <a:avLst/>
              <a:gdLst>
                <a:gd name="connsiteX0" fmla="*/ 206510 w 4099481"/>
                <a:gd name="connsiteY0" fmla="*/ 0 h 612326"/>
                <a:gd name="connsiteX1" fmla="*/ 3892971 w 4099481"/>
                <a:gd name="connsiteY1" fmla="*/ 0 h 612326"/>
                <a:gd name="connsiteX2" fmla="*/ 4099481 w 4099481"/>
                <a:gd name="connsiteY2" fmla="*/ 206510 h 612326"/>
                <a:gd name="connsiteX3" fmla="*/ 4099481 w 4099481"/>
                <a:gd name="connsiteY3" fmla="*/ 612326 h 612326"/>
                <a:gd name="connsiteX4" fmla="*/ 0 w 4099481"/>
                <a:gd name="connsiteY4" fmla="*/ 612326 h 612326"/>
                <a:gd name="connsiteX5" fmla="*/ 0 w 4099481"/>
                <a:gd name="connsiteY5" fmla="*/ 206510 h 612326"/>
                <a:gd name="connsiteX6" fmla="*/ 206510 w 4099481"/>
                <a:gd name="connsiteY6" fmla="*/ 0 h 612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9481" h="612326">
                  <a:moveTo>
                    <a:pt x="206510" y="0"/>
                  </a:moveTo>
                  <a:lnTo>
                    <a:pt x="3892971" y="0"/>
                  </a:lnTo>
                  <a:cubicBezTo>
                    <a:pt x="4007023" y="0"/>
                    <a:pt x="4099481" y="92458"/>
                    <a:pt x="4099481" y="206510"/>
                  </a:cubicBezTo>
                  <a:lnTo>
                    <a:pt x="4099481" y="612326"/>
                  </a:lnTo>
                  <a:lnTo>
                    <a:pt x="0" y="612326"/>
                  </a:lnTo>
                  <a:lnTo>
                    <a:pt x="0" y="206510"/>
                  </a:lnTo>
                  <a:cubicBezTo>
                    <a:pt x="0" y="92458"/>
                    <a:pt x="92458" y="0"/>
                    <a:pt x="206510" y="0"/>
                  </a:cubicBezTo>
                  <a:close/>
                </a:path>
              </a:pathLst>
            </a:custGeom>
            <a:solidFill>
              <a:srgbClr val="80BFE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  <p:grpSp>
        <p:nvGrpSpPr>
          <p:cNvPr id="119" name="Групувати 118">
            <a:extLst>
              <a:ext uri="{FF2B5EF4-FFF2-40B4-BE49-F238E27FC236}">
                <a16:creationId xmlns:a16="http://schemas.microsoft.com/office/drawing/2014/main" id="{5071D585-DC24-B561-7E83-818073955F42}"/>
              </a:ext>
            </a:extLst>
          </p:cNvPr>
          <p:cNvGrpSpPr/>
          <p:nvPr/>
        </p:nvGrpSpPr>
        <p:grpSpPr>
          <a:xfrm>
            <a:off x="4872580" y="210869"/>
            <a:ext cx="2446841" cy="206275"/>
            <a:chOff x="4636627" y="210869"/>
            <a:chExt cx="2446841" cy="206275"/>
          </a:xfrm>
          <a:solidFill>
            <a:srgbClr val="2A3F54"/>
          </a:solidFill>
        </p:grpSpPr>
        <p:sp>
          <p:nvSpPr>
            <p:cNvPr id="120" name="Полілінія: фігура 119">
              <a:extLst>
                <a:ext uri="{FF2B5EF4-FFF2-40B4-BE49-F238E27FC236}">
                  <a16:creationId xmlns:a16="http://schemas.microsoft.com/office/drawing/2014/main" id="{5EE45C04-6427-E3F0-A9B5-5043A514F0DF}"/>
                </a:ext>
              </a:extLst>
            </p:cNvPr>
            <p:cNvSpPr/>
            <p:nvPr/>
          </p:nvSpPr>
          <p:spPr>
            <a:xfrm>
              <a:off x="4636627" y="210869"/>
              <a:ext cx="132266" cy="206275"/>
            </a:xfrm>
            <a:custGeom>
              <a:avLst/>
              <a:gdLst/>
              <a:ahLst/>
              <a:cxnLst/>
              <a:rect l="l" t="t" r="r" b="b"/>
              <a:pathLst>
                <a:path w="132266" h="206275">
                  <a:moveTo>
                    <a:pt x="66847" y="0"/>
                  </a:moveTo>
                  <a:cubicBezTo>
                    <a:pt x="79237" y="71"/>
                    <a:pt x="90335" y="1998"/>
                    <a:pt x="100142" y="5780"/>
                  </a:cubicBezTo>
                  <a:cubicBezTo>
                    <a:pt x="109950" y="9562"/>
                    <a:pt x="117898" y="14771"/>
                    <a:pt x="123988" y="21408"/>
                  </a:cubicBezTo>
                  <a:lnTo>
                    <a:pt x="105146" y="47687"/>
                  </a:lnTo>
                  <a:cubicBezTo>
                    <a:pt x="100424" y="42941"/>
                    <a:pt x="95306" y="39285"/>
                    <a:pt x="89791" y="36719"/>
                  </a:cubicBezTo>
                  <a:cubicBezTo>
                    <a:pt x="84277" y="34153"/>
                    <a:pt x="77582" y="32855"/>
                    <a:pt x="69706" y="32825"/>
                  </a:cubicBezTo>
                  <a:cubicBezTo>
                    <a:pt x="60907" y="32920"/>
                    <a:pt x="54057" y="34945"/>
                    <a:pt x="49154" y="38899"/>
                  </a:cubicBezTo>
                  <a:cubicBezTo>
                    <a:pt x="44251" y="42852"/>
                    <a:pt x="41761" y="48164"/>
                    <a:pt x="41684" y="54833"/>
                  </a:cubicBezTo>
                  <a:cubicBezTo>
                    <a:pt x="42155" y="64844"/>
                    <a:pt x="46873" y="72493"/>
                    <a:pt x="55837" y="77779"/>
                  </a:cubicBezTo>
                  <a:cubicBezTo>
                    <a:pt x="64801" y="83065"/>
                    <a:pt x="75180" y="88088"/>
                    <a:pt x="86975" y="92847"/>
                  </a:cubicBezTo>
                  <a:cubicBezTo>
                    <a:pt x="98770" y="97607"/>
                    <a:pt x="109149" y="104202"/>
                    <a:pt x="118113" y="112632"/>
                  </a:cubicBezTo>
                  <a:cubicBezTo>
                    <a:pt x="127077" y="121062"/>
                    <a:pt x="131795" y="133427"/>
                    <a:pt x="132266" y="149726"/>
                  </a:cubicBezTo>
                  <a:cubicBezTo>
                    <a:pt x="131821" y="166832"/>
                    <a:pt x="125360" y="180471"/>
                    <a:pt x="112884" y="190644"/>
                  </a:cubicBezTo>
                  <a:cubicBezTo>
                    <a:pt x="100407" y="200816"/>
                    <a:pt x="84585" y="206026"/>
                    <a:pt x="65417" y="206275"/>
                  </a:cubicBezTo>
                  <a:cubicBezTo>
                    <a:pt x="56688" y="206263"/>
                    <a:pt x="47942" y="205051"/>
                    <a:pt x="39179" y="202639"/>
                  </a:cubicBezTo>
                  <a:cubicBezTo>
                    <a:pt x="30415" y="200227"/>
                    <a:pt x="22541" y="196688"/>
                    <a:pt x="15558" y="192025"/>
                  </a:cubicBezTo>
                  <a:cubicBezTo>
                    <a:pt x="8574" y="187361"/>
                    <a:pt x="3388" y="181645"/>
                    <a:pt x="0" y="174877"/>
                  </a:cubicBezTo>
                  <a:lnTo>
                    <a:pt x="19988" y="150870"/>
                  </a:lnTo>
                  <a:cubicBezTo>
                    <a:pt x="26060" y="158438"/>
                    <a:pt x="33260" y="164095"/>
                    <a:pt x="41587" y="167841"/>
                  </a:cubicBezTo>
                  <a:cubicBezTo>
                    <a:pt x="49914" y="171586"/>
                    <a:pt x="58048" y="173456"/>
                    <a:pt x="65989" y="173450"/>
                  </a:cubicBezTo>
                  <a:cubicBezTo>
                    <a:pt x="74460" y="173420"/>
                    <a:pt x="81394" y="171407"/>
                    <a:pt x="86791" y="167412"/>
                  </a:cubicBezTo>
                  <a:cubicBezTo>
                    <a:pt x="92188" y="163416"/>
                    <a:pt x="94976" y="157616"/>
                    <a:pt x="95155" y="150012"/>
                  </a:cubicBezTo>
                  <a:cubicBezTo>
                    <a:pt x="94683" y="140474"/>
                    <a:pt x="89965" y="133040"/>
                    <a:pt x="81001" y="127709"/>
                  </a:cubicBezTo>
                  <a:cubicBezTo>
                    <a:pt x="72037" y="122378"/>
                    <a:pt x="61658" y="117212"/>
                    <a:pt x="49863" y="112212"/>
                  </a:cubicBezTo>
                  <a:cubicBezTo>
                    <a:pt x="38069" y="107212"/>
                    <a:pt x="27689" y="100438"/>
                    <a:pt x="18725" y="91892"/>
                  </a:cubicBezTo>
                  <a:cubicBezTo>
                    <a:pt x="9762" y="83345"/>
                    <a:pt x="5044" y="71088"/>
                    <a:pt x="4572" y="55119"/>
                  </a:cubicBezTo>
                  <a:cubicBezTo>
                    <a:pt x="4738" y="39697"/>
                    <a:pt x="10258" y="26760"/>
                    <a:pt x="21135" y="16309"/>
                  </a:cubicBezTo>
                  <a:cubicBezTo>
                    <a:pt x="32011" y="5858"/>
                    <a:pt x="47248" y="421"/>
                    <a:pt x="66847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1" name="Полілінія: фігура 120">
              <a:extLst>
                <a:ext uri="{FF2B5EF4-FFF2-40B4-BE49-F238E27FC236}">
                  <a16:creationId xmlns:a16="http://schemas.microsoft.com/office/drawing/2014/main" id="{8D312017-54C5-FC43-8410-D19C91110AEE}"/>
                </a:ext>
              </a:extLst>
            </p:cNvPr>
            <p:cNvSpPr/>
            <p:nvPr/>
          </p:nvSpPr>
          <p:spPr>
            <a:xfrm>
              <a:off x="4960477" y="210869"/>
              <a:ext cx="208276" cy="206275"/>
            </a:xfrm>
            <a:custGeom>
              <a:avLst/>
              <a:gdLst/>
              <a:ahLst/>
              <a:cxnLst/>
              <a:rect l="l" t="t" r="r" b="b"/>
              <a:pathLst>
                <a:path w="208276" h="206275">
                  <a:moveTo>
                    <a:pt x="103994" y="0"/>
                  </a:moveTo>
                  <a:cubicBezTo>
                    <a:pt x="123998" y="119"/>
                    <a:pt x="141818" y="4417"/>
                    <a:pt x="157453" y="12892"/>
                  </a:cubicBezTo>
                  <a:cubicBezTo>
                    <a:pt x="173089" y="21368"/>
                    <a:pt x="185421" y="33306"/>
                    <a:pt x="194451" y="48705"/>
                  </a:cubicBezTo>
                  <a:cubicBezTo>
                    <a:pt x="203481" y="64104"/>
                    <a:pt x="208089" y="82248"/>
                    <a:pt x="208276" y="103137"/>
                  </a:cubicBezTo>
                  <a:cubicBezTo>
                    <a:pt x="208089" y="123307"/>
                    <a:pt x="203481" y="141112"/>
                    <a:pt x="194451" y="156554"/>
                  </a:cubicBezTo>
                  <a:cubicBezTo>
                    <a:pt x="185422" y="171995"/>
                    <a:pt x="173089" y="184102"/>
                    <a:pt x="157453" y="192874"/>
                  </a:cubicBezTo>
                  <a:cubicBezTo>
                    <a:pt x="141818" y="201647"/>
                    <a:pt x="123998" y="206114"/>
                    <a:pt x="103994" y="206275"/>
                  </a:cubicBezTo>
                  <a:cubicBezTo>
                    <a:pt x="83994" y="206156"/>
                    <a:pt x="66200" y="201858"/>
                    <a:pt x="50610" y="193382"/>
                  </a:cubicBezTo>
                  <a:cubicBezTo>
                    <a:pt x="35021" y="184907"/>
                    <a:pt x="22734" y="172969"/>
                    <a:pt x="13750" y="157570"/>
                  </a:cubicBezTo>
                  <a:cubicBezTo>
                    <a:pt x="4766" y="142171"/>
                    <a:pt x="183" y="124026"/>
                    <a:pt x="0" y="103137"/>
                  </a:cubicBezTo>
                  <a:cubicBezTo>
                    <a:pt x="146" y="83598"/>
                    <a:pt x="4581" y="66089"/>
                    <a:pt x="13305" y="50610"/>
                  </a:cubicBezTo>
                  <a:cubicBezTo>
                    <a:pt x="22030" y="35132"/>
                    <a:pt x="34168" y="22877"/>
                    <a:pt x="49721" y="13845"/>
                  </a:cubicBezTo>
                  <a:cubicBezTo>
                    <a:pt x="65273" y="4814"/>
                    <a:pt x="83365" y="198"/>
                    <a:pt x="103994" y="0"/>
                  </a:cubicBezTo>
                  <a:close/>
                  <a:moveTo>
                    <a:pt x="103994" y="32825"/>
                  </a:moveTo>
                  <a:cubicBezTo>
                    <a:pt x="84451" y="33165"/>
                    <a:pt x="68517" y="39703"/>
                    <a:pt x="56190" y="52439"/>
                  </a:cubicBezTo>
                  <a:cubicBezTo>
                    <a:pt x="43864" y="65176"/>
                    <a:pt x="37505" y="82076"/>
                    <a:pt x="37112" y="103137"/>
                  </a:cubicBezTo>
                  <a:cubicBezTo>
                    <a:pt x="37558" y="123574"/>
                    <a:pt x="44025" y="140294"/>
                    <a:pt x="56512" y="153299"/>
                  </a:cubicBezTo>
                  <a:cubicBezTo>
                    <a:pt x="68999" y="166304"/>
                    <a:pt x="84826" y="173021"/>
                    <a:pt x="103994" y="173450"/>
                  </a:cubicBezTo>
                  <a:cubicBezTo>
                    <a:pt x="125175" y="172985"/>
                    <a:pt x="141622" y="166197"/>
                    <a:pt x="153335" y="153085"/>
                  </a:cubicBezTo>
                  <a:cubicBezTo>
                    <a:pt x="165048" y="139973"/>
                    <a:pt x="170991" y="123323"/>
                    <a:pt x="171164" y="103137"/>
                  </a:cubicBezTo>
                  <a:cubicBezTo>
                    <a:pt x="170723" y="82076"/>
                    <a:pt x="164245" y="65176"/>
                    <a:pt x="151728" y="52439"/>
                  </a:cubicBezTo>
                  <a:cubicBezTo>
                    <a:pt x="139211" y="39703"/>
                    <a:pt x="123300" y="33165"/>
                    <a:pt x="103994" y="3282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2" name="Полілінія: фігура 121">
              <a:extLst>
                <a:ext uri="{FF2B5EF4-FFF2-40B4-BE49-F238E27FC236}">
                  <a16:creationId xmlns:a16="http://schemas.microsoft.com/office/drawing/2014/main" id="{5859CE38-1BCE-E861-A923-0E62C427688C}"/>
                </a:ext>
              </a:extLst>
            </p:cNvPr>
            <p:cNvSpPr/>
            <p:nvPr/>
          </p:nvSpPr>
          <p:spPr>
            <a:xfrm>
              <a:off x="5579603" y="210869"/>
              <a:ext cx="179129" cy="206275"/>
            </a:xfrm>
            <a:custGeom>
              <a:avLst/>
              <a:gdLst/>
              <a:ahLst/>
              <a:cxnLst/>
              <a:rect l="l" t="t" r="r" b="b"/>
              <a:pathLst>
                <a:path w="179129" h="206275">
                  <a:moveTo>
                    <a:pt x="99711" y="0"/>
                  </a:moveTo>
                  <a:cubicBezTo>
                    <a:pt x="113878" y="41"/>
                    <a:pt x="126133" y="1813"/>
                    <a:pt x="136474" y="5316"/>
                  </a:cubicBezTo>
                  <a:cubicBezTo>
                    <a:pt x="146815" y="8818"/>
                    <a:pt x="155991" y="13802"/>
                    <a:pt x="164001" y="20266"/>
                  </a:cubicBezTo>
                  <a:lnTo>
                    <a:pt x="149158" y="48265"/>
                  </a:lnTo>
                  <a:cubicBezTo>
                    <a:pt x="143991" y="43494"/>
                    <a:pt x="137394" y="39741"/>
                    <a:pt x="129367" y="37007"/>
                  </a:cubicBezTo>
                  <a:cubicBezTo>
                    <a:pt x="121339" y="34273"/>
                    <a:pt x="112883" y="32879"/>
                    <a:pt x="103999" y="32825"/>
                  </a:cubicBezTo>
                  <a:cubicBezTo>
                    <a:pt x="84329" y="32968"/>
                    <a:pt x="68358" y="39115"/>
                    <a:pt x="56084" y="51265"/>
                  </a:cubicBezTo>
                  <a:cubicBezTo>
                    <a:pt x="43811" y="63415"/>
                    <a:pt x="37487" y="80709"/>
                    <a:pt x="37112" y="103147"/>
                  </a:cubicBezTo>
                  <a:cubicBezTo>
                    <a:pt x="37397" y="124698"/>
                    <a:pt x="43614" y="141735"/>
                    <a:pt x="55763" y="154260"/>
                  </a:cubicBezTo>
                  <a:cubicBezTo>
                    <a:pt x="67911" y="166784"/>
                    <a:pt x="84276" y="173181"/>
                    <a:pt x="104856" y="173450"/>
                  </a:cubicBezTo>
                  <a:cubicBezTo>
                    <a:pt x="112871" y="173325"/>
                    <a:pt x="120780" y="171931"/>
                    <a:pt x="128581" y="169267"/>
                  </a:cubicBezTo>
                  <a:cubicBezTo>
                    <a:pt x="136382" y="166604"/>
                    <a:pt x="142290" y="163423"/>
                    <a:pt x="146304" y="159723"/>
                  </a:cubicBezTo>
                  <a:lnTo>
                    <a:pt x="146304" y="128266"/>
                  </a:lnTo>
                  <a:lnTo>
                    <a:pt x="97996" y="128266"/>
                  </a:lnTo>
                  <a:lnTo>
                    <a:pt x="97996" y="95440"/>
                  </a:lnTo>
                  <a:lnTo>
                    <a:pt x="179129" y="95440"/>
                  </a:lnTo>
                  <a:lnTo>
                    <a:pt x="179129" y="178302"/>
                  </a:lnTo>
                  <a:cubicBezTo>
                    <a:pt x="169823" y="187210"/>
                    <a:pt x="158245" y="194085"/>
                    <a:pt x="144396" y="198925"/>
                  </a:cubicBezTo>
                  <a:cubicBezTo>
                    <a:pt x="130547" y="203766"/>
                    <a:pt x="117177" y="206216"/>
                    <a:pt x="104284" y="206275"/>
                  </a:cubicBezTo>
                  <a:cubicBezTo>
                    <a:pt x="71301" y="205872"/>
                    <a:pt x="45738" y="196471"/>
                    <a:pt x="27595" y="178072"/>
                  </a:cubicBezTo>
                  <a:cubicBezTo>
                    <a:pt x="9452" y="159673"/>
                    <a:pt x="254" y="134698"/>
                    <a:pt x="0" y="103147"/>
                  </a:cubicBezTo>
                  <a:cubicBezTo>
                    <a:pt x="98" y="83786"/>
                    <a:pt x="4184" y="66360"/>
                    <a:pt x="12258" y="50869"/>
                  </a:cubicBezTo>
                  <a:cubicBezTo>
                    <a:pt x="20331" y="35379"/>
                    <a:pt x="31803" y="23080"/>
                    <a:pt x="46673" y="13974"/>
                  </a:cubicBezTo>
                  <a:cubicBezTo>
                    <a:pt x="61543" y="4867"/>
                    <a:pt x="79223" y="209"/>
                    <a:pt x="99711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3" name="Полілінія: фігура 122">
              <a:extLst>
                <a:ext uri="{FF2B5EF4-FFF2-40B4-BE49-F238E27FC236}">
                  <a16:creationId xmlns:a16="http://schemas.microsoft.com/office/drawing/2014/main" id="{B5DF8364-EA03-27D7-1B34-EB6786DB94F9}"/>
                </a:ext>
              </a:extLst>
            </p:cNvPr>
            <p:cNvSpPr/>
            <p:nvPr/>
          </p:nvSpPr>
          <p:spPr>
            <a:xfrm>
              <a:off x="6951202" y="210869"/>
              <a:ext cx="132266" cy="206275"/>
            </a:xfrm>
            <a:custGeom>
              <a:avLst/>
              <a:gdLst/>
              <a:ahLst/>
              <a:cxnLst/>
              <a:rect l="l" t="t" r="r" b="b"/>
              <a:pathLst>
                <a:path w="132266" h="206275">
                  <a:moveTo>
                    <a:pt x="66846" y="0"/>
                  </a:moveTo>
                  <a:cubicBezTo>
                    <a:pt x="79236" y="71"/>
                    <a:pt x="90335" y="1998"/>
                    <a:pt x="100142" y="5780"/>
                  </a:cubicBezTo>
                  <a:cubicBezTo>
                    <a:pt x="109950" y="9562"/>
                    <a:pt x="117898" y="14771"/>
                    <a:pt x="123988" y="21408"/>
                  </a:cubicBezTo>
                  <a:lnTo>
                    <a:pt x="105146" y="47687"/>
                  </a:lnTo>
                  <a:cubicBezTo>
                    <a:pt x="100424" y="42941"/>
                    <a:pt x="95306" y="39285"/>
                    <a:pt x="89791" y="36719"/>
                  </a:cubicBezTo>
                  <a:cubicBezTo>
                    <a:pt x="84277" y="34153"/>
                    <a:pt x="77581" y="32855"/>
                    <a:pt x="69706" y="32825"/>
                  </a:cubicBezTo>
                  <a:cubicBezTo>
                    <a:pt x="60907" y="32920"/>
                    <a:pt x="54056" y="34945"/>
                    <a:pt x="49154" y="38899"/>
                  </a:cubicBezTo>
                  <a:cubicBezTo>
                    <a:pt x="44251" y="42852"/>
                    <a:pt x="41761" y="48164"/>
                    <a:pt x="41684" y="54833"/>
                  </a:cubicBezTo>
                  <a:cubicBezTo>
                    <a:pt x="42155" y="64844"/>
                    <a:pt x="46873" y="72493"/>
                    <a:pt x="55837" y="77779"/>
                  </a:cubicBezTo>
                  <a:cubicBezTo>
                    <a:pt x="64801" y="83065"/>
                    <a:pt x="75180" y="88088"/>
                    <a:pt x="86975" y="92847"/>
                  </a:cubicBezTo>
                  <a:cubicBezTo>
                    <a:pt x="98770" y="97607"/>
                    <a:pt x="109149" y="104202"/>
                    <a:pt x="118113" y="112632"/>
                  </a:cubicBezTo>
                  <a:cubicBezTo>
                    <a:pt x="127077" y="121062"/>
                    <a:pt x="131795" y="133427"/>
                    <a:pt x="132266" y="149726"/>
                  </a:cubicBezTo>
                  <a:cubicBezTo>
                    <a:pt x="131821" y="166832"/>
                    <a:pt x="125360" y="180471"/>
                    <a:pt x="112884" y="190644"/>
                  </a:cubicBezTo>
                  <a:cubicBezTo>
                    <a:pt x="100407" y="200816"/>
                    <a:pt x="84584" y="206026"/>
                    <a:pt x="65417" y="206275"/>
                  </a:cubicBezTo>
                  <a:cubicBezTo>
                    <a:pt x="56688" y="206263"/>
                    <a:pt x="47942" y="205051"/>
                    <a:pt x="39178" y="202639"/>
                  </a:cubicBezTo>
                  <a:cubicBezTo>
                    <a:pt x="30415" y="200227"/>
                    <a:pt x="22541" y="196688"/>
                    <a:pt x="15557" y="192025"/>
                  </a:cubicBezTo>
                  <a:cubicBezTo>
                    <a:pt x="8574" y="187361"/>
                    <a:pt x="3388" y="181645"/>
                    <a:pt x="0" y="174877"/>
                  </a:cubicBezTo>
                  <a:lnTo>
                    <a:pt x="19987" y="150870"/>
                  </a:lnTo>
                  <a:cubicBezTo>
                    <a:pt x="26060" y="158438"/>
                    <a:pt x="33260" y="164095"/>
                    <a:pt x="41587" y="167841"/>
                  </a:cubicBezTo>
                  <a:cubicBezTo>
                    <a:pt x="49914" y="171586"/>
                    <a:pt x="58048" y="173456"/>
                    <a:pt x="65988" y="173450"/>
                  </a:cubicBezTo>
                  <a:cubicBezTo>
                    <a:pt x="74460" y="173420"/>
                    <a:pt x="81394" y="171407"/>
                    <a:pt x="86791" y="167412"/>
                  </a:cubicBezTo>
                  <a:cubicBezTo>
                    <a:pt x="92188" y="163416"/>
                    <a:pt x="94976" y="157616"/>
                    <a:pt x="95154" y="150012"/>
                  </a:cubicBezTo>
                  <a:cubicBezTo>
                    <a:pt x="94683" y="140474"/>
                    <a:pt x="89965" y="133040"/>
                    <a:pt x="81001" y="127709"/>
                  </a:cubicBezTo>
                  <a:cubicBezTo>
                    <a:pt x="72037" y="122378"/>
                    <a:pt x="61658" y="117212"/>
                    <a:pt x="49863" y="112212"/>
                  </a:cubicBezTo>
                  <a:cubicBezTo>
                    <a:pt x="38068" y="107212"/>
                    <a:pt x="27689" y="100438"/>
                    <a:pt x="18725" y="91892"/>
                  </a:cubicBezTo>
                  <a:cubicBezTo>
                    <a:pt x="9761" y="83345"/>
                    <a:pt x="5044" y="71088"/>
                    <a:pt x="4572" y="55119"/>
                  </a:cubicBezTo>
                  <a:cubicBezTo>
                    <a:pt x="4737" y="39697"/>
                    <a:pt x="10258" y="26760"/>
                    <a:pt x="21134" y="16309"/>
                  </a:cubicBezTo>
                  <a:cubicBezTo>
                    <a:pt x="32011" y="5858"/>
                    <a:pt x="47248" y="421"/>
                    <a:pt x="6684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4" name="Полілінія: фігура 123">
              <a:extLst>
                <a:ext uri="{FF2B5EF4-FFF2-40B4-BE49-F238E27FC236}">
                  <a16:creationId xmlns:a16="http://schemas.microsoft.com/office/drawing/2014/main" id="{C0932CEC-E783-9754-EFAF-748FEFBB79D0}"/>
                </a:ext>
              </a:extLst>
            </p:cNvPr>
            <p:cNvSpPr/>
            <p:nvPr/>
          </p:nvSpPr>
          <p:spPr>
            <a:xfrm>
              <a:off x="5213461" y="213440"/>
              <a:ext cx="157412" cy="200561"/>
            </a:xfrm>
            <a:custGeom>
              <a:avLst/>
              <a:gdLst/>
              <a:ahLst/>
              <a:cxnLst/>
              <a:rect l="l" t="t" r="r" b="b"/>
              <a:pathLst>
                <a:path w="157412" h="200561">
                  <a:moveTo>
                    <a:pt x="60844" y="0"/>
                  </a:moveTo>
                  <a:cubicBezTo>
                    <a:pt x="87746" y="410"/>
                    <a:pt x="106663" y="6370"/>
                    <a:pt x="117594" y="17882"/>
                  </a:cubicBezTo>
                  <a:cubicBezTo>
                    <a:pt x="128525" y="29394"/>
                    <a:pt x="133797" y="44001"/>
                    <a:pt x="133409" y="61704"/>
                  </a:cubicBezTo>
                  <a:cubicBezTo>
                    <a:pt x="133240" y="73103"/>
                    <a:pt x="131136" y="82701"/>
                    <a:pt x="127097" y="90496"/>
                  </a:cubicBezTo>
                  <a:cubicBezTo>
                    <a:pt x="123058" y="98291"/>
                    <a:pt x="118099" y="104498"/>
                    <a:pt x="112220" y="109116"/>
                  </a:cubicBezTo>
                  <a:cubicBezTo>
                    <a:pt x="106341" y="113734"/>
                    <a:pt x="100557" y="116977"/>
                    <a:pt x="94868" y="118844"/>
                  </a:cubicBezTo>
                  <a:lnTo>
                    <a:pt x="157412" y="200561"/>
                  </a:lnTo>
                  <a:lnTo>
                    <a:pt x="114853" y="200561"/>
                  </a:lnTo>
                  <a:lnTo>
                    <a:pt x="59700" y="125695"/>
                  </a:lnTo>
                  <a:lnTo>
                    <a:pt x="35111" y="125695"/>
                  </a:lnTo>
                  <a:lnTo>
                    <a:pt x="35111" y="200561"/>
                  </a:lnTo>
                  <a:lnTo>
                    <a:pt x="0" y="200561"/>
                  </a:lnTo>
                  <a:lnTo>
                    <a:pt x="0" y="571"/>
                  </a:lnTo>
                  <a:cubicBezTo>
                    <a:pt x="4150" y="564"/>
                    <a:pt x="10634" y="515"/>
                    <a:pt x="19451" y="423"/>
                  </a:cubicBezTo>
                  <a:cubicBezTo>
                    <a:pt x="28269" y="332"/>
                    <a:pt x="36786" y="240"/>
                    <a:pt x="45002" y="148"/>
                  </a:cubicBezTo>
                  <a:cubicBezTo>
                    <a:pt x="53218" y="57"/>
                    <a:pt x="58499" y="7"/>
                    <a:pt x="60844" y="0"/>
                  </a:cubicBezTo>
                  <a:close/>
                  <a:moveTo>
                    <a:pt x="59128" y="32826"/>
                  </a:moveTo>
                  <a:cubicBezTo>
                    <a:pt x="55840" y="32832"/>
                    <a:pt x="52195" y="32891"/>
                    <a:pt x="48192" y="33005"/>
                  </a:cubicBezTo>
                  <a:cubicBezTo>
                    <a:pt x="44189" y="33118"/>
                    <a:pt x="39829" y="33249"/>
                    <a:pt x="35111" y="33398"/>
                  </a:cubicBezTo>
                  <a:lnTo>
                    <a:pt x="35111" y="92869"/>
                  </a:lnTo>
                  <a:lnTo>
                    <a:pt x="57985" y="92869"/>
                  </a:lnTo>
                  <a:cubicBezTo>
                    <a:pt x="68462" y="92869"/>
                    <a:pt x="77385" y="90296"/>
                    <a:pt x="84754" y="85149"/>
                  </a:cubicBezTo>
                  <a:cubicBezTo>
                    <a:pt x="92122" y="80003"/>
                    <a:pt x="95970" y="72283"/>
                    <a:pt x="96298" y="61990"/>
                  </a:cubicBezTo>
                  <a:cubicBezTo>
                    <a:pt x="96536" y="53895"/>
                    <a:pt x="93915" y="47068"/>
                    <a:pt x="88435" y="41511"/>
                  </a:cubicBezTo>
                  <a:cubicBezTo>
                    <a:pt x="82955" y="35953"/>
                    <a:pt x="73186" y="33058"/>
                    <a:pt x="59128" y="3282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5" name="Полілінія: фігура 124">
              <a:extLst>
                <a:ext uri="{FF2B5EF4-FFF2-40B4-BE49-F238E27FC236}">
                  <a16:creationId xmlns:a16="http://schemas.microsoft.com/office/drawing/2014/main" id="{407A5B2A-05E9-5105-552F-1EB0564DA61C}"/>
                </a:ext>
              </a:extLst>
            </p:cNvPr>
            <p:cNvSpPr/>
            <p:nvPr/>
          </p:nvSpPr>
          <p:spPr>
            <a:xfrm>
              <a:off x="5378225" y="213440"/>
              <a:ext cx="200026" cy="200561"/>
            </a:xfrm>
            <a:custGeom>
              <a:avLst/>
              <a:gdLst/>
              <a:ahLst/>
              <a:cxnLst/>
              <a:rect l="l" t="t" r="r" b="b"/>
              <a:pathLst>
                <a:path w="200026" h="200561">
                  <a:moveTo>
                    <a:pt x="84582" y="0"/>
                  </a:moveTo>
                  <a:lnTo>
                    <a:pt x="115443" y="0"/>
                  </a:lnTo>
                  <a:lnTo>
                    <a:pt x="200026" y="200561"/>
                  </a:lnTo>
                  <a:lnTo>
                    <a:pt x="162592" y="200561"/>
                  </a:lnTo>
                  <a:lnTo>
                    <a:pt x="141732" y="149412"/>
                  </a:lnTo>
                  <a:lnTo>
                    <a:pt x="56293" y="149412"/>
                  </a:lnTo>
                  <a:lnTo>
                    <a:pt x="35434" y="200561"/>
                  </a:lnTo>
                  <a:lnTo>
                    <a:pt x="0" y="200561"/>
                  </a:lnTo>
                  <a:lnTo>
                    <a:pt x="84582" y="0"/>
                  </a:lnTo>
                  <a:close/>
                  <a:moveTo>
                    <a:pt x="99156" y="45435"/>
                  </a:moveTo>
                  <a:lnTo>
                    <a:pt x="69724" y="116586"/>
                  </a:lnTo>
                  <a:lnTo>
                    <a:pt x="128302" y="116586"/>
                  </a:lnTo>
                  <a:lnTo>
                    <a:pt x="99156" y="4543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6" name="Полілінія: фігура 125">
              <a:extLst>
                <a:ext uri="{FF2B5EF4-FFF2-40B4-BE49-F238E27FC236}">
                  <a16:creationId xmlns:a16="http://schemas.microsoft.com/office/drawing/2014/main" id="{4FB7224E-8B18-5FCC-363A-13ACCA3CBBE8}"/>
                </a:ext>
              </a:extLst>
            </p:cNvPr>
            <p:cNvSpPr/>
            <p:nvPr/>
          </p:nvSpPr>
          <p:spPr>
            <a:xfrm>
              <a:off x="6149752" y="213440"/>
              <a:ext cx="200025" cy="200561"/>
            </a:xfrm>
            <a:custGeom>
              <a:avLst/>
              <a:gdLst/>
              <a:ahLst/>
              <a:cxnLst/>
              <a:rect l="l" t="t" r="r" b="b"/>
              <a:pathLst>
                <a:path w="200025" h="200561">
                  <a:moveTo>
                    <a:pt x="84582" y="0"/>
                  </a:moveTo>
                  <a:lnTo>
                    <a:pt x="115443" y="0"/>
                  </a:lnTo>
                  <a:lnTo>
                    <a:pt x="200025" y="200561"/>
                  </a:lnTo>
                  <a:lnTo>
                    <a:pt x="162591" y="200561"/>
                  </a:lnTo>
                  <a:lnTo>
                    <a:pt x="141732" y="149412"/>
                  </a:lnTo>
                  <a:lnTo>
                    <a:pt x="56292" y="149412"/>
                  </a:lnTo>
                  <a:lnTo>
                    <a:pt x="35433" y="200561"/>
                  </a:lnTo>
                  <a:lnTo>
                    <a:pt x="0" y="200561"/>
                  </a:lnTo>
                  <a:lnTo>
                    <a:pt x="84582" y="0"/>
                  </a:lnTo>
                  <a:close/>
                  <a:moveTo>
                    <a:pt x="99155" y="45435"/>
                  </a:moveTo>
                  <a:lnTo>
                    <a:pt x="69722" y="116586"/>
                  </a:lnTo>
                  <a:lnTo>
                    <a:pt x="128301" y="116586"/>
                  </a:lnTo>
                  <a:lnTo>
                    <a:pt x="99155" y="45435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7" name="Полілінія: фігура 126">
              <a:extLst>
                <a:ext uri="{FF2B5EF4-FFF2-40B4-BE49-F238E27FC236}">
                  <a16:creationId xmlns:a16="http://schemas.microsoft.com/office/drawing/2014/main" id="{77339E6D-448A-F60F-B254-C3FAA0397AC4}"/>
                </a:ext>
              </a:extLst>
            </p:cNvPr>
            <p:cNvSpPr/>
            <p:nvPr/>
          </p:nvSpPr>
          <p:spPr>
            <a:xfrm>
              <a:off x="6375511" y="213440"/>
              <a:ext cx="157412" cy="200561"/>
            </a:xfrm>
            <a:custGeom>
              <a:avLst/>
              <a:gdLst/>
              <a:ahLst/>
              <a:cxnLst/>
              <a:rect l="l" t="t" r="r" b="b"/>
              <a:pathLst>
                <a:path w="157412" h="200561">
                  <a:moveTo>
                    <a:pt x="60844" y="0"/>
                  </a:moveTo>
                  <a:cubicBezTo>
                    <a:pt x="87746" y="410"/>
                    <a:pt x="106663" y="6370"/>
                    <a:pt x="117594" y="17882"/>
                  </a:cubicBezTo>
                  <a:cubicBezTo>
                    <a:pt x="128525" y="29394"/>
                    <a:pt x="133797" y="44001"/>
                    <a:pt x="133409" y="61704"/>
                  </a:cubicBezTo>
                  <a:cubicBezTo>
                    <a:pt x="133240" y="73103"/>
                    <a:pt x="131136" y="82701"/>
                    <a:pt x="127097" y="90496"/>
                  </a:cubicBezTo>
                  <a:cubicBezTo>
                    <a:pt x="123058" y="98291"/>
                    <a:pt x="118099" y="104498"/>
                    <a:pt x="112220" y="109116"/>
                  </a:cubicBezTo>
                  <a:cubicBezTo>
                    <a:pt x="106341" y="113734"/>
                    <a:pt x="100557" y="116977"/>
                    <a:pt x="94868" y="118844"/>
                  </a:cubicBezTo>
                  <a:lnTo>
                    <a:pt x="157412" y="200561"/>
                  </a:lnTo>
                  <a:lnTo>
                    <a:pt x="114854" y="200561"/>
                  </a:lnTo>
                  <a:lnTo>
                    <a:pt x="59700" y="125695"/>
                  </a:lnTo>
                  <a:lnTo>
                    <a:pt x="35111" y="125695"/>
                  </a:lnTo>
                  <a:lnTo>
                    <a:pt x="35111" y="200561"/>
                  </a:lnTo>
                  <a:lnTo>
                    <a:pt x="0" y="200561"/>
                  </a:lnTo>
                  <a:lnTo>
                    <a:pt x="0" y="571"/>
                  </a:lnTo>
                  <a:cubicBezTo>
                    <a:pt x="4150" y="564"/>
                    <a:pt x="10634" y="515"/>
                    <a:pt x="19451" y="423"/>
                  </a:cubicBezTo>
                  <a:cubicBezTo>
                    <a:pt x="28269" y="332"/>
                    <a:pt x="36786" y="240"/>
                    <a:pt x="45002" y="148"/>
                  </a:cubicBezTo>
                  <a:cubicBezTo>
                    <a:pt x="53218" y="57"/>
                    <a:pt x="58499" y="7"/>
                    <a:pt x="60844" y="0"/>
                  </a:cubicBezTo>
                  <a:close/>
                  <a:moveTo>
                    <a:pt x="59128" y="32826"/>
                  </a:moveTo>
                  <a:cubicBezTo>
                    <a:pt x="55840" y="32832"/>
                    <a:pt x="52195" y="32891"/>
                    <a:pt x="48192" y="33005"/>
                  </a:cubicBezTo>
                  <a:cubicBezTo>
                    <a:pt x="44189" y="33118"/>
                    <a:pt x="39829" y="33249"/>
                    <a:pt x="35111" y="33398"/>
                  </a:cubicBezTo>
                  <a:lnTo>
                    <a:pt x="35111" y="92869"/>
                  </a:lnTo>
                  <a:lnTo>
                    <a:pt x="57985" y="92869"/>
                  </a:lnTo>
                  <a:cubicBezTo>
                    <a:pt x="68462" y="92869"/>
                    <a:pt x="77385" y="90296"/>
                    <a:pt x="84754" y="85149"/>
                  </a:cubicBezTo>
                  <a:cubicBezTo>
                    <a:pt x="92122" y="80003"/>
                    <a:pt x="95970" y="72283"/>
                    <a:pt x="96298" y="61990"/>
                  </a:cubicBezTo>
                  <a:cubicBezTo>
                    <a:pt x="96536" y="53895"/>
                    <a:pt x="93915" y="47068"/>
                    <a:pt x="88435" y="41511"/>
                  </a:cubicBezTo>
                  <a:cubicBezTo>
                    <a:pt x="82955" y="35953"/>
                    <a:pt x="73186" y="33058"/>
                    <a:pt x="59128" y="3282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8" name="Полілінія: фігура 127">
              <a:extLst>
                <a:ext uri="{FF2B5EF4-FFF2-40B4-BE49-F238E27FC236}">
                  <a16:creationId xmlns:a16="http://schemas.microsoft.com/office/drawing/2014/main" id="{8572E5F7-2212-BAD3-313D-2E9DC0A4A47B}"/>
                </a:ext>
              </a:extLst>
            </p:cNvPr>
            <p:cNvSpPr/>
            <p:nvPr/>
          </p:nvSpPr>
          <p:spPr>
            <a:xfrm>
              <a:off x="4788551" y="214298"/>
              <a:ext cx="164842" cy="199703"/>
            </a:xfrm>
            <a:custGeom>
              <a:avLst/>
              <a:gdLst/>
              <a:ahLst/>
              <a:cxnLst/>
              <a:rect l="l" t="t" r="r" b="b"/>
              <a:pathLst>
                <a:path w="164842" h="199703">
                  <a:moveTo>
                    <a:pt x="0" y="0"/>
                  </a:moveTo>
                  <a:lnTo>
                    <a:pt x="164842" y="0"/>
                  </a:lnTo>
                  <a:lnTo>
                    <a:pt x="164842" y="32825"/>
                  </a:lnTo>
                  <a:lnTo>
                    <a:pt x="99976" y="32825"/>
                  </a:lnTo>
                  <a:lnTo>
                    <a:pt x="99976" y="199703"/>
                  </a:lnTo>
                  <a:lnTo>
                    <a:pt x="64865" y="199703"/>
                  </a:lnTo>
                  <a:lnTo>
                    <a:pt x="64865" y="32825"/>
                  </a:lnTo>
                  <a:lnTo>
                    <a:pt x="0" y="328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29" name="Полілінія: фігура 128">
              <a:extLst>
                <a:ext uri="{FF2B5EF4-FFF2-40B4-BE49-F238E27FC236}">
                  <a16:creationId xmlns:a16="http://schemas.microsoft.com/office/drawing/2014/main" id="{57281841-76A6-68C4-6EF3-523D2959C415}"/>
                </a:ext>
              </a:extLst>
            </p:cNvPr>
            <p:cNvSpPr/>
            <p:nvPr/>
          </p:nvSpPr>
          <p:spPr>
            <a:xfrm>
              <a:off x="5804011" y="214298"/>
              <a:ext cx="118550" cy="199703"/>
            </a:xfrm>
            <a:custGeom>
              <a:avLst/>
              <a:gdLst/>
              <a:ahLst/>
              <a:cxnLst/>
              <a:rect l="l" t="t" r="r" b="b"/>
              <a:pathLst>
                <a:path w="118550" h="199703">
                  <a:moveTo>
                    <a:pt x="0" y="0"/>
                  </a:moveTo>
                  <a:lnTo>
                    <a:pt x="115693" y="0"/>
                  </a:lnTo>
                  <a:lnTo>
                    <a:pt x="115693" y="32825"/>
                  </a:lnTo>
                  <a:lnTo>
                    <a:pt x="35111" y="32825"/>
                  </a:lnTo>
                  <a:lnTo>
                    <a:pt x="35111" y="82296"/>
                  </a:lnTo>
                  <a:lnTo>
                    <a:pt x="107120" y="82296"/>
                  </a:lnTo>
                  <a:lnTo>
                    <a:pt x="107120" y="115121"/>
                  </a:lnTo>
                  <a:lnTo>
                    <a:pt x="35111" y="115121"/>
                  </a:lnTo>
                  <a:lnTo>
                    <a:pt x="35111" y="166878"/>
                  </a:lnTo>
                  <a:lnTo>
                    <a:pt x="118550" y="166878"/>
                  </a:lnTo>
                  <a:lnTo>
                    <a:pt x="118550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30" name="Полілінія: фігура 129">
              <a:extLst>
                <a:ext uri="{FF2B5EF4-FFF2-40B4-BE49-F238E27FC236}">
                  <a16:creationId xmlns:a16="http://schemas.microsoft.com/office/drawing/2014/main" id="{B5C17AF2-1D28-4615-1FD9-E073690AF3FC}"/>
                </a:ext>
              </a:extLst>
            </p:cNvPr>
            <p:cNvSpPr/>
            <p:nvPr/>
          </p:nvSpPr>
          <p:spPr>
            <a:xfrm>
              <a:off x="5998226" y="214298"/>
              <a:ext cx="164842" cy="199703"/>
            </a:xfrm>
            <a:custGeom>
              <a:avLst/>
              <a:gdLst/>
              <a:ahLst/>
              <a:cxnLst/>
              <a:rect l="l" t="t" r="r" b="b"/>
              <a:pathLst>
                <a:path w="164842" h="199703">
                  <a:moveTo>
                    <a:pt x="0" y="0"/>
                  </a:moveTo>
                  <a:lnTo>
                    <a:pt x="164842" y="0"/>
                  </a:lnTo>
                  <a:lnTo>
                    <a:pt x="164842" y="32825"/>
                  </a:lnTo>
                  <a:lnTo>
                    <a:pt x="99976" y="32825"/>
                  </a:lnTo>
                  <a:lnTo>
                    <a:pt x="99976" y="199703"/>
                  </a:lnTo>
                  <a:lnTo>
                    <a:pt x="64865" y="199703"/>
                  </a:lnTo>
                  <a:lnTo>
                    <a:pt x="64865" y="32825"/>
                  </a:lnTo>
                  <a:lnTo>
                    <a:pt x="0" y="3282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31" name="Полілінія: фігура 130">
              <a:extLst>
                <a:ext uri="{FF2B5EF4-FFF2-40B4-BE49-F238E27FC236}">
                  <a16:creationId xmlns:a16="http://schemas.microsoft.com/office/drawing/2014/main" id="{205BA35D-AC4C-E4AE-047C-438350F69800}"/>
                </a:ext>
              </a:extLst>
            </p:cNvPr>
            <p:cNvSpPr/>
            <p:nvPr/>
          </p:nvSpPr>
          <p:spPr>
            <a:xfrm>
              <a:off x="6570297" y="214298"/>
              <a:ext cx="35112" cy="199703"/>
            </a:xfrm>
            <a:custGeom>
              <a:avLst/>
              <a:gdLst/>
              <a:ahLst/>
              <a:cxnLst/>
              <a:rect l="l" t="t" r="r" b="b"/>
              <a:pathLst>
                <a:path w="35112" h="199703">
                  <a:moveTo>
                    <a:pt x="0" y="0"/>
                  </a:moveTo>
                  <a:lnTo>
                    <a:pt x="35112" y="0"/>
                  </a:lnTo>
                  <a:lnTo>
                    <a:pt x="35112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 dirty="0">
                <a:solidFill>
                  <a:srgbClr val="021D28"/>
                </a:solidFill>
              </a:endParaRPr>
            </a:p>
          </p:txBody>
        </p:sp>
        <p:sp>
          <p:nvSpPr>
            <p:cNvPr id="132" name="Полілінія: фігура 131">
              <a:extLst>
                <a:ext uri="{FF2B5EF4-FFF2-40B4-BE49-F238E27FC236}">
                  <a16:creationId xmlns:a16="http://schemas.microsoft.com/office/drawing/2014/main" id="{5C004349-6E5A-DB2E-3B78-3799CF16BFB0}"/>
                </a:ext>
              </a:extLst>
            </p:cNvPr>
            <p:cNvSpPr/>
            <p:nvPr/>
          </p:nvSpPr>
          <p:spPr>
            <a:xfrm>
              <a:off x="6661261" y="214298"/>
              <a:ext cx="114264" cy="199703"/>
            </a:xfrm>
            <a:custGeom>
              <a:avLst/>
              <a:gdLst/>
              <a:ahLst/>
              <a:cxnLst/>
              <a:rect l="l" t="t" r="r" b="b"/>
              <a:pathLst>
                <a:path w="114264" h="199703">
                  <a:moveTo>
                    <a:pt x="0" y="0"/>
                  </a:moveTo>
                  <a:lnTo>
                    <a:pt x="114264" y="0"/>
                  </a:lnTo>
                  <a:lnTo>
                    <a:pt x="114264" y="32825"/>
                  </a:lnTo>
                  <a:lnTo>
                    <a:pt x="35111" y="32825"/>
                  </a:lnTo>
                  <a:lnTo>
                    <a:pt x="35111" y="89154"/>
                  </a:lnTo>
                  <a:lnTo>
                    <a:pt x="105692" y="89154"/>
                  </a:lnTo>
                  <a:lnTo>
                    <a:pt x="105692" y="121979"/>
                  </a:lnTo>
                  <a:lnTo>
                    <a:pt x="35111" y="121979"/>
                  </a:lnTo>
                  <a:lnTo>
                    <a:pt x="35111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  <p:sp>
          <p:nvSpPr>
            <p:cNvPr id="133" name="Полілінія: фігура 132">
              <a:extLst>
                <a:ext uri="{FF2B5EF4-FFF2-40B4-BE49-F238E27FC236}">
                  <a16:creationId xmlns:a16="http://schemas.microsoft.com/office/drawing/2014/main" id="{055E23A0-99AE-87C4-65D7-47DDEACDC038}"/>
                </a:ext>
              </a:extLst>
            </p:cNvPr>
            <p:cNvSpPr/>
            <p:nvPr/>
          </p:nvSpPr>
          <p:spPr>
            <a:xfrm>
              <a:off x="6813661" y="214298"/>
              <a:ext cx="114264" cy="199703"/>
            </a:xfrm>
            <a:custGeom>
              <a:avLst/>
              <a:gdLst/>
              <a:ahLst/>
              <a:cxnLst/>
              <a:rect l="l" t="t" r="r" b="b"/>
              <a:pathLst>
                <a:path w="114264" h="199703">
                  <a:moveTo>
                    <a:pt x="0" y="0"/>
                  </a:moveTo>
                  <a:lnTo>
                    <a:pt x="114264" y="0"/>
                  </a:lnTo>
                  <a:lnTo>
                    <a:pt x="114264" y="32825"/>
                  </a:lnTo>
                  <a:lnTo>
                    <a:pt x="35111" y="32825"/>
                  </a:lnTo>
                  <a:lnTo>
                    <a:pt x="35111" y="89154"/>
                  </a:lnTo>
                  <a:lnTo>
                    <a:pt x="105692" y="89154"/>
                  </a:lnTo>
                  <a:lnTo>
                    <a:pt x="105692" y="121979"/>
                  </a:lnTo>
                  <a:lnTo>
                    <a:pt x="35111" y="121979"/>
                  </a:lnTo>
                  <a:lnTo>
                    <a:pt x="35111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rgbClr val="021D28"/>
                </a:solidFill>
              </a:endParaRPr>
            </a:p>
          </p:txBody>
        </p:sp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CEE687CB-91D4-4C4D-D057-21CE4B0728B3}"/>
              </a:ext>
            </a:extLst>
          </p:cNvPr>
          <p:cNvSpPr txBox="1"/>
          <p:nvPr/>
        </p:nvSpPr>
        <p:spPr>
          <a:xfrm>
            <a:off x="4046023" y="636864"/>
            <a:ext cx="40367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k-UA" sz="1200" dirty="0">
                <a:latin typeface="+mj-lt"/>
              </a:rPr>
              <a:t>Resolution of the NE</a:t>
            </a:r>
            <a:r>
              <a:rPr lang="en-US" sz="1200" dirty="0">
                <a:latin typeface="+mj-lt"/>
              </a:rPr>
              <a:t>U</a:t>
            </a:r>
            <a:r>
              <a:rPr lang="uk-UA" sz="1200" dirty="0">
                <a:latin typeface="+mj-lt"/>
              </a:rPr>
              <a:t>RC No. 656 dated 30th June 2022</a:t>
            </a:r>
          </a:p>
        </p:txBody>
      </p:sp>
      <p:sp>
        <p:nvSpPr>
          <p:cNvPr id="225" name="Полілінія: фігура 224">
            <a:extLst>
              <a:ext uri="{FF2B5EF4-FFF2-40B4-BE49-F238E27FC236}">
                <a16:creationId xmlns:a16="http://schemas.microsoft.com/office/drawing/2014/main" id="{D7E7092C-3AEA-E513-9000-926F2EAC9EEE}"/>
              </a:ext>
            </a:extLst>
          </p:cNvPr>
          <p:cNvSpPr/>
          <p:nvPr/>
        </p:nvSpPr>
        <p:spPr>
          <a:xfrm>
            <a:off x="9157434" y="4277052"/>
            <a:ext cx="1565574" cy="223926"/>
          </a:xfrm>
          <a:custGeom>
            <a:avLst/>
            <a:gdLst/>
            <a:ahLst/>
            <a:cxnLst/>
            <a:rect l="l" t="t" r="r" b="b"/>
            <a:pathLst>
              <a:path w="1009529" h="144393">
                <a:moveTo>
                  <a:pt x="994939" y="112414"/>
                </a:moveTo>
                <a:cubicBezTo>
                  <a:pt x="999307" y="112593"/>
                  <a:pt x="1002813" y="114184"/>
                  <a:pt x="1005457" y="117186"/>
                </a:cubicBezTo>
                <a:cubicBezTo>
                  <a:pt x="1008101" y="120188"/>
                  <a:pt x="1009459" y="123527"/>
                  <a:pt x="1009529" y="127204"/>
                </a:cubicBezTo>
                <a:cubicBezTo>
                  <a:pt x="1009459" y="131455"/>
                  <a:pt x="1008101" y="135144"/>
                  <a:pt x="1005457" y="138271"/>
                </a:cubicBezTo>
                <a:cubicBezTo>
                  <a:pt x="1002813" y="141398"/>
                  <a:pt x="999307" y="143039"/>
                  <a:pt x="994939" y="143193"/>
                </a:cubicBezTo>
                <a:cubicBezTo>
                  <a:pt x="989901" y="143039"/>
                  <a:pt x="985987" y="141398"/>
                  <a:pt x="983198" y="138271"/>
                </a:cubicBezTo>
                <a:cubicBezTo>
                  <a:pt x="980408" y="135144"/>
                  <a:pt x="978992" y="131455"/>
                  <a:pt x="978951" y="127204"/>
                </a:cubicBezTo>
                <a:cubicBezTo>
                  <a:pt x="978992" y="123527"/>
                  <a:pt x="980408" y="120188"/>
                  <a:pt x="983198" y="117186"/>
                </a:cubicBezTo>
                <a:cubicBezTo>
                  <a:pt x="985987" y="114184"/>
                  <a:pt x="989901" y="112593"/>
                  <a:pt x="994939" y="112414"/>
                </a:cubicBezTo>
                <a:close/>
                <a:moveTo>
                  <a:pt x="171018" y="71584"/>
                </a:moveTo>
                <a:cubicBezTo>
                  <a:pt x="164047" y="71676"/>
                  <a:pt x="158276" y="73994"/>
                  <a:pt x="153707" y="78538"/>
                </a:cubicBezTo>
                <a:cubicBezTo>
                  <a:pt x="149137" y="83082"/>
                  <a:pt x="146769" y="89303"/>
                  <a:pt x="146602" y="97199"/>
                </a:cubicBezTo>
                <a:cubicBezTo>
                  <a:pt x="146744" y="104842"/>
                  <a:pt x="149062" y="111020"/>
                  <a:pt x="153557" y="115736"/>
                </a:cubicBezTo>
                <a:cubicBezTo>
                  <a:pt x="158051" y="120451"/>
                  <a:pt x="163872" y="122878"/>
                  <a:pt x="171018" y="123015"/>
                </a:cubicBezTo>
                <a:cubicBezTo>
                  <a:pt x="178260" y="122915"/>
                  <a:pt x="184139" y="120564"/>
                  <a:pt x="188654" y="115961"/>
                </a:cubicBezTo>
                <a:cubicBezTo>
                  <a:pt x="193170" y="111358"/>
                  <a:pt x="195496" y="105104"/>
                  <a:pt x="195634" y="97199"/>
                </a:cubicBezTo>
                <a:cubicBezTo>
                  <a:pt x="195484" y="89478"/>
                  <a:pt x="193132" y="83308"/>
                  <a:pt x="188579" y="78688"/>
                </a:cubicBezTo>
                <a:cubicBezTo>
                  <a:pt x="184026" y="74069"/>
                  <a:pt x="178172" y="71701"/>
                  <a:pt x="171018" y="71584"/>
                </a:cubicBezTo>
                <a:close/>
                <a:moveTo>
                  <a:pt x="730593" y="69184"/>
                </a:moveTo>
                <a:cubicBezTo>
                  <a:pt x="723718" y="69263"/>
                  <a:pt x="718356" y="71057"/>
                  <a:pt x="714507" y="74566"/>
                </a:cubicBezTo>
                <a:cubicBezTo>
                  <a:pt x="710659" y="78075"/>
                  <a:pt x="708149" y="82823"/>
                  <a:pt x="706978" y="88811"/>
                </a:cubicBezTo>
                <a:lnTo>
                  <a:pt x="751208" y="88811"/>
                </a:lnTo>
                <a:cubicBezTo>
                  <a:pt x="751262" y="83174"/>
                  <a:pt x="749502" y="78526"/>
                  <a:pt x="745929" y="74866"/>
                </a:cubicBezTo>
                <a:cubicBezTo>
                  <a:pt x="742356" y="71207"/>
                  <a:pt x="737244" y="69313"/>
                  <a:pt x="730593" y="69184"/>
                </a:cubicBezTo>
                <a:close/>
                <a:moveTo>
                  <a:pt x="282918" y="69184"/>
                </a:moveTo>
                <a:cubicBezTo>
                  <a:pt x="276043" y="69263"/>
                  <a:pt x="270681" y="71057"/>
                  <a:pt x="266832" y="74566"/>
                </a:cubicBezTo>
                <a:cubicBezTo>
                  <a:pt x="262984" y="78075"/>
                  <a:pt x="260474" y="82823"/>
                  <a:pt x="259303" y="88811"/>
                </a:cubicBezTo>
                <a:lnTo>
                  <a:pt x="303533" y="88811"/>
                </a:lnTo>
                <a:cubicBezTo>
                  <a:pt x="303587" y="83174"/>
                  <a:pt x="301827" y="78526"/>
                  <a:pt x="298254" y="74866"/>
                </a:cubicBezTo>
                <a:cubicBezTo>
                  <a:pt x="294681" y="71207"/>
                  <a:pt x="289569" y="69313"/>
                  <a:pt x="282918" y="69184"/>
                </a:cubicBezTo>
                <a:close/>
                <a:moveTo>
                  <a:pt x="635851" y="52206"/>
                </a:moveTo>
                <a:lnTo>
                  <a:pt x="658828" y="52206"/>
                </a:lnTo>
                <a:lnTo>
                  <a:pt x="658828" y="142193"/>
                </a:lnTo>
                <a:lnTo>
                  <a:pt x="635851" y="142193"/>
                </a:lnTo>
                <a:close/>
                <a:moveTo>
                  <a:pt x="483451" y="52206"/>
                </a:moveTo>
                <a:lnTo>
                  <a:pt x="506428" y="52206"/>
                </a:lnTo>
                <a:lnTo>
                  <a:pt x="506428" y="142193"/>
                </a:lnTo>
                <a:lnTo>
                  <a:pt x="483451" y="142193"/>
                </a:lnTo>
                <a:close/>
                <a:moveTo>
                  <a:pt x="843172" y="50606"/>
                </a:moveTo>
                <a:cubicBezTo>
                  <a:pt x="854340" y="50460"/>
                  <a:pt x="863255" y="53400"/>
                  <a:pt x="869918" y="59425"/>
                </a:cubicBezTo>
                <a:cubicBezTo>
                  <a:pt x="876580" y="65450"/>
                  <a:pt x="879995" y="75437"/>
                  <a:pt x="880161" y="89386"/>
                </a:cubicBezTo>
                <a:lnTo>
                  <a:pt x="880161" y="142193"/>
                </a:lnTo>
                <a:lnTo>
                  <a:pt x="857183" y="142193"/>
                </a:lnTo>
                <a:lnTo>
                  <a:pt x="857183" y="93387"/>
                </a:lnTo>
                <a:cubicBezTo>
                  <a:pt x="857141" y="86202"/>
                  <a:pt x="855373" y="80868"/>
                  <a:pt x="851879" y="77385"/>
                </a:cubicBezTo>
                <a:cubicBezTo>
                  <a:pt x="848385" y="73901"/>
                  <a:pt x="843414" y="72167"/>
                  <a:pt x="836968" y="72184"/>
                </a:cubicBezTo>
                <a:cubicBezTo>
                  <a:pt x="833073" y="72205"/>
                  <a:pt x="829504" y="72963"/>
                  <a:pt x="826260" y="74459"/>
                </a:cubicBezTo>
                <a:cubicBezTo>
                  <a:pt x="823016" y="75955"/>
                  <a:pt x="820047" y="78064"/>
                  <a:pt x="817353" y="80785"/>
                </a:cubicBezTo>
                <a:lnTo>
                  <a:pt x="817353" y="142193"/>
                </a:lnTo>
                <a:lnTo>
                  <a:pt x="794375" y="142193"/>
                </a:lnTo>
                <a:lnTo>
                  <a:pt x="794375" y="52206"/>
                </a:lnTo>
                <a:lnTo>
                  <a:pt x="817353" y="52206"/>
                </a:lnTo>
                <a:lnTo>
                  <a:pt x="817353" y="61195"/>
                </a:lnTo>
                <a:cubicBezTo>
                  <a:pt x="820118" y="58219"/>
                  <a:pt x="823745" y="55730"/>
                  <a:pt x="828236" y="53728"/>
                </a:cubicBezTo>
                <a:cubicBezTo>
                  <a:pt x="832727" y="51726"/>
                  <a:pt x="837706" y="50685"/>
                  <a:pt x="843172" y="50606"/>
                </a:cubicBezTo>
                <a:close/>
                <a:moveTo>
                  <a:pt x="994939" y="50006"/>
                </a:moveTo>
                <a:cubicBezTo>
                  <a:pt x="999307" y="50185"/>
                  <a:pt x="1002813" y="51776"/>
                  <a:pt x="1005457" y="54778"/>
                </a:cubicBezTo>
                <a:cubicBezTo>
                  <a:pt x="1008101" y="57780"/>
                  <a:pt x="1009459" y="61119"/>
                  <a:pt x="1009529" y="64796"/>
                </a:cubicBezTo>
                <a:cubicBezTo>
                  <a:pt x="1009459" y="69047"/>
                  <a:pt x="1008101" y="72736"/>
                  <a:pt x="1005457" y="75863"/>
                </a:cubicBezTo>
                <a:cubicBezTo>
                  <a:pt x="1002813" y="78990"/>
                  <a:pt x="999307" y="80631"/>
                  <a:pt x="994939" y="80785"/>
                </a:cubicBezTo>
                <a:cubicBezTo>
                  <a:pt x="989901" y="80631"/>
                  <a:pt x="985987" y="78990"/>
                  <a:pt x="983198" y="75863"/>
                </a:cubicBezTo>
                <a:cubicBezTo>
                  <a:pt x="980408" y="72736"/>
                  <a:pt x="978992" y="69047"/>
                  <a:pt x="978951" y="64796"/>
                </a:cubicBezTo>
                <a:cubicBezTo>
                  <a:pt x="978992" y="61119"/>
                  <a:pt x="980408" y="57780"/>
                  <a:pt x="983198" y="54778"/>
                </a:cubicBezTo>
                <a:cubicBezTo>
                  <a:pt x="985987" y="51776"/>
                  <a:pt x="989901" y="50185"/>
                  <a:pt x="994939" y="50006"/>
                </a:cubicBezTo>
                <a:close/>
                <a:moveTo>
                  <a:pt x="731594" y="50006"/>
                </a:moveTo>
                <a:cubicBezTo>
                  <a:pt x="743523" y="50171"/>
                  <a:pt x="753523" y="53986"/>
                  <a:pt x="761594" y="61449"/>
                </a:cubicBezTo>
                <a:cubicBezTo>
                  <a:pt x="769664" y="68913"/>
                  <a:pt x="773862" y="79034"/>
                  <a:pt x="774186" y="91811"/>
                </a:cubicBezTo>
                <a:cubicBezTo>
                  <a:pt x="774190" y="94566"/>
                  <a:pt x="774082" y="96908"/>
                  <a:pt x="773861" y="98837"/>
                </a:cubicBezTo>
                <a:cubicBezTo>
                  <a:pt x="773640" y="100767"/>
                  <a:pt x="773282" y="102559"/>
                  <a:pt x="772787" y="104213"/>
                </a:cubicBezTo>
                <a:lnTo>
                  <a:pt x="707777" y="104213"/>
                </a:lnTo>
                <a:cubicBezTo>
                  <a:pt x="708891" y="111039"/>
                  <a:pt x="711868" y="116239"/>
                  <a:pt x="716709" y="119815"/>
                </a:cubicBezTo>
                <a:cubicBezTo>
                  <a:pt x="721550" y="123390"/>
                  <a:pt x="727579" y="125191"/>
                  <a:pt x="734796" y="125216"/>
                </a:cubicBezTo>
                <a:cubicBezTo>
                  <a:pt x="740346" y="125136"/>
                  <a:pt x="745306" y="124295"/>
                  <a:pt x="749678" y="122690"/>
                </a:cubicBezTo>
                <a:cubicBezTo>
                  <a:pt x="754049" y="121086"/>
                  <a:pt x="757556" y="119194"/>
                  <a:pt x="760199" y="117014"/>
                </a:cubicBezTo>
                <a:lnTo>
                  <a:pt x="766793" y="133206"/>
                </a:lnTo>
                <a:cubicBezTo>
                  <a:pt x="762214" y="136993"/>
                  <a:pt x="756933" y="139807"/>
                  <a:pt x="750950" y="141646"/>
                </a:cubicBezTo>
                <a:cubicBezTo>
                  <a:pt x="744968" y="143486"/>
                  <a:pt x="738782" y="144401"/>
                  <a:pt x="732395" y="144393"/>
                </a:cubicBezTo>
                <a:cubicBezTo>
                  <a:pt x="717685" y="144202"/>
                  <a:pt x="705992" y="139889"/>
                  <a:pt x="697317" y="131454"/>
                </a:cubicBezTo>
                <a:cubicBezTo>
                  <a:pt x="688642" y="123018"/>
                  <a:pt x="684202" y="111604"/>
                  <a:pt x="683999" y="97212"/>
                </a:cubicBezTo>
                <a:cubicBezTo>
                  <a:pt x="684132" y="83771"/>
                  <a:pt x="688363" y="72625"/>
                  <a:pt x="696692" y="63774"/>
                </a:cubicBezTo>
                <a:cubicBezTo>
                  <a:pt x="705022" y="54923"/>
                  <a:pt x="716656" y="50334"/>
                  <a:pt x="731594" y="50006"/>
                </a:cubicBezTo>
                <a:close/>
                <a:moveTo>
                  <a:pt x="578180" y="50006"/>
                </a:moveTo>
                <a:cubicBezTo>
                  <a:pt x="585639" y="49989"/>
                  <a:pt x="592474" y="50972"/>
                  <a:pt x="598683" y="52953"/>
                </a:cubicBezTo>
                <a:cubicBezTo>
                  <a:pt x="604892" y="54934"/>
                  <a:pt x="610126" y="58015"/>
                  <a:pt x="614385" y="62194"/>
                </a:cubicBezTo>
                <a:lnTo>
                  <a:pt x="603583" y="80389"/>
                </a:lnTo>
                <a:cubicBezTo>
                  <a:pt x="600187" y="77133"/>
                  <a:pt x="596628" y="74840"/>
                  <a:pt x="592907" y="73510"/>
                </a:cubicBezTo>
                <a:cubicBezTo>
                  <a:pt x="589186" y="72180"/>
                  <a:pt x="585277" y="71538"/>
                  <a:pt x="581181" y="71584"/>
                </a:cubicBezTo>
                <a:cubicBezTo>
                  <a:pt x="574538" y="71663"/>
                  <a:pt x="568771" y="73956"/>
                  <a:pt x="563878" y="78463"/>
                </a:cubicBezTo>
                <a:cubicBezTo>
                  <a:pt x="558986" y="82970"/>
                  <a:pt x="556419" y="89215"/>
                  <a:pt x="556178" y="97199"/>
                </a:cubicBezTo>
                <a:cubicBezTo>
                  <a:pt x="556411" y="105279"/>
                  <a:pt x="559044" y="111583"/>
                  <a:pt x="564078" y="116111"/>
                </a:cubicBezTo>
                <a:cubicBezTo>
                  <a:pt x="569112" y="120639"/>
                  <a:pt x="575147" y="122940"/>
                  <a:pt x="582181" y="123015"/>
                </a:cubicBezTo>
                <a:cubicBezTo>
                  <a:pt x="587073" y="122957"/>
                  <a:pt x="591440" y="121923"/>
                  <a:pt x="595282" y="119913"/>
                </a:cubicBezTo>
                <a:cubicBezTo>
                  <a:pt x="599124" y="117904"/>
                  <a:pt x="602492" y="115269"/>
                  <a:pt x="605384" y="112008"/>
                </a:cubicBezTo>
                <a:lnTo>
                  <a:pt x="616185" y="128809"/>
                </a:lnTo>
                <a:cubicBezTo>
                  <a:pt x="612280" y="133916"/>
                  <a:pt x="607188" y="137787"/>
                  <a:pt x="600908" y="140422"/>
                </a:cubicBezTo>
                <a:cubicBezTo>
                  <a:pt x="594628" y="143057"/>
                  <a:pt x="587786" y="144380"/>
                  <a:pt x="580381" y="144393"/>
                </a:cubicBezTo>
                <a:cubicBezTo>
                  <a:pt x="565574" y="144202"/>
                  <a:pt x="553794" y="139888"/>
                  <a:pt x="545040" y="131451"/>
                </a:cubicBezTo>
                <a:cubicBezTo>
                  <a:pt x="536287" y="123014"/>
                  <a:pt x="531807" y="111597"/>
                  <a:pt x="531599" y="97199"/>
                </a:cubicBezTo>
                <a:cubicBezTo>
                  <a:pt x="531828" y="83764"/>
                  <a:pt x="536167" y="72622"/>
                  <a:pt x="544616" y="63772"/>
                </a:cubicBezTo>
                <a:cubicBezTo>
                  <a:pt x="553065" y="54923"/>
                  <a:pt x="564253" y="50334"/>
                  <a:pt x="578180" y="50006"/>
                </a:cubicBezTo>
                <a:close/>
                <a:moveTo>
                  <a:pt x="283919" y="50006"/>
                </a:moveTo>
                <a:cubicBezTo>
                  <a:pt x="295848" y="50171"/>
                  <a:pt x="305848" y="53986"/>
                  <a:pt x="313919" y="61449"/>
                </a:cubicBezTo>
                <a:cubicBezTo>
                  <a:pt x="321989" y="68913"/>
                  <a:pt x="326187" y="79034"/>
                  <a:pt x="326511" y="91811"/>
                </a:cubicBezTo>
                <a:cubicBezTo>
                  <a:pt x="326515" y="94566"/>
                  <a:pt x="326407" y="96908"/>
                  <a:pt x="326186" y="98837"/>
                </a:cubicBezTo>
                <a:cubicBezTo>
                  <a:pt x="325965" y="100767"/>
                  <a:pt x="325607" y="102559"/>
                  <a:pt x="325112" y="104213"/>
                </a:cubicBezTo>
                <a:lnTo>
                  <a:pt x="260102" y="104213"/>
                </a:lnTo>
                <a:cubicBezTo>
                  <a:pt x="261216" y="111039"/>
                  <a:pt x="264193" y="116239"/>
                  <a:pt x="269034" y="119815"/>
                </a:cubicBezTo>
                <a:cubicBezTo>
                  <a:pt x="273875" y="123390"/>
                  <a:pt x="279904" y="125191"/>
                  <a:pt x="287121" y="125216"/>
                </a:cubicBezTo>
                <a:cubicBezTo>
                  <a:pt x="292671" y="125136"/>
                  <a:pt x="297631" y="124295"/>
                  <a:pt x="302003" y="122690"/>
                </a:cubicBezTo>
                <a:cubicBezTo>
                  <a:pt x="306374" y="121086"/>
                  <a:pt x="309881" y="119194"/>
                  <a:pt x="312524" y="117014"/>
                </a:cubicBezTo>
                <a:lnTo>
                  <a:pt x="319118" y="133206"/>
                </a:lnTo>
                <a:cubicBezTo>
                  <a:pt x="314539" y="136993"/>
                  <a:pt x="309258" y="139807"/>
                  <a:pt x="303275" y="141646"/>
                </a:cubicBezTo>
                <a:cubicBezTo>
                  <a:pt x="297293" y="143486"/>
                  <a:pt x="291107" y="144401"/>
                  <a:pt x="284720" y="144393"/>
                </a:cubicBezTo>
                <a:cubicBezTo>
                  <a:pt x="270010" y="144202"/>
                  <a:pt x="258317" y="139889"/>
                  <a:pt x="249642" y="131454"/>
                </a:cubicBezTo>
                <a:cubicBezTo>
                  <a:pt x="240967" y="123018"/>
                  <a:pt x="236528" y="111604"/>
                  <a:pt x="236324" y="97212"/>
                </a:cubicBezTo>
                <a:cubicBezTo>
                  <a:pt x="236457" y="83771"/>
                  <a:pt x="240688" y="72625"/>
                  <a:pt x="249018" y="63774"/>
                </a:cubicBezTo>
                <a:cubicBezTo>
                  <a:pt x="257347" y="54923"/>
                  <a:pt x="268981" y="50334"/>
                  <a:pt x="283919" y="50006"/>
                </a:cubicBezTo>
                <a:close/>
                <a:moveTo>
                  <a:pt x="171018" y="50006"/>
                </a:moveTo>
                <a:cubicBezTo>
                  <a:pt x="186102" y="50284"/>
                  <a:pt x="197994" y="54773"/>
                  <a:pt x="206694" y="63472"/>
                </a:cubicBezTo>
                <a:cubicBezTo>
                  <a:pt x="215394" y="72172"/>
                  <a:pt x="219833" y="83414"/>
                  <a:pt x="220012" y="97199"/>
                </a:cubicBezTo>
                <a:cubicBezTo>
                  <a:pt x="219833" y="110985"/>
                  <a:pt x="215394" y="122227"/>
                  <a:pt x="206694" y="130927"/>
                </a:cubicBezTo>
                <a:cubicBezTo>
                  <a:pt x="197994" y="139626"/>
                  <a:pt x="186102" y="144115"/>
                  <a:pt x="171018" y="144393"/>
                </a:cubicBezTo>
                <a:cubicBezTo>
                  <a:pt x="155934" y="144115"/>
                  <a:pt x="144042" y="139626"/>
                  <a:pt x="135342" y="130927"/>
                </a:cubicBezTo>
                <a:cubicBezTo>
                  <a:pt x="126642" y="122227"/>
                  <a:pt x="122203" y="110985"/>
                  <a:pt x="122024" y="97199"/>
                </a:cubicBezTo>
                <a:cubicBezTo>
                  <a:pt x="122203" y="83414"/>
                  <a:pt x="126642" y="72172"/>
                  <a:pt x="135342" y="63472"/>
                </a:cubicBezTo>
                <a:cubicBezTo>
                  <a:pt x="144042" y="54773"/>
                  <a:pt x="155934" y="50284"/>
                  <a:pt x="171018" y="50006"/>
                </a:cubicBezTo>
                <a:close/>
                <a:moveTo>
                  <a:pt x="897150" y="27203"/>
                </a:moveTo>
                <a:lnTo>
                  <a:pt x="920128" y="27203"/>
                </a:lnTo>
                <a:lnTo>
                  <a:pt x="920128" y="52206"/>
                </a:lnTo>
                <a:lnTo>
                  <a:pt x="949131" y="52206"/>
                </a:lnTo>
                <a:lnTo>
                  <a:pt x="949131" y="73784"/>
                </a:lnTo>
                <a:lnTo>
                  <a:pt x="920128" y="73784"/>
                </a:lnTo>
                <a:lnTo>
                  <a:pt x="920128" y="106605"/>
                </a:lnTo>
                <a:cubicBezTo>
                  <a:pt x="920103" y="111571"/>
                  <a:pt x="920953" y="115498"/>
                  <a:pt x="922678" y="118387"/>
                </a:cubicBezTo>
                <a:cubicBezTo>
                  <a:pt x="924403" y="121277"/>
                  <a:pt x="927154" y="122753"/>
                  <a:pt x="930929" y="122815"/>
                </a:cubicBezTo>
                <a:cubicBezTo>
                  <a:pt x="934017" y="122749"/>
                  <a:pt x="936692" y="122181"/>
                  <a:pt x="938955" y="121114"/>
                </a:cubicBezTo>
                <a:cubicBezTo>
                  <a:pt x="941218" y="120047"/>
                  <a:pt x="943143" y="118879"/>
                  <a:pt x="944731" y="117612"/>
                </a:cubicBezTo>
                <a:lnTo>
                  <a:pt x="951732" y="135402"/>
                </a:lnTo>
                <a:cubicBezTo>
                  <a:pt x="948986" y="137691"/>
                  <a:pt x="945327" y="139706"/>
                  <a:pt x="940755" y="141446"/>
                </a:cubicBezTo>
                <a:cubicBezTo>
                  <a:pt x="936184" y="143186"/>
                  <a:pt x="930975" y="144101"/>
                  <a:pt x="925128" y="144193"/>
                </a:cubicBezTo>
                <a:cubicBezTo>
                  <a:pt x="915044" y="144123"/>
                  <a:pt x="907833" y="140967"/>
                  <a:pt x="903494" y="134725"/>
                </a:cubicBezTo>
                <a:cubicBezTo>
                  <a:pt x="899156" y="128483"/>
                  <a:pt x="897042" y="119577"/>
                  <a:pt x="897150" y="108006"/>
                </a:cubicBezTo>
                <a:close/>
                <a:moveTo>
                  <a:pt x="647839" y="6401"/>
                </a:moveTo>
                <a:cubicBezTo>
                  <a:pt x="651274" y="6446"/>
                  <a:pt x="654296" y="7654"/>
                  <a:pt x="656907" y="10023"/>
                </a:cubicBezTo>
                <a:cubicBezTo>
                  <a:pt x="659517" y="12392"/>
                  <a:pt x="660891" y="15648"/>
                  <a:pt x="661029" y="19790"/>
                </a:cubicBezTo>
                <a:cubicBezTo>
                  <a:pt x="660891" y="24412"/>
                  <a:pt x="659517" y="27959"/>
                  <a:pt x="656907" y="30432"/>
                </a:cubicBezTo>
                <a:cubicBezTo>
                  <a:pt x="654296" y="32905"/>
                  <a:pt x="651274" y="34154"/>
                  <a:pt x="647839" y="34179"/>
                </a:cubicBezTo>
                <a:cubicBezTo>
                  <a:pt x="643830" y="34154"/>
                  <a:pt x="640457" y="32905"/>
                  <a:pt x="637722" y="30432"/>
                </a:cubicBezTo>
                <a:cubicBezTo>
                  <a:pt x="634986" y="27959"/>
                  <a:pt x="633563" y="24412"/>
                  <a:pt x="633450" y="19790"/>
                </a:cubicBezTo>
                <a:cubicBezTo>
                  <a:pt x="633563" y="15648"/>
                  <a:pt x="634986" y="12392"/>
                  <a:pt x="637722" y="10023"/>
                </a:cubicBezTo>
                <a:cubicBezTo>
                  <a:pt x="640457" y="7654"/>
                  <a:pt x="643830" y="6446"/>
                  <a:pt x="647839" y="6401"/>
                </a:cubicBezTo>
                <a:close/>
                <a:moveTo>
                  <a:pt x="495439" y="6401"/>
                </a:moveTo>
                <a:cubicBezTo>
                  <a:pt x="498874" y="6446"/>
                  <a:pt x="501896" y="7654"/>
                  <a:pt x="504507" y="10023"/>
                </a:cubicBezTo>
                <a:cubicBezTo>
                  <a:pt x="507117" y="12392"/>
                  <a:pt x="508491" y="15648"/>
                  <a:pt x="508629" y="19790"/>
                </a:cubicBezTo>
                <a:cubicBezTo>
                  <a:pt x="508491" y="24412"/>
                  <a:pt x="507117" y="27959"/>
                  <a:pt x="504507" y="30432"/>
                </a:cubicBezTo>
                <a:cubicBezTo>
                  <a:pt x="501896" y="32905"/>
                  <a:pt x="498874" y="34154"/>
                  <a:pt x="495439" y="34179"/>
                </a:cubicBezTo>
                <a:cubicBezTo>
                  <a:pt x="491430" y="34154"/>
                  <a:pt x="488057" y="32905"/>
                  <a:pt x="485322" y="30432"/>
                </a:cubicBezTo>
                <a:cubicBezTo>
                  <a:pt x="482587" y="27959"/>
                  <a:pt x="481163" y="24412"/>
                  <a:pt x="481050" y="19790"/>
                </a:cubicBezTo>
                <a:cubicBezTo>
                  <a:pt x="481163" y="15648"/>
                  <a:pt x="482587" y="12392"/>
                  <a:pt x="485322" y="10023"/>
                </a:cubicBezTo>
                <a:cubicBezTo>
                  <a:pt x="488057" y="7654"/>
                  <a:pt x="491430" y="6446"/>
                  <a:pt x="495439" y="6401"/>
                </a:cubicBezTo>
                <a:close/>
                <a:moveTo>
                  <a:pt x="446354" y="0"/>
                </a:moveTo>
                <a:cubicBezTo>
                  <a:pt x="451842" y="50"/>
                  <a:pt x="456818" y="849"/>
                  <a:pt x="461281" y="2397"/>
                </a:cubicBezTo>
                <a:cubicBezTo>
                  <a:pt x="465744" y="3946"/>
                  <a:pt x="469170" y="5944"/>
                  <a:pt x="471557" y="8391"/>
                </a:cubicBezTo>
                <a:lnTo>
                  <a:pt x="463756" y="25982"/>
                </a:lnTo>
                <a:cubicBezTo>
                  <a:pt x="462219" y="24484"/>
                  <a:pt x="460293" y="23375"/>
                  <a:pt x="457981" y="22653"/>
                </a:cubicBezTo>
                <a:cubicBezTo>
                  <a:pt x="455668" y="21932"/>
                  <a:pt x="453193" y="21573"/>
                  <a:pt x="450555" y="21578"/>
                </a:cubicBezTo>
                <a:cubicBezTo>
                  <a:pt x="446592" y="21544"/>
                  <a:pt x="443416" y="22962"/>
                  <a:pt x="441029" y="25831"/>
                </a:cubicBezTo>
                <a:cubicBezTo>
                  <a:pt x="438641" y="28701"/>
                  <a:pt x="437416" y="33222"/>
                  <a:pt x="437353" y="39394"/>
                </a:cubicBezTo>
                <a:lnTo>
                  <a:pt x="437353" y="52206"/>
                </a:lnTo>
                <a:lnTo>
                  <a:pt x="461756" y="52206"/>
                </a:lnTo>
                <a:lnTo>
                  <a:pt x="461756" y="73784"/>
                </a:lnTo>
                <a:lnTo>
                  <a:pt x="437353" y="73784"/>
                </a:lnTo>
                <a:lnTo>
                  <a:pt x="437353" y="142193"/>
                </a:lnTo>
                <a:lnTo>
                  <a:pt x="414375" y="142193"/>
                </a:lnTo>
                <a:lnTo>
                  <a:pt x="414375" y="37593"/>
                </a:lnTo>
                <a:cubicBezTo>
                  <a:pt x="414458" y="25086"/>
                  <a:pt x="417289" y="15695"/>
                  <a:pt x="422868" y="9419"/>
                </a:cubicBezTo>
                <a:cubicBezTo>
                  <a:pt x="428447" y="3143"/>
                  <a:pt x="436276" y="3"/>
                  <a:pt x="446354" y="0"/>
                </a:cubicBezTo>
                <a:close/>
                <a:moveTo>
                  <a:pt x="379679" y="0"/>
                </a:moveTo>
                <a:cubicBezTo>
                  <a:pt x="385167" y="50"/>
                  <a:pt x="390143" y="849"/>
                  <a:pt x="394606" y="2397"/>
                </a:cubicBezTo>
                <a:cubicBezTo>
                  <a:pt x="399069" y="3946"/>
                  <a:pt x="402495" y="5944"/>
                  <a:pt x="404882" y="8391"/>
                </a:cubicBezTo>
                <a:lnTo>
                  <a:pt x="397081" y="25982"/>
                </a:lnTo>
                <a:cubicBezTo>
                  <a:pt x="395544" y="24484"/>
                  <a:pt x="393618" y="23375"/>
                  <a:pt x="391306" y="22653"/>
                </a:cubicBezTo>
                <a:cubicBezTo>
                  <a:pt x="388993" y="21932"/>
                  <a:pt x="386518" y="21573"/>
                  <a:pt x="383880" y="21578"/>
                </a:cubicBezTo>
                <a:cubicBezTo>
                  <a:pt x="379917" y="21544"/>
                  <a:pt x="376741" y="22962"/>
                  <a:pt x="374354" y="25831"/>
                </a:cubicBezTo>
                <a:cubicBezTo>
                  <a:pt x="371966" y="28701"/>
                  <a:pt x="370741" y="33222"/>
                  <a:pt x="370678" y="39394"/>
                </a:cubicBezTo>
                <a:lnTo>
                  <a:pt x="370678" y="52206"/>
                </a:lnTo>
                <a:lnTo>
                  <a:pt x="395081" y="52206"/>
                </a:lnTo>
                <a:lnTo>
                  <a:pt x="395081" y="73784"/>
                </a:lnTo>
                <a:lnTo>
                  <a:pt x="370678" y="73784"/>
                </a:lnTo>
                <a:lnTo>
                  <a:pt x="370678" y="142193"/>
                </a:lnTo>
                <a:lnTo>
                  <a:pt x="347700" y="142193"/>
                </a:lnTo>
                <a:lnTo>
                  <a:pt x="347700" y="37593"/>
                </a:lnTo>
                <a:cubicBezTo>
                  <a:pt x="347783" y="25086"/>
                  <a:pt x="350614" y="15695"/>
                  <a:pt x="356193" y="9419"/>
                </a:cubicBezTo>
                <a:cubicBezTo>
                  <a:pt x="361772" y="3143"/>
                  <a:pt x="369601" y="3"/>
                  <a:pt x="379679" y="0"/>
                </a:cubicBezTo>
                <a:close/>
                <a:moveTo>
                  <a:pt x="71584" y="0"/>
                </a:moveTo>
                <a:cubicBezTo>
                  <a:pt x="80747" y="66"/>
                  <a:pt x="88973" y="1382"/>
                  <a:pt x="96262" y="3946"/>
                </a:cubicBezTo>
                <a:cubicBezTo>
                  <a:pt x="103550" y="6510"/>
                  <a:pt x="109526" y="9924"/>
                  <a:pt x="114189" y="14186"/>
                </a:cubicBezTo>
                <a:lnTo>
                  <a:pt x="103188" y="32381"/>
                </a:lnTo>
                <a:cubicBezTo>
                  <a:pt x="99070" y="29538"/>
                  <a:pt x="94503" y="27271"/>
                  <a:pt x="89486" y="25578"/>
                </a:cubicBezTo>
                <a:cubicBezTo>
                  <a:pt x="84468" y="23886"/>
                  <a:pt x="78501" y="23019"/>
                  <a:pt x="71584" y="22978"/>
                </a:cubicBezTo>
                <a:cubicBezTo>
                  <a:pt x="58307" y="23128"/>
                  <a:pt x="47456" y="27529"/>
                  <a:pt x="39030" y="36183"/>
                </a:cubicBezTo>
                <a:cubicBezTo>
                  <a:pt x="30604" y="44836"/>
                  <a:pt x="26253" y="56840"/>
                  <a:pt x="25978" y="72196"/>
                </a:cubicBezTo>
                <a:cubicBezTo>
                  <a:pt x="26207" y="87027"/>
                  <a:pt x="30699" y="98881"/>
                  <a:pt x="39455" y="107760"/>
                </a:cubicBezTo>
                <a:cubicBezTo>
                  <a:pt x="48210" y="116638"/>
                  <a:pt x="59853" y="121190"/>
                  <a:pt x="74384" y="121415"/>
                </a:cubicBezTo>
                <a:cubicBezTo>
                  <a:pt x="80330" y="121411"/>
                  <a:pt x="86140" y="120469"/>
                  <a:pt x="91811" y="118589"/>
                </a:cubicBezTo>
                <a:cubicBezTo>
                  <a:pt x="97483" y="116709"/>
                  <a:pt x="102742" y="113916"/>
                  <a:pt x="107588" y="110211"/>
                </a:cubicBezTo>
                <a:lnTo>
                  <a:pt x="116989" y="128608"/>
                </a:lnTo>
                <a:cubicBezTo>
                  <a:pt x="112410" y="133374"/>
                  <a:pt x="106117" y="137179"/>
                  <a:pt x="98112" y="140022"/>
                </a:cubicBezTo>
                <a:cubicBezTo>
                  <a:pt x="90107" y="142865"/>
                  <a:pt x="81464" y="144322"/>
                  <a:pt x="72184" y="144393"/>
                </a:cubicBezTo>
                <a:cubicBezTo>
                  <a:pt x="50449" y="144111"/>
                  <a:pt x="33067" y="137530"/>
                  <a:pt x="20040" y="124651"/>
                </a:cubicBezTo>
                <a:cubicBezTo>
                  <a:pt x="7012" y="111772"/>
                  <a:pt x="332" y="94287"/>
                  <a:pt x="0" y="72196"/>
                </a:cubicBezTo>
                <a:cubicBezTo>
                  <a:pt x="28" y="58644"/>
                  <a:pt x="2791" y="46447"/>
                  <a:pt x="8291" y="35605"/>
                </a:cubicBezTo>
                <a:cubicBezTo>
                  <a:pt x="13790" y="24763"/>
                  <a:pt x="21856" y="16155"/>
                  <a:pt x="32489" y="9781"/>
                </a:cubicBezTo>
                <a:cubicBezTo>
                  <a:pt x="43122" y="3407"/>
                  <a:pt x="56154" y="146"/>
                  <a:pt x="71584" y="0"/>
                </a:cubicBez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uk-UA" dirty="0"/>
          </a:p>
        </p:txBody>
      </p:sp>
      <p:grpSp>
        <p:nvGrpSpPr>
          <p:cNvPr id="232" name="Групувати 231">
            <a:extLst>
              <a:ext uri="{FF2B5EF4-FFF2-40B4-BE49-F238E27FC236}">
                <a16:creationId xmlns:a16="http://schemas.microsoft.com/office/drawing/2014/main" id="{3A659D73-B399-4E96-5BBF-848792C59969}"/>
              </a:ext>
            </a:extLst>
          </p:cNvPr>
          <p:cNvGrpSpPr/>
          <p:nvPr/>
        </p:nvGrpSpPr>
        <p:grpSpPr>
          <a:xfrm>
            <a:off x="281672" y="822582"/>
            <a:ext cx="12176289" cy="3204389"/>
            <a:chOff x="29488" y="850226"/>
            <a:chExt cx="12176289" cy="3204389"/>
          </a:xfrm>
        </p:grpSpPr>
        <p:sp>
          <p:nvSpPr>
            <p:cNvPr id="177" name="Прямокутник: округлені кути 176">
              <a:extLst>
                <a:ext uri="{FF2B5EF4-FFF2-40B4-BE49-F238E27FC236}">
                  <a16:creationId xmlns:a16="http://schemas.microsoft.com/office/drawing/2014/main" id="{0F2E6F28-2EE7-DE86-1D5E-BA48F89A0FD9}"/>
                </a:ext>
              </a:extLst>
            </p:cNvPr>
            <p:cNvSpPr/>
            <p:nvPr/>
          </p:nvSpPr>
          <p:spPr>
            <a:xfrm>
              <a:off x="3014658" y="1007916"/>
              <a:ext cx="6311228" cy="2412458"/>
            </a:xfrm>
            <a:prstGeom prst="roundRect">
              <a:avLst>
                <a:gd name="adj" fmla="val 29188"/>
              </a:avLst>
            </a:prstGeom>
            <a:solidFill>
              <a:schemeClr val="bg1">
                <a:alpha val="64000"/>
              </a:schemeClr>
            </a:solidFill>
            <a:ln w="19050">
              <a:solidFill>
                <a:schemeClr val="bg2">
                  <a:lumMod val="90000"/>
                </a:schemeClr>
              </a:solidFill>
              <a:prstDash val="lg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3200" dirty="0">
                <a:ln>
                  <a:solidFill>
                    <a:srgbClr val="82C0E9"/>
                  </a:solidFill>
                </a:ln>
              </a:endParaRPr>
            </a:p>
          </p:txBody>
        </p:sp>
        <p:grpSp>
          <p:nvGrpSpPr>
            <p:cNvPr id="178" name="Групувати 177">
              <a:extLst>
                <a:ext uri="{FF2B5EF4-FFF2-40B4-BE49-F238E27FC236}">
                  <a16:creationId xmlns:a16="http://schemas.microsoft.com/office/drawing/2014/main" id="{963FF9DC-A20C-767B-EC5C-3ADA2BCD4BA7}"/>
                </a:ext>
              </a:extLst>
            </p:cNvPr>
            <p:cNvGrpSpPr/>
            <p:nvPr/>
          </p:nvGrpSpPr>
          <p:grpSpPr>
            <a:xfrm>
              <a:off x="4697246" y="1019656"/>
              <a:ext cx="2720696" cy="933394"/>
              <a:chOff x="10375640" y="4990325"/>
              <a:chExt cx="1744301" cy="836466"/>
            </a:xfrm>
          </p:grpSpPr>
          <p:sp>
            <p:nvSpPr>
              <p:cNvPr id="204" name="object 9">
                <a:extLst>
                  <a:ext uri="{FF2B5EF4-FFF2-40B4-BE49-F238E27FC236}">
                    <a16:creationId xmlns:a16="http://schemas.microsoft.com/office/drawing/2014/main" id="{F20328DC-E70B-0AEF-9755-0738EA32C37E}"/>
                  </a:ext>
                </a:extLst>
              </p:cNvPr>
              <p:cNvSpPr/>
              <p:nvPr/>
            </p:nvSpPr>
            <p:spPr>
              <a:xfrm>
                <a:off x="10375640" y="5252792"/>
                <a:ext cx="1118646" cy="573999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81612" tIns="40806" rIns="81612" bIns="40806" anchor="t">
                <a:spAutoFit/>
              </a:bodyPr>
              <a:lstStyle/>
              <a:p>
                <a:pPr marL="10120">
                  <a:lnSpc>
                    <a:spcPts val="3822"/>
                  </a:lnSpc>
                  <a:spcBef>
                    <a:spcPts val="80"/>
                  </a:spcBef>
                </a:pPr>
                <a:r>
                  <a:rPr lang="en-US" sz="6600" b="1" spc="-1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1.</a:t>
                </a:r>
                <a:r>
                  <a:rPr lang="uk-UA" sz="6600" b="1" spc="-1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8</a:t>
                </a:r>
                <a:endParaRPr lang="ru-RU" sz="4400" b="1" spc="-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5" name="object 9">
                <a:extLst>
                  <a:ext uri="{FF2B5EF4-FFF2-40B4-BE49-F238E27FC236}">
                    <a16:creationId xmlns:a16="http://schemas.microsoft.com/office/drawing/2014/main" id="{DE7990AC-311D-C703-ECA8-B3DB60D74803}"/>
                  </a:ext>
                </a:extLst>
              </p:cNvPr>
              <p:cNvSpPr/>
              <p:nvPr/>
            </p:nvSpPr>
            <p:spPr>
              <a:xfrm>
                <a:off x="11258979" y="5252813"/>
                <a:ext cx="860962" cy="464132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81612" tIns="40806" rIns="81612" bIns="40806" anchor="t">
                <a:spAutoFit/>
              </a:bodyPr>
              <a:lstStyle/>
              <a:p>
                <a:pPr marL="10120">
                  <a:lnSpc>
                    <a:spcPts val="3822"/>
                  </a:lnSpc>
                  <a:spcBef>
                    <a:spcPts val="80"/>
                  </a:spcBef>
                </a:pPr>
                <a:r>
                  <a:rPr lang="en-US" sz="2400" b="1" spc="-1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MWh</a:t>
                </a:r>
                <a:endParaRPr lang="ru-RU" sz="2400" b="1" spc="-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6" name="object 9">
                <a:extLst>
                  <a:ext uri="{FF2B5EF4-FFF2-40B4-BE49-F238E27FC236}">
                    <a16:creationId xmlns:a16="http://schemas.microsoft.com/office/drawing/2014/main" id="{B8E2FD6E-E2AC-25FF-7DEB-572642E4D875}"/>
                  </a:ext>
                </a:extLst>
              </p:cNvPr>
              <p:cNvSpPr/>
              <p:nvPr/>
            </p:nvSpPr>
            <p:spPr>
              <a:xfrm>
                <a:off x="11252081" y="4990325"/>
                <a:ext cx="787295" cy="464132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81612" tIns="40806" rIns="81612" bIns="40806" anchor="t">
                <a:spAutoFit/>
              </a:bodyPr>
              <a:lstStyle/>
              <a:p>
                <a:pPr marL="10120">
                  <a:lnSpc>
                    <a:spcPts val="3822"/>
                  </a:lnSpc>
                  <a:spcBef>
                    <a:spcPts val="80"/>
                  </a:spcBef>
                </a:pPr>
                <a:r>
                  <a:rPr lang="en-US" sz="2400" b="1" spc="-1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euro</a:t>
                </a:r>
              </a:p>
            </p:txBody>
          </p:sp>
        </p:grpSp>
        <p:grpSp>
          <p:nvGrpSpPr>
            <p:cNvPr id="182" name="Групувати 181">
              <a:extLst>
                <a:ext uri="{FF2B5EF4-FFF2-40B4-BE49-F238E27FC236}">
                  <a16:creationId xmlns:a16="http://schemas.microsoft.com/office/drawing/2014/main" id="{F61E0C07-C670-7DCC-08C5-EF85C864A059}"/>
                </a:ext>
              </a:extLst>
            </p:cNvPr>
            <p:cNvGrpSpPr/>
            <p:nvPr/>
          </p:nvGrpSpPr>
          <p:grpSpPr>
            <a:xfrm>
              <a:off x="3187707" y="2715328"/>
              <a:ext cx="6074544" cy="584775"/>
              <a:chOff x="3242933" y="2956220"/>
              <a:chExt cx="6074544" cy="584775"/>
            </a:xfrm>
          </p:grpSpPr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3A93FA8E-4ED2-EC18-588A-A7AC22535FFD}"/>
                  </a:ext>
                </a:extLst>
              </p:cNvPr>
              <p:cNvSpPr txBox="1"/>
              <p:nvPr/>
            </p:nvSpPr>
            <p:spPr>
              <a:xfrm>
                <a:off x="3242933" y="2958795"/>
                <a:ext cx="1132490" cy="36933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spc="-1" dirty="0">
                    <a:solidFill>
                      <a:schemeClr val="bg2">
                        <a:lumMod val="25000"/>
                      </a:schemeClr>
                    </a:solidFill>
                    <a:latin typeface="Arial"/>
                  </a:rPr>
                  <a:t>injection</a:t>
                </a:r>
                <a:endParaRPr lang="uk-UA" b="1" spc="-1" dirty="0">
                  <a:solidFill>
                    <a:schemeClr val="bg2">
                      <a:lumMod val="25000"/>
                    </a:schemeClr>
                  </a:solidFill>
                  <a:latin typeface="Arial"/>
                </a:endParaRP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C4420863-A64D-3995-BC03-1630C9091AE8}"/>
                  </a:ext>
                </a:extLst>
              </p:cNvPr>
              <p:cNvSpPr txBox="1"/>
              <p:nvPr/>
            </p:nvSpPr>
            <p:spPr>
              <a:xfrm>
                <a:off x="5450343" y="2956220"/>
                <a:ext cx="1414362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b="1" spc="-1" dirty="0">
                    <a:solidFill>
                      <a:schemeClr val="bg2">
                        <a:lumMod val="25000"/>
                      </a:schemeClr>
                    </a:solidFill>
                    <a:latin typeface="Arial"/>
                  </a:rPr>
                  <a:t>storage fee</a:t>
                </a:r>
              </a:p>
              <a:p>
                <a:pPr algn="ctr"/>
                <a:r>
                  <a:rPr lang="en-US" sz="1400" b="1" spc="-1" dirty="0">
                    <a:solidFill>
                      <a:schemeClr val="bg2">
                        <a:lumMod val="25000"/>
                      </a:schemeClr>
                    </a:solidFill>
                    <a:latin typeface="Arial"/>
                  </a:rPr>
                  <a:t>for a month</a:t>
                </a:r>
                <a:endParaRPr lang="uk-UA" sz="1400" b="1" spc="-1" dirty="0">
                  <a:solidFill>
                    <a:schemeClr val="bg2">
                      <a:lumMod val="25000"/>
                    </a:schemeClr>
                  </a:solidFill>
                  <a:latin typeface="Arial"/>
                </a:endParaRPr>
              </a:p>
            </p:txBody>
          </p:sp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9A71D261-7044-CF3F-1AB0-02B1450F0493}"/>
                  </a:ext>
                </a:extLst>
              </p:cNvPr>
              <p:cNvSpPr txBox="1"/>
              <p:nvPr/>
            </p:nvSpPr>
            <p:spPr>
              <a:xfrm>
                <a:off x="7756170" y="2972426"/>
                <a:ext cx="1561307" cy="3693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1100" b="1" spc="-1">
                    <a:solidFill>
                      <a:schemeClr val="bg2">
                        <a:lumMod val="25000"/>
                      </a:schemeClr>
                    </a:solidFill>
                    <a:latin typeface="Arial"/>
                  </a:defRPr>
                </a:lvl1pPr>
              </a:lstStyle>
              <a:p>
                <a:pPr algn="ctr"/>
                <a:r>
                  <a:rPr lang="en-US" sz="1800" dirty="0"/>
                  <a:t>withdrawal </a:t>
                </a:r>
                <a:endParaRPr lang="uk-UA" sz="1800" dirty="0"/>
              </a:p>
            </p:txBody>
          </p:sp>
        </p:grpSp>
        <p:grpSp>
          <p:nvGrpSpPr>
            <p:cNvPr id="186" name="Групувати 185">
              <a:extLst>
                <a:ext uri="{FF2B5EF4-FFF2-40B4-BE49-F238E27FC236}">
                  <a16:creationId xmlns:a16="http://schemas.microsoft.com/office/drawing/2014/main" id="{5AB8262C-E9F6-455B-7D51-A9F09B363DF0}"/>
                </a:ext>
              </a:extLst>
            </p:cNvPr>
            <p:cNvGrpSpPr/>
            <p:nvPr/>
          </p:nvGrpSpPr>
          <p:grpSpPr>
            <a:xfrm>
              <a:off x="5283124" y="2006895"/>
              <a:ext cx="1526810" cy="734088"/>
              <a:chOff x="5430112" y="2347569"/>
              <a:chExt cx="1526810" cy="734088"/>
            </a:xfrm>
          </p:grpSpPr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1F837F8F-E64A-B1D2-1DDA-48A1025FD120}"/>
                  </a:ext>
                </a:extLst>
              </p:cNvPr>
              <p:cNvSpPr txBox="1"/>
              <p:nvPr/>
            </p:nvSpPr>
            <p:spPr>
              <a:xfrm>
                <a:off x="5430112" y="2496883"/>
                <a:ext cx="981359" cy="5847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200" b="1" dirty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04</a:t>
                </a:r>
                <a:endParaRPr lang="uk-UA" sz="32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88" name="Групувати 187">
                <a:extLst>
                  <a:ext uri="{FF2B5EF4-FFF2-40B4-BE49-F238E27FC236}">
                    <a16:creationId xmlns:a16="http://schemas.microsoft.com/office/drawing/2014/main" id="{1C07FD2C-A1A8-A099-34C0-9A2A23EE8233}"/>
                  </a:ext>
                </a:extLst>
              </p:cNvPr>
              <p:cNvGrpSpPr/>
              <p:nvPr/>
            </p:nvGrpSpPr>
            <p:grpSpPr>
              <a:xfrm>
                <a:off x="6273591" y="2347569"/>
                <a:ext cx="683331" cy="675242"/>
                <a:chOff x="5452886" y="1393705"/>
                <a:chExt cx="1353659" cy="1060512"/>
              </a:xfrm>
            </p:grpSpPr>
            <p:sp>
              <p:nvSpPr>
                <p:cNvPr id="189" name="object 9">
                  <a:extLst>
                    <a:ext uri="{FF2B5EF4-FFF2-40B4-BE49-F238E27FC236}">
                      <a16:creationId xmlns:a16="http://schemas.microsoft.com/office/drawing/2014/main" id="{9D5E36FE-C9BA-B7B1-8E20-1BAA4C937E0E}"/>
                    </a:ext>
                  </a:extLst>
                </p:cNvPr>
                <p:cNvSpPr/>
                <p:nvPr/>
              </p:nvSpPr>
              <p:spPr>
                <a:xfrm>
                  <a:off x="5463649" y="1686620"/>
                  <a:ext cx="1342896" cy="767597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81612" tIns="40806" rIns="81612" bIns="40806" anchor="t">
                  <a:spAutoFit/>
                </a:bodyPr>
                <a:lstStyle/>
                <a:p>
                  <a:pPr marL="10120">
                    <a:lnSpc>
                      <a:spcPts val="3822"/>
                    </a:lnSpc>
                    <a:spcBef>
                      <a:spcPts val="80"/>
                    </a:spcBef>
                  </a:pPr>
                  <a:r>
                    <a:rPr lang="en-US" sz="1400" b="1" spc="-11" dirty="0">
                      <a:solidFill>
                        <a:schemeClr val="bg2">
                          <a:lumMod val="2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MWh</a:t>
                  </a:r>
                  <a:endParaRPr lang="ru-RU" sz="1400" b="1" spc="-1" dirty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0" name="object 9">
                  <a:extLst>
                    <a:ext uri="{FF2B5EF4-FFF2-40B4-BE49-F238E27FC236}">
                      <a16:creationId xmlns:a16="http://schemas.microsoft.com/office/drawing/2014/main" id="{BA117117-91A3-6834-47F9-BB98BD4A68D2}"/>
                    </a:ext>
                  </a:extLst>
                </p:cNvPr>
                <p:cNvSpPr/>
                <p:nvPr/>
              </p:nvSpPr>
              <p:spPr>
                <a:xfrm>
                  <a:off x="5452886" y="1393705"/>
                  <a:ext cx="1227992" cy="767597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81612" tIns="40806" rIns="81612" bIns="40806" anchor="t">
                  <a:spAutoFit/>
                </a:bodyPr>
                <a:lstStyle/>
                <a:p>
                  <a:pPr marL="10120">
                    <a:lnSpc>
                      <a:spcPts val="3822"/>
                    </a:lnSpc>
                    <a:spcBef>
                      <a:spcPts val="80"/>
                    </a:spcBef>
                  </a:pPr>
                  <a:r>
                    <a:rPr lang="en-US" sz="1400" b="1" spc="-11" dirty="0">
                      <a:solidFill>
                        <a:schemeClr val="bg2">
                          <a:lumMod val="2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euro</a:t>
                  </a:r>
                </a:p>
              </p:txBody>
            </p:sp>
          </p:grpSp>
        </p:grpSp>
        <p:sp>
          <p:nvSpPr>
            <p:cNvPr id="226" name="Прямокутник 225">
              <a:extLst>
                <a:ext uri="{FF2B5EF4-FFF2-40B4-BE49-F238E27FC236}">
                  <a16:creationId xmlns:a16="http://schemas.microsoft.com/office/drawing/2014/main" id="{066677B2-F834-661F-CABF-1BAED85B3523}"/>
                </a:ext>
              </a:extLst>
            </p:cNvPr>
            <p:cNvSpPr/>
            <p:nvPr/>
          </p:nvSpPr>
          <p:spPr>
            <a:xfrm flipH="1">
              <a:off x="7237641" y="850226"/>
              <a:ext cx="4968136" cy="1864571"/>
            </a:xfrm>
            <a:custGeom>
              <a:avLst/>
              <a:gdLst>
                <a:gd name="connsiteX0" fmla="*/ 0 w 4699615"/>
                <a:gd name="connsiteY0" fmla="*/ 0 h 914400"/>
                <a:gd name="connsiteX1" fmla="*/ 4699615 w 4699615"/>
                <a:gd name="connsiteY1" fmla="*/ 0 h 914400"/>
                <a:gd name="connsiteX2" fmla="*/ 4699615 w 4699615"/>
                <a:gd name="connsiteY2" fmla="*/ 914400 h 914400"/>
                <a:gd name="connsiteX3" fmla="*/ 0 w 4699615"/>
                <a:gd name="connsiteY3" fmla="*/ 914400 h 914400"/>
                <a:gd name="connsiteX4" fmla="*/ 0 w 4699615"/>
                <a:gd name="connsiteY4" fmla="*/ 0 h 914400"/>
                <a:gd name="connsiteX0" fmla="*/ 0 w 4915515"/>
                <a:gd name="connsiteY0" fmla="*/ 0 h 1943100"/>
                <a:gd name="connsiteX1" fmla="*/ 4699615 w 4915515"/>
                <a:gd name="connsiteY1" fmla="*/ 0 h 1943100"/>
                <a:gd name="connsiteX2" fmla="*/ 4915515 w 4915515"/>
                <a:gd name="connsiteY2" fmla="*/ 1943100 h 1943100"/>
                <a:gd name="connsiteX3" fmla="*/ 0 w 4915515"/>
                <a:gd name="connsiteY3" fmla="*/ 914400 h 1943100"/>
                <a:gd name="connsiteX4" fmla="*/ 0 w 49155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53615"/>
                <a:gd name="connsiteY0" fmla="*/ 0 h 1943100"/>
                <a:gd name="connsiteX1" fmla="*/ 4953615 w 4953615"/>
                <a:gd name="connsiteY1" fmla="*/ 1295400 h 1943100"/>
                <a:gd name="connsiteX2" fmla="*/ 4915515 w 4953615"/>
                <a:gd name="connsiteY2" fmla="*/ 1943100 h 1943100"/>
                <a:gd name="connsiteX3" fmla="*/ 0 w 4953615"/>
                <a:gd name="connsiteY3" fmla="*/ 914400 h 1943100"/>
                <a:gd name="connsiteX4" fmla="*/ 0 w 4953615"/>
                <a:gd name="connsiteY4" fmla="*/ 0 h 1943100"/>
                <a:gd name="connsiteX0" fmla="*/ 0 w 4953615"/>
                <a:gd name="connsiteY0" fmla="*/ 0 h 1943100"/>
                <a:gd name="connsiteX1" fmla="*/ 4953615 w 4953615"/>
                <a:gd name="connsiteY1" fmla="*/ 1295400 h 1943100"/>
                <a:gd name="connsiteX2" fmla="*/ 4915515 w 4953615"/>
                <a:gd name="connsiteY2" fmla="*/ 1943100 h 1943100"/>
                <a:gd name="connsiteX3" fmla="*/ 0 w 4953615"/>
                <a:gd name="connsiteY3" fmla="*/ 914400 h 1943100"/>
                <a:gd name="connsiteX4" fmla="*/ 0 w 4953615"/>
                <a:gd name="connsiteY4" fmla="*/ 0 h 1943100"/>
                <a:gd name="connsiteX0" fmla="*/ 0 w 4953615"/>
                <a:gd name="connsiteY0" fmla="*/ 0 h 1854200"/>
                <a:gd name="connsiteX1" fmla="*/ 4953615 w 4953615"/>
                <a:gd name="connsiteY1" fmla="*/ 1295400 h 1854200"/>
                <a:gd name="connsiteX2" fmla="*/ 4890115 w 4953615"/>
                <a:gd name="connsiteY2" fmla="*/ 1854200 h 1854200"/>
                <a:gd name="connsiteX3" fmla="*/ 0 w 4953615"/>
                <a:gd name="connsiteY3" fmla="*/ 914400 h 1854200"/>
                <a:gd name="connsiteX4" fmla="*/ 0 w 4953615"/>
                <a:gd name="connsiteY4" fmla="*/ 0 h 1854200"/>
                <a:gd name="connsiteX0" fmla="*/ 0 w 4953615"/>
                <a:gd name="connsiteY0" fmla="*/ 0 h 1864571"/>
                <a:gd name="connsiteX1" fmla="*/ 4953615 w 4953615"/>
                <a:gd name="connsiteY1" fmla="*/ 1295400 h 1864571"/>
                <a:gd name="connsiteX2" fmla="*/ 4890115 w 4953615"/>
                <a:gd name="connsiteY2" fmla="*/ 1854200 h 1864571"/>
                <a:gd name="connsiteX3" fmla="*/ 0 w 4953615"/>
                <a:gd name="connsiteY3" fmla="*/ 914400 h 1864571"/>
                <a:gd name="connsiteX4" fmla="*/ 0 w 4953615"/>
                <a:gd name="connsiteY4" fmla="*/ 0 h 1864571"/>
                <a:gd name="connsiteX0" fmla="*/ 0 w 4890115"/>
                <a:gd name="connsiteY0" fmla="*/ 0 h 1864571"/>
                <a:gd name="connsiteX1" fmla="*/ 4890115 w 4890115"/>
                <a:gd name="connsiteY1" fmla="*/ 1308100 h 1864571"/>
                <a:gd name="connsiteX2" fmla="*/ 4890115 w 4890115"/>
                <a:gd name="connsiteY2" fmla="*/ 1854200 h 1864571"/>
                <a:gd name="connsiteX3" fmla="*/ 0 w 4890115"/>
                <a:gd name="connsiteY3" fmla="*/ 914400 h 1864571"/>
                <a:gd name="connsiteX4" fmla="*/ 0 w 4890115"/>
                <a:gd name="connsiteY4" fmla="*/ 0 h 1864571"/>
                <a:gd name="connsiteX0" fmla="*/ 0 w 4890115"/>
                <a:gd name="connsiteY0" fmla="*/ 0 h 1864571"/>
                <a:gd name="connsiteX1" fmla="*/ 4890115 w 4890115"/>
                <a:gd name="connsiteY1" fmla="*/ 1308100 h 1864571"/>
                <a:gd name="connsiteX2" fmla="*/ 4890115 w 4890115"/>
                <a:gd name="connsiteY2" fmla="*/ 1854200 h 1864571"/>
                <a:gd name="connsiteX3" fmla="*/ 0 w 4890115"/>
                <a:gd name="connsiteY3" fmla="*/ 914400 h 1864571"/>
                <a:gd name="connsiteX4" fmla="*/ 0 w 4890115"/>
                <a:gd name="connsiteY4" fmla="*/ 0 h 186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0115" h="1864571">
                  <a:moveTo>
                    <a:pt x="0" y="0"/>
                  </a:moveTo>
                  <a:cubicBezTo>
                    <a:pt x="732572" y="986367"/>
                    <a:pt x="1922343" y="1540933"/>
                    <a:pt x="4890115" y="1308100"/>
                  </a:cubicBezTo>
                  <a:lnTo>
                    <a:pt x="4890115" y="1854200"/>
                  </a:lnTo>
                  <a:cubicBezTo>
                    <a:pt x="3073810" y="1803400"/>
                    <a:pt x="1359105" y="2159000"/>
                    <a:pt x="0" y="91440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E3A8"/>
                </a:gs>
                <a:gs pos="6000">
                  <a:schemeClr val="bg1">
                    <a:alpha val="0"/>
                  </a:schemeClr>
                </a:gs>
                <a:gs pos="58000">
                  <a:srgbClr val="FFF7E3"/>
                </a:gs>
                <a:gs pos="75000">
                  <a:srgbClr val="FEF4D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27" name="Прямокутник 225">
              <a:extLst>
                <a:ext uri="{FF2B5EF4-FFF2-40B4-BE49-F238E27FC236}">
                  <a16:creationId xmlns:a16="http://schemas.microsoft.com/office/drawing/2014/main" id="{412E5BEF-0173-354C-C31A-71B60B45EDB8}"/>
                </a:ext>
              </a:extLst>
            </p:cNvPr>
            <p:cNvSpPr/>
            <p:nvPr/>
          </p:nvSpPr>
          <p:spPr>
            <a:xfrm rot="10800000" flipH="1">
              <a:off x="29488" y="2190044"/>
              <a:ext cx="4968136" cy="1864571"/>
            </a:xfrm>
            <a:custGeom>
              <a:avLst/>
              <a:gdLst>
                <a:gd name="connsiteX0" fmla="*/ 0 w 4699615"/>
                <a:gd name="connsiteY0" fmla="*/ 0 h 914400"/>
                <a:gd name="connsiteX1" fmla="*/ 4699615 w 4699615"/>
                <a:gd name="connsiteY1" fmla="*/ 0 h 914400"/>
                <a:gd name="connsiteX2" fmla="*/ 4699615 w 4699615"/>
                <a:gd name="connsiteY2" fmla="*/ 914400 h 914400"/>
                <a:gd name="connsiteX3" fmla="*/ 0 w 4699615"/>
                <a:gd name="connsiteY3" fmla="*/ 914400 h 914400"/>
                <a:gd name="connsiteX4" fmla="*/ 0 w 4699615"/>
                <a:gd name="connsiteY4" fmla="*/ 0 h 914400"/>
                <a:gd name="connsiteX0" fmla="*/ 0 w 4915515"/>
                <a:gd name="connsiteY0" fmla="*/ 0 h 1943100"/>
                <a:gd name="connsiteX1" fmla="*/ 4699615 w 4915515"/>
                <a:gd name="connsiteY1" fmla="*/ 0 h 1943100"/>
                <a:gd name="connsiteX2" fmla="*/ 4915515 w 4915515"/>
                <a:gd name="connsiteY2" fmla="*/ 1943100 h 1943100"/>
                <a:gd name="connsiteX3" fmla="*/ 0 w 4915515"/>
                <a:gd name="connsiteY3" fmla="*/ 914400 h 1943100"/>
                <a:gd name="connsiteX4" fmla="*/ 0 w 49155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40915"/>
                <a:gd name="connsiteY0" fmla="*/ 0 h 1943100"/>
                <a:gd name="connsiteX1" fmla="*/ 4940915 w 4940915"/>
                <a:gd name="connsiteY1" fmla="*/ 1397000 h 1943100"/>
                <a:gd name="connsiteX2" fmla="*/ 4915515 w 4940915"/>
                <a:gd name="connsiteY2" fmla="*/ 1943100 h 1943100"/>
                <a:gd name="connsiteX3" fmla="*/ 0 w 4940915"/>
                <a:gd name="connsiteY3" fmla="*/ 914400 h 1943100"/>
                <a:gd name="connsiteX4" fmla="*/ 0 w 4940915"/>
                <a:gd name="connsiteY4" fmla="*/ 0 h 1943100"/>
                <a:gd name="connsiteX0" fmla="*/ 0 w 4953615"/>
                <a:gd name="connsiteY0" fmla="*/ 0 h 1943100"/>
                <a:gd name="connsiteX1" fmla="*/ 4953615 w 4953615"/>
                <a:gd name="connsiteY1" fmla="*/ 1295400 h 1943100"/>
                <a:gd name="connsiteX2" fmla="*/ 4915515 w 4953615"/>
                <a:gd name="connsiteY2" fmla="*/ 1943100 h 1943100"/>
                <a:gd name="connsiteX3" fmla="*/ 0 w 4953615"/>
                <a:gd name="connsiteY3" fmla="*/ 914400 h 1943100"/>
                <a:gd name="connsiteX4" fmla="*/ 0 w 4953615"/>
                <a:gd name="connsiteY4" fmla="*/ 0 h 1943100"/>
                <a:gd name="connsiteX0" fmla="*/ 0 w 4953615"/>
                <a:gd name="connsiteY0" fmla="*/ 0 h 1943100"/>
                <a:gd name="connsiteX1" fmla="*/ 4953615 w 4953615"/>
                <a:gd name="connsiteY1" fmla="*/ 1295400 h 1943100"/>
                <a:gd name="connsiteX2" fmla="*/ 4915515 w 4953615"/>
                <a:gd name="connsiteY2" fmla="*/ 1943100 h 1943100"/>
                <a:gd name="connsiteX3" fmla="*/ 0 w 4953615"/>
                <a:gd name="connsiteY3" fmla="*/ 914400 h 1943100"/>
                <a:gd name="connsiteX4" fmla="*/ 0 w 4953615"/>
                <a:gd name="connsiteY4" fmla="*/ 0 h 1943100"/>
                <a:gd name="connsiteX0" fmla="*/ 0 w 4953615"/>
                <a:gd name="connsiteY0" fmla="*/ 0 h 1854200"/>
                <a:gd name="connsiteX1" fmla="*/ 4953615 w 4953615"/>
                <a:gd name="connsiteY1" fmla="*/ 1295400 h 1854200"/>
                <a:gd name="connsiteX2" fmla="*/ 4890115 w 4953615"/>
                <a:gd name="connsiteY2" fmla="*/ 1854200 h 1854200"/>
                <a:gd name="connsiteX3" fmla="*/ 0 w 4953615"/>
                <a:gd name="connsiteY3" fmla="*/ 914400 h 1854200"/>
                <a:gd name="connsiteX4" fmla="*/ 0 w 4953615"/>
                <a:gd name="connsiteY4" fmla="*/ 0 h 1854200"/>
                <a:gd name="connsiteX0" fmla="*/ 0 w 4953615"/>
                <a:gd name="connsiteY0" fmla="*/ 0 h 1864571"/>
                <a:gd name="connsiteX1" fmla="*/ 4953615 w 4953615"/>
                <a:gd name="connsiteY1" fmla="*/ 1295400 h 1864571"/>
                <a:gd name="connsiteX2" fmla="*/ 4890115 w 4953615"/>
                <a:gd name="connsiteY2" fmla="*/ 1854200 h 1864571"/>
                <a:gd name="connsiteX3" fmla="*/ 0 w 4953615"/>
                <a:gd name="connsiteY3" fmla="*/ 914400 h 1864571"/>
                <a:gd name="connsiteX4" fmla="*/ 0 w 4953615"/>
                <a:gd name="connsiteY4" fmla="*/ 0 h 1864571"/>
                <a:gd name="connsiteX0" fmla="*/ 0 w 4890115"/>
                <a:gd name="connsiteY0" fmla="*/ 0 h 1864571"/>
                <a:gd name="connsiteX1" fmla="*/ 4890115 w 4890115"/>
                <a:gd name="connsiteY1" fmla="*/ 1308100 h 1864571"/>
                <a:gd name="connsiteX2" fmla="*/ 4890115 w 4890115"/>
                <a:gd name="connsiteY2" fmla="*/ 1854200 h 1864571"/>
                <a:gd name="connsiteX3" fmla="*/ 0 w 4890115"/>
                <a:gd name="connsiteY3" fmla="*/ 914400 h 1864571"/>
                <a:gd name="connsiteX4" fmla="*/ 0 w 4890115"/>
                <a:gd name="connsiteY4" fmla="*/ 0 h 1864571"/>
                <a:gd name="connsiteX0" fmla="*/ 0 w 4890115"/>
                <a:gd name="connsiteY0" fmla="*/ 0 h 1864571"/>
                <a:gd name="connsiteX1" fmla="*/ 4890115 w 4890115"/>
                <a:gd name="connsiteY1" fmla="*/ 1308100 h 1864571"/>
                <a:gd name="connsiteX2" fmla="*/ 4890115 w 4890115"/>
                <a:gd name="connsiteY2" fmla="*/ 1854200 h 1864571"/>
                <a:gd name="connsiteX3" fmla="*/ 0 w 4890115"/>
                <a:gd name="connsiteY3" fmla="*/ 914400 h 1864571"/>
                <a:gd name="connsiteX4" fmla="*/ 0 w 4890115"/>
                <a:gd name="connsiteY4" fmla="*/ 0 h 1864571"/>
                <a:gd name="connsiteX0" fmla="*/ 0 w 4890115"/>
                <a:gd name="connsiteY0" fmla="*/ 0 h 1864571"/>
                <a:gd name="connsiteX1" fmla="*/ 4877614 w 4890115"/>
                <a:gd name="connsiteY1" fmla="*/ 1346200 h 1864571"/>
                <a:gd name="connsiteX2" fmla="*/ 4890115 w 4890115"/>
                <a:gd name="connsiteY2" fmla="*/ 1854200 h 1864571"/>
                <a:gd name="connsiteX3" fmla="*/ 0 w 4890115"/>
                <a:gd name="connsiteY3" fmla="*/ 914400 h 1864571"/>
                <a:gd name="connsiteX4" fmla="*/ 0 w 4890115"/>
                <a:gd name="connsiteY4" fmla="*/ 0 h 1864571"/>
                <a:gd name="connsiteX0" fmla="*/ 0 w 4890115"/>
                <a:gd name="connsiteY0" fmla="*/ 0 h 1864571"/>
                <a:gd name="connsiteX1" fmla="*/ 4877614 w 4890115"/>
                <a:gd name="connsiteY1" fmla="*/ 1346200 h 1864571"/>
                <a:gd name="connsiteX2" fmla="*/ 4890115 w 4890115"/>
                <a:gd name="connsiteY2" fmla="*/ 1854200 h 1864571"/>
                <a:gd name="connsiteX3" fmla="*/ 0 w 4890115"/>
                <a:gd name="connsiteY3" fmla="*/ 914400 h 1864571"/>
                <a:gd name="connsiteX4" fmla="*/ 0 w 4890115"/>
                <a:gd name="connsiteY4" fmla="*/ 0 h 1864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90115" h="1864571">
                  <a:moveTo>
                    <a:pt x="0" y="0"/>
                  </a:moveTo>
                  <a:cubicBezTo>
                    <a:pt x="732572" y="986367"/>
                    <a:pt x="1747335" y="1502833"/>
                    <a:pt x="4877614" y="1346200"/>
                  </a:cubicBezTo>
                  <a:lnTo>
                    <a:pt x="4890115" y="1854200"/>
                  </a:lnTo>
                  <a:cubicBezTo>
                    <a:pt x="3073810" y="1803400"/>
                    <a:pt x="1359105" y="2159000"/>
                    <a:pt x="0" y="91440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FEE3A8"/>
                </a:gs>
                <a:gs pos="0">
                  <a:schemeClr val="bg1">
                    <a:alpha val="0"/>
                  </a:schemeClr>
                </a:gs>
                <a:gs pos="61000">
                  <a:srgbClr val="FFF7E3"/>
                </a:gs>
                <a:gs pos="54000">
                  <a:srgbClr val="FEF4D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230" name="Групувати 229">
              <a:extLst>
                <a:ext uri="{FF2B5EF4-FFF2-40B4-BE49-F238E27FC236}">
                  <a16:creationId xmlns:a16="http://schemas.microsoft.com/office/drawing/2014/main" id="{86764A32-E7F7-47D2-A9D3-8A4E077C8BCF}"/>
                </a:ext>
              </a:extLst>
            </p:cNvPr>
            <p:cNvGrpSpPr/>
            <p:nvPr/>
          </p:nvGrpSpPr>
          <p:grpSpPr>
            <a:xfrm>
              <a:off x="2996233" y="1995601"/>
              <a:ext cx="1509893" cy="745382"/>
              <a:chOff x="2996233" y="1995601"/>
              <a:chExt cx="1509893" cy="745382"/>
            </a:xfrm>
          </p:grpSpPr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5C5A3174-931F-9C15-7FE3-B765AAA4D122}"/>
                  </a:ext>
                </a:extLst>
              </p:cNvPr>
              <p:cNvSpPr txBox="1"/>
              <p:nvPr/>
            </p:nvSpPr>
            <p:spPr>
              <a:xfrm>
                <a:off x="2996233" y="2156209"/>
                <a:ext cx="981359" cy="5847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200" b="1" dirty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86</a:t>
                </a:r>
                <a:endParaRPr lang="uk-UA" sz="32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84" name="Групувати 183">
                <a:extLst>
                  <a:ext uri="{FF2B5EF4-FFF2-40B4-BE49-F238E27FC236}">
                    <a16:creationId xmlns:a16="http://schemas.microsoft.com/office/drawing/2014/main" id="{E40DFE12-C60B-67CA-3E73-3DCB788A4D00}"/>
                  </a:ext>
                </a:extLst>
              </p:cNvPr>
              <p:cNvGrpSpPr/>
              <p:nvPr/>
            </p:nvGrpSpPr>
            <p:grpSpPr>
              <a:xfrm>
                <a:off x="3822789" y="1995601"/>
                <a:ext cx="683337" cy="675242"/>
                <a:chOff x="5251609" y="1393705"/>
                <a:chExt cx="1353670" cy="1060512"/>
              </a:xfrm>
            </p:grpSpPr>
            <p:sp>
              <p:nvSpPr>
                <p:cNvPr id="193" name="object 9">
                  <a:extLst>
                    <a:ext uri="{FF2B5EF4-FFF2-40B4-BE49-F238E27FC236}">
                      <a16:creationId xmlns:a16="http://schemas.microsoft.com/office/drawing/2014/main" id="{117FDDC8-9C0C-68B8-23C8-96ED19369831}"/>
                    </a:ext>
                  </a:extLst>
                </p:cNvPr>
                <p:cNvSpPr/>
                <p:nvPr/>
              </p:nvSpPr>
              <p:spPr>
                <a:xfrm>
                  <a:off x="5262383" y="1686620"/>
                  <a:ext cx="1342896" cy="767597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81612" tIns="40806" rIns="81612" bIns="40806" anchor="t">
                  <a:spAutoFit/>
                </a:bodyPr>
                <a:lstStyle/>
                <a:p>
                  <a:pPr marL="10120">
                    <a:lnSpc>
                      <a:spcPts val="3822"/>
                    </a:lnSpc>
                    <a:spcBef>
                      <a:spcPts val="80"/>
                    </a:spcBef>
                  </a:pPr>
                  <a:r>
                    <a:rPr lang="en-US" sz="1400" b="1" spc="-11" dirty="0">
                      <a:solidFill>
                        <a:schemeClr val="bg2">
                          <a:lumMod val="2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MWh</a:t>
                  </a:r>
                  <a:endParaRPr lang="ru-RU" sz="1400" b="1" spc="-1" dirty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4" name="object 9">
                  <a:extLst>
                    <a:ext uri="{FF2B5EF4-FFF2-40B4-BE49-F238E27FC236}">
                      <a16:creationId xmlns:a16="http://schemas.microsoft.com/office/drawing/2014/main" id="{ACFF3D04-A69F-439B-0AF5-100A98CA954E}"/>
                    </a:ext>
                  </a:extLst>
                </p:cNvPr>
                <p:cNvSpPr/>
                <p:nvPr/>
              </p:nvSpPr>
              <p:spPr>
                <a:xfrm>
                  <a:off x="5251609" y="1393705"/>
                  <a:ext cx="1227992" cy="767597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81612" tIns="40806" rIns="81612" bIns="40806" anchor="t">
                  <a:spAutoFit/>
                </a:bodyPr>
                <a:lstStyle/>
                <a:p>
                  <a:pPr marL="10120">
                    <a:lnSpc>
                      <a:spcPts val="3822"/>
                    </a:lnSpc>
                    <a:spcBef>
                      <a:spcPts val="80"/>
                    </a:spcBef>
                  </a:pPr>
                  <a:r>
                    <a:rPr lang="en-US" sz="1400" b="1" spc="-11" dirty="0">
                      <a:solidFill>
                        <a:schemeClr val="bg2">
                          <a:lumMod val="2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euro</a:t>
                  </a:r>
                </a:p>
              </p:txBody>
            </p:sp>
          </p:grpSp>
        </p:grpSp>
        <p:grpSp>
          <p:nvGrpSpPr>
            <p:cNvPr id="231" name="Групувати 230">
              <a:extLst>
                <a:ext uri="{FF2B5EF4-FFF2-40B4-BE49-F238E27FC236}">
                  <a16:creationId xmlns:a16="http://schemas.microsoft.com/office/drawing/2014/main" id="{C80D6CF5-6527-5E6C-B77D-EBD47C7C97C2}"/>
                </a:ext>
              </a:extLst>
            </p:cNvPr>
            <p:cNvGrpSpPr/>
            <p:nvPr/>
          </p:nvGrpSpPr>
          <p:grpSpPr>
            <a:xfrm>
              <a:off x="7990919" y="2000796"/>
              <a:ext cx="1510271" cy="740187"/>
              <a:chOff x="7990919" y="2000796"/>
              <a:chExt cx="1510271" cy="740187"/>
            </a:xfrm>
          </p:grpSpPr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61F014CE-2F5E-4B61-5D22-EABBB0E9AA29}"/>
                  </a:ext>
                </a:extLst>
              </p:cNvPr>
              <p:cNvSpPr txBox="1"/>
              <p:nvPr/>
            </p:nvSpPr>
            <p:spPr>
              <a:xfrm>
                <a:off x="7990919" y="2156209"/>
                <a:ext cx="981359" cy="5847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3200" b="1" dirty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90</a:t>
                </a:r>
                <a:endParaRPr lang="uk-UA" sz="32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85" name="Групувати 184">
                <a:extLst>
                  <a:ext uri="{FF2B5EF4-FFF2-40B4-BE49-F238E27FC236}">
                    <a16:creationId xmlns:a16="http://schemas.microsoft.com/office/drawing/2014/main" id="{DB4CBB07-564C-4491-EA2D-53E041126B01}"/>
                  </a:ext>
                </a:extLst>
              </p:cNvPr>
              <p:cNvGrpSpPr/>
              <p:nvPr/>
            </p:nvGrpSpPr>
            <p:grpSpPr>
              <a:xfrm>
                <a:off x="8817859" y="2000796"/>
                <a:ext cx="683331" cy="675242"/>
                <a:chOff x="5452886" y="1393705"/>
                <a:chExt cx="1353659" cy="1060512"/>
              </a:xfrm>
            </p:grpSpPr>
            <p:sp>
              <p:nvSpPr>
                <p:cNvPr id="191" name="object 9">
                  <a:extLst>
                    <a:ext uri="{FF2B5EF4-FFF2-40B4-BE49-F238E27FC236}">
                      <a16:creationId xmlns:a16="http://schemas.microsoft.com/office/drawing/2014/main" id="{37B26A0C-A281-B333-4CB0-8D2BA421FB9C}"/>
                    </a:ext>
                  </a:extLst>
                </p:cNvPr>
                <p:cNvSpPr/>
                <p:nvPr/>
              </p:nvSpPr>
              <p:spPr>
                <a:xfrm>
                  <a:off x="5463649" y="1686620"/>
                  <a:ext cx="1342896" cy="767597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81612" tIns="40806" rIns="81612" bIns="40806" anchor="t">
                  <a:spAutoFit/>
                </a:bodyPr>
                <a:lstStyle/>
                <a:p>
                  <a:pPr marL="10120">
                    <a:lnSpc>
                      <a:spcPts val="3822"/>
                    </a:lnSpc>
                    <a:spcBef>
                      <a:spcPts val="80"/>
                    </a:spcBef>
                  </a:pPr>
                  <a:r>
                    <a:rPr lang="en-US" sz="1400" b="1" spc="-11" dirty="0">
                      <a:solidFill>
                        <a:schemeClr val="bg2">
                          <a:lumMod val="2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MWh</a:t>
                  </a:r>
                  <a:endParaRPr lang="ru-RU" sz="1400" b="1" spc="-1" dirty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2" name="object 9">
                  <a:extLst>
                    <a:ext uri="{FF2B5EF4-FFF2-40B4-BE49-F238E27FC236}">
                      <a16:creationId xmlns:a16="http://schemas.microsoft.com/office/drawing/2014/main" id="{9DED88F6-5DDE-3D6E-5F63-D39A76B8B7AA}"/>
                    </a:ext>
                  </a:extLst>
                </p:cNvPr>
                <p:cNvSpPr/>
                <p:nvPr/>
              </p:nvSpPr>
              <p:spPr>
                <a:xfrm>
                  <a:off x="5452886" y="1393705"/>
                  <a:ext cx="1227992" cy="767597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81612" tIns="40806" rIns="81612" bIns="40806" anchor="t">
                  <a:spAutoFit/>
                </a:bodyPr>
                <a:lstStyle/>
                <a:p>
                  <a:pPr marL="10120">
                    <a:lnSpc>
                      <a:spcPts val="3822"/>
                    </a:lnSpc>
                    <a:spcBef>
                      <a:spcPts val="80"/>
                    </a:spcBef>
                  </a:pPr>
                  <a:r>
                    <a:rPr lang="en-US" sz="1400" b="1" spc="-11" dirty="0">
                      <a:solidFill>
                        <a:schemeClr val="bg2">
                          <a:lumMod val="2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euro</a:t>
                  </a:r>
                </a:p>
              </p:txBody>
            </p:sp>
          </p:grpSp>
        </p:grpSp>
      </p:grpSp>
      <p:graphicFrame>
        <p:nvGraphicFramePr>
          <p:cNvPr id="117" name="Таблиця 116">
            <a:extLst>
              <a:ext uri="{FF2B5EF4-FFF2-40B4-BE49-F238E27FC236}">
                <a16:creationId xmlns:a16="http://schemas.microsoft.com/office/drawing/2014/main" id="{3C230632-E722-A1C6-8D4D-38F7D674F0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8506467"/>
              </p:ext>
            </p:extLst>
          </p:nvPr>
        </p:nvGraphicFramePr>
        <p:xfrm>
          <a:off x="8061451" y="4822944"/>
          <a:ext cx="3719257" cy="1746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7257">
                  <a:extLst>
                    <a:ext uri="{9D8B030D-6E8A-4147-A177-3AD203B41FA5}">
                      <a16:colId xmlns:a16="http://schemas.microsoft.com/office/drawing/2014/main" val="306417725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2697930213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10801810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968999139"/>
                    </a:ext>
                  </a:extLst>
                </a:gridCol>
              </a:tblGrid>
              <a:tr h="554925">
                <a:tc>
                  <a:txBody>
                    <a:bodyPr/>
                    <a:lstStyle/>
                    <a:p>
                      <a:endParaRPr lang="uk-UA" sz="1400" dirty="0">
                        <a:solidFill>
                          <a:srgbClr val="3B3838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nnual</a:t>
                      </a:r>
                      <a:endParaRPr lang="uk-UA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uk-UA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 Day</a:t>
                      </a:r>
                    </a:p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head</a:t>
                      </a:r>
                      <a:endParaRPr lang="uk-UA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2098342"/>
                  </a:ext>
                </a:extLst>
              </a:tr>
              <a:tr h="397153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Injection</a:t>
                      </a:r>
                      <a:endParaRPr lang="uk-UA" sz="1400" dirty="0"/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5A5656"/>
                          </a:solidFill>
                        </a:rPr>
                        <a:t>1.0</a:t>
                      </a:r>
                      <a:endParaRPr lang="uk-UA" sz="2000" b="1" dirty="0">
                        <a:solidFill>
                          <a:srgbClr val="5A5656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5A5656"/>
                          </a:solidFill>
                        </a:rPr>
                        <a:t>1.1</a:t>
                      </a:r>
                      <a:endParaRPr lang="uk-UA" sz="2000" b="1" dirty="0">
                        <a:solidFill>
                          <a:srgbClr val="5A5656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5A5656"/>
                          </a:solidFill>
                        </a:rPr>
                        <a:t>1.2</a:t>
                      </a:r>
                      <a:endParaRPr lang="uk-UA" sz="2000" b="1" dirty="0">
                        <a:solidFill>
                          <a:srgbClr val="5A5656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1354705"/>
                  </a:ext>
                </a:extLst>
              </a:tr>
              <a:tr h="397153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Storage</a:t>
                      </a:r>
                      <a:endParaRPr lang="uk-UA" sz="1400" dirty="0"/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uk-UA" sz="14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uk-UA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22304881"/>
                  </a:ext>
                </a:extLst>
              </a:tr>
              <a:tr h="397153">
                <a:tc>
                  <a:txBody>
                    <a:bodyPr/>
                    <a:lstStyle/>
                    <a:p>
                      <a:pPr algn="r"/>
                      <a:r>
                        <a:rPr lang="en-US" sz="1400" dirty="0"/>
                        <a:t>Withdrawal</a:t>
                      </a:r>
                      <a:endParaRPr lang="uk-UA" sz="1400" dirty="0"/>
                    </a:p>
                  </a:txBody>
                  <a:tcPr>
                    <a:lnL w="12700" cmpd="sng">
                      <a:noFill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uk-UA" sz="14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uk-UA" sz="14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uk-UA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00553476"/>
                  </a:ext>
                </a:extLst>
              </a:tr>
            </a:tbl>
          </a:graphicData>
        </a:graphic>
      </p:graphicFrame>
      <p:grpSp>
        <p:nvGrpSpPr>
          <p:cNvPr id="163" name="Групувати 162">
            <a:extLst>
              <a:ext uri="{FF2B5EF4-FFF2-40B4-BE49-F238E27FC236}">
                <a16:creationId xmlns:a16="http://schemas.microsoft.com/office/drawing/2014/main" id="{FE207935-AACA-6EE2-F777-6109B8D4D7E4}"/>
              </a:ext>
            </a:extLst>
          </p:cNvPr>
          <p:cNvGrpSpPr/>
          <p:nvPr/>
        </p:nvGrpSpPr>
        <p:grpSpPr>
          <a:xfrm>
            <a:off x="555442" y="3754684"/>
            <a:ext cx="6623068" cy="2539670"/>
            <a:chOff x="1276468" y="3065322"/>
            <a:chExt cx="10806852" cy="2539670"/>
          </a:xfrm>
        </p:grpSpPr>
        <p:grpSp>
          <p:nvGrpSpPr>
            <p:cNvPr id="164" name="Групувати 163">
              <a:extLst>
                <a:ext uri="{FF2B5EF4-FFF2-40B4-BE49-F238E27FC236}">
                  <a16:creationId xmlns:a16="http://schemas.microsoft.com/office/drawing/2014/main" id="{F7C9C483-24F8-FCB1-09DB-CE69EEA9C8D5}"/>
                </a:ext>
              </a:extLst>
            </p:cNvPr>
            <p:cNvGrpSpPr/>
            <p:nvPr/>
          </p:nvGrpSpPr>
          <p:grpSpPr>
            <a:xfrm>
              <a:off x="1757458" y="3065322"/>
              <a:ext cx="9723167" cy="576331"/>
              <a:chOff x="1717651" y="3032218"/>
              <a:chExt cx="9723167" cy="576331"/>
            </a:xfrm>
          </p:grpSpPr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BA1DFFB7-0C9B-0C96-ED8A-0A3F8EE869F0}"/>
                  </a:ext>
                </a:extLst>
              </p:cNvPr>
              <p:cNvSpPr txBox="1"/>
              <p:nvPr/>
            </p:nvSpPr>
            <p:spPr>
              <a:xfrm>
                <a:off x="4965778" y="3032218"/>
                <a:ext cx="212582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spc="-1" dirty="0">
                    <a:solidFill>
                      <a:schemeClr val="bg2">
                        <a:lumMod val="25000"/>
                      </a:schemeClr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JECTION FEE </a:t>
                </a:r>
                <a:endParaRPr lang="uk-UA" sz="1400" b="1" spc="-1" dirty="0">
                  <a:solidFill>
                    <a:schemeClr val="bg2">
                      <a:lumMod val="2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AC428961-0B4F-669E-3B47-E827D911557D}"/>
                  </a:ext>
                </a:extLst>
              </p:cNvPr>
              <p:cNvSpPr txBox="1"/>
              <p:nvPr/>
            </p:nvSpPr>
            <p:spPr>
              <a:xfrm>
                <a:off x="1717651" y="3269995"/>
                <a:ext cx="972316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dirty="0">
                    <a:cs typeface="Calibri" panose="020F0502020204030204" pitchFamily="34" charset="0"/>
                  </a:rPr>
                  <a:t>ƒ</a:t>
                </a:r>
                <a:r>
                  <a:rPr lang="en-US" sz="1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sz="1400" b="1" dirty="0">
                    <a:cs typeface="Calibri" panose="020F0502020204030204" pitchFamily="34" charset="0"/>
                  </a:rPr>
                  <a:t>=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</a:t>
                </a:r>
                <a:r>
                  <a:rPr lang="en-US" sz="1400" b="1" u="sng" dirty="0">
                    <a:latin typeface="+mj-lt"/>
                    <a:cs typeface="Calibri" panose="020F0502020204030204" pitchFamily="34" charset="0"/>
                  </a:rPr>
                  <a:t>243.52 UAH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* </a:t>
                </a:r>
                <a:r>
                  <a:rPr lang="en-US" sz="1400" b="1" dirty="0">
                    <a:cs typeface="Calibri" panose="020F0502020204030204" pitchFamily="34" charset="0"/>
                  </a:rPr>
                  <a:t>x 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1.2(VAT) </a:t>
                </a:r>
                <a:r>
                  <a:rPr lang="en-US" sz="1400" b="1" dirty="0">
                    <a:cs typeface="Calibri" panose="020F0502020204030204" pitchFamily="34" charset="0"/>
                  </a:rPr>
                  <a:t>x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 COEFFICIENT </a:t>
                </a:r>
                <a:r>
                  <a:rPr lang="en-US" sz="1400" b="1" dirty="0">
                    <a:cs typeface="Calibri" panose="020F0502020204030204" pitchFamily="34" charset="0"/>
                  </a:rPr>
                  <a:t>/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(FX</a:t>
                </a:r>
                <a:r>
                  <a:rPr lang="en-US" sz="1400" i="1" dirty="0">
                    <a:cs typeface="Calibri" panose="020F0502020204030204" pitchFamily="34" charset="0"/>
                  </a:rPr>
                  <a:t>**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) </a:t>
                </a:r>
                <a:r>
                  <a:rPr lang="en-US" sz="1400" b="1" dirty="0">
                    <a:cs typeface="Calibri" panose="020F0502020204030204" pitchFamily="34" charset="0"/>
                  </a:rPr>
                  <a:t>/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10.595 (GCV)</a:t>
                </a:r>
                <a:endParaRPr lang="uk-UA" sz="1600" b="1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165" name="Групувати 164">
              <a:extLst>
                <a:ext uri="{FF2B5EF4-FFF2-40B4-BE49-F238E27FC236}">
                  <a16:creationId xmlns:a16="http://schemas.microsoft.com/office/drawing/2014/main" id="{EDE122A7-E115-AABB-74B5-FDA90D6A2D76}"/>
                </a:ext>
              </a:extLst>
            </p:cNvPr>
            <p:cNvGrpSpPr/>
            <p:nvPr/>
          </p:nvGrpSpPr>
          <p:grpSpPr>
            <a:xfrm>
              <a:off x="1276468" y="3952497"/>
              <a:ext cx="10806852" cy="753160"/>
              <a:chOff x="1236661" y="4087831"/>
              <a:chExt cx="10806852" cy="753160"/>
            </a:xfrm>
          </p:grpSpPr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3C6E03A2-F0F2-A69F-E474-F5ABE875F937}"/>
                  </a:ext>
                </a:extLst>
              </p:cNvPr>
              <p:cNvSpPr txBox="1"/>
              <p:nvPr/>
            </p:nvSpPr>
            <p:spPr>
              <a:xfrm>
                <a:off x="4495474" y="4087831"/>
                <a:ext cx="3066432" cy="4770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STORAGE FEE</a:t>
                </a:r>
              </a:p>
              <a:p>
                <a:pPr algn="ctr"/>
                <a:r>
                  <a:rPr lang="en-US" sz="1100" dirty="0">
                    <a:latin typeface="+mj-lt"/>
                    <a:cs typeface="Calibri" panose="020F0502020204030204" pitchFamily="34" charset="0"/>
                  </a:rPr>
                  <a:t>(WORKING GAS VOLUME) </a:t>
                </a:r>
                <a:endParaRPr lang="uk-UA" sz="1100" dirty="0">
                  <a:latin typeface="+mj-lt"/>
                  <a:cs typeface="Calibri" panose="020F0502020204030204" pitchFamily="34" charset="0"/>
                </a:endParaRPr>
              </a:p>
            </p:txBody>
          </p:sp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E04A8DE5-1722-EAEF-2C87-1AD37500DE2F}"/>
                  </a:ext>
                </a:extLst>
              </p:cNvPr>
              <p:cNvSpPr txBox="1"/>
              <p:nvPr/>
            </p:nvSpPr>
            <p:spPr>
              <a:xfrm>
                <a:off x="1236661" y="4502437"/>
                <a:ext cx="10806852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dirty="0">
                    <a:cs typeface="Calibri" panose="020F0502020204030204" pitchFamily="34" charset="0"/>
                  </a:rPr>
                  <a:t>ƒ </a:t>
                </a:r>
                <a:r>
                  <a:rPr lang="en-US" sz="1400" b="1" dirty="0">
                    <a:cs typeface="Calibri" panose="020F0502020204030204" pitchFamily="34" charset="0"/>
                  </a:rPr>
                  <a:t>=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(1 month) </a:t>
                </a:r>
                <a:r>
                  <a:rPr lang="en-US" sz="1400" b="1" dirty="0">
                    <a:cs typeface="Calibri" panose="020F0502020204030204" pitchFamily="34" charset="0"/>
                  </a:rPr>
                  <a:t>=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</a:t>
                </a:r>
                <a:r>
                  <a:rPr lang="en-US" sz="1400" u="sng" dirty="0">
                    <a:latin typeface="+mj-lt"/>
                    <a:cs typeface="Calibri" panose="020F0502020204030204" pitchFamily="34" charset="0"/>
                  </a:rPr>
                  <a:t>n-days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</a:t>
                </a:r>
                <a:r>
                  <a:rPr lang="en-US" sz="1400" b="1" dirty="0">
                    <a:cs typeface="Calibri" panose="020F0502020204030204" pitchFamily="34" charset="0"/>
                  </a:rPr>
                  <a:t>x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</a:t>
                </a:r>
                <a:r>
                  <a:rPr lang="en-US" sz="1400" b="1" u="sng" dirty="0">
                    <a:latin typeface="+mj-lt"/>
                    <a:cs typeface="Calibri" panose="020F0502020204030204" pitchFamily="34" charset="0"/>
                  </a:rPr>
                  <a:t>0.4 UAH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* </a:t>
                </a:r>
                <a:r>
                  <a:rPr lang="en-US" sz="1400" b="1" dirty="0">
                    <a:cs typeface="Calibri" panose="020F0502020204030204" pitchFamily="34" charset="0"/>
                  </a:rPr>
                  <a:t>x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1.2(VAT) </a:t>
                </a:r>
                <a:r>
                  <a:rPr lang="en-US" sz="1400" b="1" dirty="0">
                    <a:cs typeface="Calibri" panose="020F0502020204030204" pitchFamily="34" charset="0"/>
                  </a:rPr>
                  <a:t>x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COEFFICIENT</a:t>
                </a:r>
                <a:r>
                  <a:rPr lang="en-US" sz="1400" b="1" dirty="0">
                    <a:cs typeface="Calibri" panose="020F0502020204030204" pitchFamily="34" charset="0"/>
                  </a:rPr>
                  <a:t>/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(FX</a:t>
                </a:r>
                <a:r>
                  <a:rPr lang="en-US" sz="1400" i="1" dirty="0">
                    <a:cs typeface="Calibri" panose="020F0502020204030204" pitchFamily="34" charset="0"/>
                  </a:rPr>
                  <a:t>**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) </a:t>
                </a:r>
                <a:r>
                  <a:rPr lang="en-US" sz="1400" b="1" dirty="0">
                    <a:cs typeface="Calibri" panose="020F0502020204030204" pitchFamily="34" charset="0"/>
                  </a:rPr>
                  <a:t>/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10.595 (GCV)</a:t>
                </a:r>
                <a:endParaRPr lang="uk-UA" sz="1400" b="1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166" name="Групувати 165">
              <a:extLst>
                <a:ext uri="{FF2B5EF4-FFF2-40B4-BE49-F238E27FC236}">
                  <a16:creationId xmlns:a16="http://schemas.microsoft.com/office/drawing/2014/main" id="{9DD93AE6-C390-10E1-7645-83491FCE9B03}"/>
                </a:ext>
              </a:extLst>
            </p:cNvPr>
            <p:cNvGrpSpPr/>
            <p:nvPr/>
          </p:nvGrpSpPr>
          <p:grpSpPr>
            <a:xfrm>
              <a:off x="1995819" y="5016502"/>
              <a:ext cx="9173790" cy="588490"/>
              <a:chOff x="1961489" y="5465414"/>
              <a:chExt cx="9173790" cy="588490"/>
            </a:xfrm>
          </p:grpSpPr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4A0D120C-3198-56AF-7CB2-3F1E9BFC52D5}"/>
                  </a:ext>
                </a:extLst>
              </p:cNvPr>
              <p:cNvSpPr txBox="1"/>
              <p:nvPr/>
            </p:nvSpPr>
            <p:spPr>
              <a:xfrm>
                <a:off x="4500952" y="5465414"/>
                <a:ext cx="30664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1100" b="1" spc="-1">
                    <a:solidFill>
                      <a:schemeClr val="bg2">
                        <a:lumMod val="25000"/>
                      </a:schemeClr>
                    </a:solidFill>
                    <a:latin typeface="Arial"/>
                  </a:defRPr>
                </a:lvl1pPr>
              </a:lstStyle>
              <a:p>
                <a:pPr algn="ctr"/>
                <a:r>
                  <a:rPr lang="en-US" sz="1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WITHDRAWAL FEE</a:t>
                </a:r>
                <a:endParaRPr lang="uk-UA"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FC5D388B-8142-0CE0-454F-3C14774A7F85}"/>
                  </a:ext>
                </a:extLst>
              </p:cNvPr>
              <p:cNvSpPr txBox="1"/>
              <p:nvPr/>
            </p:nvSpPr>
            <p:spPr>
              <a:xfrm>
                <a:off x="1961489" y="5715350"/>
                <a:ext cx="917379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dirty="0">
                    <a:cs typeface="Calibri" panose="020F0502020204030204" pitchFamily="34" charset="0"/>
                  </a:rPr>
                  <a:t>ƒ</a:t>
                </a:r>
                <a:r>
                  <a:rPr lang="en-US" sz="1400" b="1" dirty="0">
                    <a:cs typeface="Calibri" panose="020F0502020204030204" pitchFamily="34" charset="0"/>
                  </a:rPr>
                  <a:t> = </a:t>
                </a:r>
                <a:r>
                  <a:rPr lang="en-US" sz="1400" b="1" u="sng" dirty="0">
                    <a:latin typeface="+mj-lt"/>
                    <a:cs typeface="Calibri" panose="020F0502020204030204" pitchFamily="34" charset="0"/>
                  </a:rPr>
                  <a:t>253.03 UAH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* </a:t>
                </a:r>
                <a:r>
                  <a:rPr lang="en-US" sz="1400" b="1" dirty="0">
                    <a:cs typeface="Calibri" panose="020F0502020204030204" pitchFamily="34" charset="0"/>
                  </a:rPr>
                  <a:t>x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1.2(VAT) </a:t>
                </a:r>
                <a:r>
                  <a:rPr lang="en-US" sz="1400" b="1" dirty="0">
                    <a:cs typeface="Calibri" panose="020F0502020204030204" pitchFamily="34" charset="0"/>
                  </a:rPr>
                  <a:t>x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COEFFICIENT </a:t>
                </a:r>
                <a:r>
                  <a:rPr lang="en-US" sz="1400" b="1" dirty="0">
                    <a:cs typeface="Calibri" panose="020F0502020204030204" pitchFamily="34" charset="0"/>
                  </a:rPr>
                  <a:t>/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(FX</a:t>
                </a:r>
                <a:r>
                  <a:rPr lang="en-US" sz="1400" i="1" dirty="0">
                    <a:cs typeface="Calibri" panose="020F0502020204030204" pitchFamily="34" charset="0"/>
                  </a:rPr>
                  <a:t>**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) </a:t>
                </a:r>
                <a:r>
                  <a:rPr lang="en-US" sz="1400" b="1" dirty="0">
                    <a:cs typeface="Calibri" panose="020F0502020204030204" pitchFamily="34" charset="0"/>
                  </a:rPr>
                  <a:t>/</a:t>
                </a:r>
                <a:r>
                  <a:rPr lang="en-US" sz="1400" dirty="0">
                    <a:latin typeface="+mj-lt"/>
                    <a:cs typeface="Calibri" panose="020F0502020204030204" pitchFamily="34" charset="0"/>
                  </a:rPr>
                  <a:t> 10.595 (GCV)</a:t>
                </a:r>
                <a:endParaRPr lang="uk-UA" sz="1400" b="1" u="sng" dirty="0">
                  <a:latin typeface="+mj-lt"/>
                  <a:cs typeface="Calibri" panose="020F0502020204030204" pitchFamily="34" charset="0"/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3C55A1BB-921C-3804-5E53-83DA1E469E2B}"/>
                  </a:ext>
                </a:extLst>
              </p:cNvPr>
              <p:cNvSpPr txBox="1"/>
              <p:nvPr/>
            </p:nvSpPr>
            <p:spPr>
              <a:xfrm>
                <a:off x="454154" y="6424513"/>
                <a:ext cx="8119017" cy="47750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i="1" dirty="0">
                    <a:latin typeface="+mj-lt"/>
                    <a:cs typeface="Calibri" panose="020F0502020204030204" pitchFamily="34" charset="0"/>
                  </a:rPr>
                  <a:t>* Tariff for 1 000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z="120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pPr>
                      <m:e>
                        <m:r>
                          <a:rPr lang="en-US" sz="12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𝑚</m:t>
                        </m:r>
                      </m:e>
                      <m:sup>
                        <m:r>
                          <a:rPr lang="en-US" sz="12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3</m:t>
                        </m:r>
                      </m:sup>
                    </m:sSup>
                  </m:oMath>
                </a14:m>
                <a:r>
                  <a:rPr lang="en-US" sz="1200" i="1" dirty="0">
                    <a:latin typeface="+mj-lt"/>
                    <a:cs typeface="Calibri" panose="020F0502020204030204" pitchFamily="34" charset="0"/>
                  </a:rPr>
                  <a:t>/day</a:t>
                </a:r>
              </a:p>
              <a:p>
                <a:r>
                  <a:rPr lang="en-US" sz="1200" i="1" dirty="0">
                    <a:latin typeface="+mj-lt"/>
                    <a:cs typeface="Calibri" panose="020F0502020204030204" pitchFamily="34" charset="0"/>
                  </a:rPr>
                  <a:t>** FX — Foreign exchange. The indicator depends on the UAH/EUR exchange rate </a:t>
                </a:r>
                <a:endParaRPr lang="uk-UA" sz="1200" i="1" dirty="0"/>
              </a:p>
            </p:txBody>
          </p:sp>
        </mc:Choice>
        <mc:Fallback xmlns=""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3C55A1BB-921C-3804-5E53-83DA1E469E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154" y="6424513"/>
                <a:ext cx="8119017" cy="477503"/>
              </a:xfrm>
              <a:prstGeom prst="rect">
                <a:avLst/>
              </a:prstGeom>
              <a:blipFill>
                <a:blip r:embed="rId6"/>
                <a:stretch>
                  <a:fillRect l="-75" t="-1282" b="-6410"/>
                </a:stretch>
              </a:blipFill>
            </p:spPr>
            <p:txBody>
              <a:bodyPr/>
              <a:lstStyle/>
              <a:p>
                <a:r>
                  <a:rPr lang="uk-UA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4" name="Полілінія: фігура 223">
            <a:extLst>
              <a:ext uri="{FF2B5EF4-FFF2-40B4-BE49-F238E27FC236}">
                <a16:creationId xmlns:a16="http://schemas.microsoft.com/office/drawing/2014/main" id="{F3037527-7A2D-6DEC-91AB-79C7078B045E}"/>
              </a:ext>
            </a:extLst>
          </p:cNvPr>
          <p:cNvSpPr/>
          <p:nvPr/>
        </p:nvSpPr>
        <p:spPr>
          <a:xfrm>
            <a:off x="405355" y="3669036"/>
            <a:ext cx="1214594" cy="209958"/>
          </a:xfrm>
          <a:custGeom>
            <a:avLst/>
            <a:gdLst/>
            <a:ahLst/>
            <a:cxnLst/>
            <a:rect l="l" t="t" r="r" b="b"/>
            <a:pathLst>
              <a:path w="1251699" h="216371">
                <a:moveTo>
                  <a:pt x="1229467" y="167640"/>
                </a:moveTo>
                <a:cubicBezTo>
                  <a:pt x="1236122" y="167913"/>
                  <a:pt x="1241465" y="170337"/>
                  <a:pt x="1245494" y="174911"/>
                </a:cubicBezTo>
                <a:cubicBezTo>
                  <a:pt x="1249523" y="179486"/>
                  <a:pt x="1251591" y="184574"/>
                  <a:pt x="1251699" y="190177"/>
                </a:cubicBezTo>
                <a:cubicBezTo>
                  <a:pt x="1251591" y="196655"/>
                  <a:pt x="1249523" y="202276"/>
                  <a:pt x="1245494" y="207041"/>
                </a:cubicBezTo>
                <a:cubicBezTo>
                  <a:pt x="1241465" y="211806"/>
                  <a:pt x="1236122" y="214306"/>
                  <a:pt x="1229467" y="214541"/>
                </a:cubicBezTo>
                <a:cubicBezTo>
                  <a:pt x="1221789" y="214306"/>
                  <a:pt x="1215825" y="211806"/>
                  <a:pt x="1211574" y="207041"/>
                </a:cubicBezTo>
                <a:cubicBezTo>
                  <a:pt x="1207323" y="202276"/>
                  <a:pt x="1205166" y="196655"/>
                  <a:pt x="1205103" y="190177"/>
                </a:cubicBezTo>
                <a:cubicBezTo>
                  <a:pt x="1205166" y="184574"/>
                  <a:pt x="1207323" y="179486"/>
                  <a:pt x="1211574" y="174911"/>
                </a:cubicBezTo>
                <a:cubicBezTo>
                  <a:pt x="1215825" y="170337"/>
                  <a:pt x="1221789" y="167913"/>
                  <a:pt x="1229467" y="167640"/>
                </a:cubicBezTo>
                <a:close/>
                <a:moveTo>
                  <a:pt x="971530" y="152057"/>
                </a:moveTo>
                <a:cubicBezTo>
                  <a:pt x="965543" y="152044"/>
                  <a:pt x="960433" y="153443"/>
                  <a:pt x="956201" y="156253"/>
                </a:cubicBezTo>
                <a:cubicBezTo>
                  <a:pt x="951968" y="159063"/>
                  <a:pt x="949757" y="163360"/>
                  <a:pt x="949566" y="169145"/>
                </a:cubicBezTo>
                <a:cubicBezTo>
                  <a:pt x="949693" y="174358"/>
                  <a:pt x="951574" y="178351"/>
                  <a:pt x="955209" y="181123"/>
                </a:cubicBezTo>
                <a:cubicBezTo>
                  <a:pt x="958845" y="183894"/>
                  <a:pt x="963471" y="185293"/>
                  <a:pt x="969089" y="185318"/>
                </a:cubicBezTo>
                <a:cubicBezTo>
                  <a:pt x="976334" y="185179"/>
                  <a:pt x="982054" y="183856"/>
                  <a:pt x="986248" y="181351"/>
                </a:cubicBezTo>
                <a:cubicBezTo>
                  <a:pt x="990443" y="178847"/>
                  <a:pt x="993570" y="175999"/>
                  <a:pt x="995629" y="172807"/>
                </a:cubicBezTo>
                <a:lnTo>
                  <a:pt x="995629" y="158770"/>
                </a:lnTo>
                <a:cubicBezTo>
                  <a:pt x="992585" y="156488"/>
                  <a:pt x="989064" y="154797"/>
                  <a:pt x="985066" y="153697"/>
                </a:cubicBezTo>
                <a:cubicBezTo>
                  <a:pt x="981069" y="152597"/>
                  <a:pt x="976557" y="152051"/>
                  <a:pt x="971530" y="152057"/>
                </a:cubicBezTo>
                <a:close/>
                <a:moveTo>
                  <a:pt x="208463" y="105423"/>
                </a:moveTo>
                <a:cubicBezTo>
                  <a:pt x="197841" y="105562"/>
                  <a:pt x="189048" y="109095"/>
                  <a:pt x="182085" y="116020"/>
                </a:cubicBezTo>
                <a:cubicBezTo>
                  <a:pt x="175122" y="122944"/>
                  <a:pt x="171513" y="132423"/>
                  <a:pt x="171259" y="144456"/>
                </a:cubicBezTo>
                <a:cubicBezTo>
                  <a:pt x="171475" y="156101"/>
                  <a:pt x="175008" y="165517"/>
                  <a:pt x="181856" y="172702"/>
                </a:cubicBezTo>
                <a:cubicBezTo>
                  <a:pt x="188705" y="179887"/>
                  <a:pt x="197574" y="183585"/>
                  <a:pt x="208463" y="183794"/>
                </a:cubicBezTo>
                <a:cubicBezTo>
                  <a:pt x="219499" y="183642"/>
                  <a:pt x="228457" y="180059"/>
                  <a:pt x="235338" y="173045"/>
                </a:cubicBezTo>
                <a:cubicBezTo>
                  <a:pt x="242218" y="166031"/>
                  <a:pt x="245764" y="156501"/>
                  <a:pt x="245973" y="144456"/>
                </a:cubicBezTo>
                <a:cubicBezTo>
                  <a:pt x="245745" y="132690"/>
                  <a:pt x="242161" y="123287"/>
                  <a:pt x="235223" y="116248"/>
                </a:cubicBezTo>
                <a:cubicBezTo>
                  <a:pt x="228286" y="109209"/>
                  <a:pt x="219366" y="105601"/>
                  <a:pt x="208463" y="105423"/>
                </a:cubicBezTo>
                <a:close/>
                <a:moveTo>
                  <a:pt x="663168" y="75895"/>
                </a:moveTo>
                <a:lnTo>
                  <a:pt x="698182" y="75895"/>
                </a:lnTo>
                <a:lnTo>
                  <a:pt x="698182" y="152400"/>
                </a:lnTo>
                <a:cubicBezTo>
                  <a:pt x="698074" y="161709"/>
                  <a:pt x="700044" y="169227"/>
                  <a:pt x="704092" y="174955"/>
                </a:cubicBezTo>
                <a:cubicBezTo>
                  <a:pt x="708139" y="180683"/>
                  <a:pt x="714913" y="183629"/>
                  <a:pt x="724413" y="183794"/>
                </a:cubicBezTo>
                <a:cubicBezTo>
                  <a:pt x="730271" y="183744"/>
                  <a:pt x="735863" y="182245"/>
                  <a:pt x="741188" y="179299"/>
                </a:cubicBezTo>
                <a:cubicBezTo>
                  <a:pt x="746513" y="176352"/>
                  <a:pt x="751189" y="172263"/>
                  <a:pt x="755218" y="167030"/>
                </a:cubicBezTo>
                <a:lnTo>
                  <a:pt x="755218" y="75895"/>
                </a:lnTo>
                <a:lnTo>
                  <a:pt x="790232" y="75895"/>
                </a:lnTo>
                <a:lnTo>
                  <a:pt x="790232" y="213017"/>
                </a:lnTo>
                <a:lnTo>
                  <a:pt x="755218" y="213017"/>
                </a:lnTo>
                <a:lnTo>
                  <a:pt x="755218" y="196277"/>
                </a:lnTo>
                <a:cubicBezTo>
                  <a:pt x="751119" y="201509"/>
                  <a:pt x="745439" y="206114"/>
                  <a:pt x="738176" y="210091"/>
                </a:cubicBezTo>
                <a:cubicBezTo>
                  <a:pt x="730913" y="214068"/>
                  <a:pt x="721953" y="216161"/>
                  <a:pt x="711297" y="216370"/>
                </a:cubicBezTo>
                <a:cubicBezTo>
                  <a:pt x="697560" y="216466"/>
                  <a:pt x="686186" y="211936"/>
                  <a:pt x="677177" y="202781"/>
                </a:cubicBezTo>
                <a:cubicBezTo>
                  <a:pt x="668167" y="193625"/>
                  <a:pt x="663498" y="179270"/>
                  <a:pt x="663168" y="159715"/>
                </a:cubicBezTo>
                <a:close/>
                <a:moveTo>
                  <a:pt x="496588" y="73457"/>
                </a:moveTo>
                <a:cubicBezTo>
                  <a:pt x="507145" y="73590"/>
                  <a:pt x="515814" y="75683"/>
                  <a:pt x="522597" y="79736"/>
                </a:cubicBezTo>
                <a:cubicBezTo>
                  <a:pt x="529379" y="83789"/>
                  <a:pt x="534010" y="89003"/>
                  <a:pt x="536490" y="95377"/>
                </a:cubicBezTo>
                <a:cubicBezTo>
                  <a:pt x="541354" y="88869"/>
                  <a:pt x="547631" y="83618"/>
                  <a:pt x="555319" y="79622"/>
                </a:cubicBezTo>
                <a:cubicBezTo>
                  <a:pt x="563008" y="75626"/>
                  <a:pt x="572183" y="73571"/>
                  <a:pt x="582847" y="73457"/>
                </a:cubicBezTo>
                <a:cubicBezTo>
                  <a:pt x="595604" y="73196"/>
                  <a:pt x="606037" y="76838"/>
                  <a:pt x="614145" y="84381"/>
                </a:cubicBezTo>
                <a:cubicBezTo>
                  <a:pt x="622253" y="91925"/>
                  <a:pt x="626441" y="104933"/>
                  <a:pt x="626707" y="123406"/>
                </a:cubicBezTo>
                <a:lnTo>
                  <a:pt x="626707" y="213017"/>
                </a:lnTo>
                <a:lnTo>
                  <a:pt x="591693" y="213017"/>
                </a:lnTo>
                <a:lnTo>
                  <a:pt x="591693" y="132550"/>
                </a:lnTo>
                <a:cubicBezTo>
                  <a:pt x="591744" y="123990"/>
                  <a:pt x="589888" y="117488"/>
                  <a:pt x="586126" y="113043"/>
                </a:cubicBezTo>
                <a:cubicBezTo>
                  <a:pt x="582364" y="108598"/>
                  <a:pt x="576390" y="106362"/>
                  <a:pt x="568205" y="106337"/>
                </a:cubicBezTo>
                <a:cubicBezTo>
                  <a:pt x="561590" y="106407"/>
                  <a:pt x="555833" y="107867"/>
                  <a:pt x="550934" y="110719"/>
                </a:cubicBezTo>
                <a:cubicBezTo>
                  <a:pt x="546034" y="113570"/>
                  <a:pt x="542336" y="117392"/>
                  <a:pt x="539839" y="122187"/>
                </a:cubicBezTo>
                <a:cubicBezTo>
                  <a:pt x="539852" y="123349"/>
                  <a:pt x="539902" y="124911"/>
                  <a:pt x="539991" y="126873"/>
                </a:cubicBezTo>
                <a:cubicBezTo>
                  <a:pt x="540080" y="128835"/>
                  <a:pt x="540131" y="130626"/>
                  <a:pt x="540143" y="132245"/>
                </a:cubicBezTo>
                <a:lnTo>
                  <a:pt x="540143" y="213017"/>
                </a:lnTo>
                <a:lnTo>
                  <a:pt x="505130" y="213017"/>
                </a:lnTo>
                <a:lnTo>
                  <a:pt x="505130" y="130111"/>
                </a:lnTo>
                <a:cubicBezTo>
                  <a:pt x="505110" y="122853"/>
                  <a:pt x="503166" y="117100"/>
                  <a:pt x="499296" y="112852"/>
                </a:cubicBezTo>
                <a:cubicBezTo>
                  <a:pt x="495426" y="108604"/>
                  <a:pt x="489745" y="106432"/>
                  <a:pt x="482252" y="106337"/>
                </a:cubicBezTo>
                <a:cubicBezTo>
                  <a:pt x="475968" y="106375"/>
                  <a:pt x="470388" y="107671"/>
                  <a:pt x="465514" y="110226"/>
                </a:cubicBezTo>
                <a:cubicBezTo>
                  <a:pt x="460640" y="112782"/>
                  <a:pt x="456662" y="116371"/>
                  <a:pt x="453580" y="120993"/>
                </a:cubicBezTo>
                <a:lnTo>
                  <a:pt x="453580" y="213017"/>
                </a:lnTo>
                <a:lnTo>
                  <a:pt x="418566" y="213017"/>
                </a:lnTo>
                <a:lnTo>
                  <a:pt x="418566" y="75895"/>
                </a:lnTo>
                <a:lnTo>
                  <a:pt x="453580" y="75895"/>
                </a:lnTo>
                <a:lnTo>
                  <a:pt x="453580" y="91115"/>
                </a:lnTo>
                <a:cubicBezTo>
                  <a:pt x="458575" y="85584"/>
                  <a:pt x="464828" y="81271"/>
                  <a:pt x="472339" y="78176"/>
                </a:cubicBezTo>
                <a:cubicBezTo>
                  <a:pt x="479850" y="75081"/>
                  <a:pt x="487933" y="73508"/>
                  <a:pt x="496588" y="73457"/>
                </a:cubicBezTo>
                <a:close/>
                <a:moveTo>
                  <a:pt x="380200" y="73457"/>
                </a:moveTo>
                <a:cubicBezTo>
                  <a:pt x="385737" y="73463"/>
                  <a:pt x="390131" y="73907"/>
                  <a:pt x="393382" y="74789"/>
                </a:cubicBezTo>
                <a:cubicBezTo>
                  <a:pt x="396633" y="75670"/>
                  <a:pt x="399351" y="76952"/>
                  <a:pt x="401536" y="78632"/>
                </a:cubicBezTo>
                <a:lnTo>
                  <a:pt x="389039" y="111519"/>
                </a:lnTo>
                <a:cubicBezTo>
                  <a:pt x="385826" y="109569"/>
                  <a:pt x="382955" y="108210"/>
                  <a:pt x="380428" y="107442"/>
                </a:cubicBezTo>
                <a:cubicBezTo>
                  <a:pt x="377901" y="106674"/>
                  <a:pt x="374878" y="106305"/>
                  <a:pt x="371360" y="106337"/>
                </a:cubicBezTo>
                <a:cubicBezTo>
                  <a:pt x="365334" y="106451"/>
                  <a:pt x="360546" y="107899"/>
                  <a:pt x="356997" y="110680"/>
                </a:cubicBezTo>
                <a:cubicBezTo>
                  <a:pt x="353447" y="113462"/>
                  <a:pt x="350717" y="116891"/>
                  <a:pt x="348805" y="120967"/>
                </a:cubicBezTo>
                <a:lnTo>
                  <a:pt x="348805" y="213017"/>
                </a:lnTo>
                <a:lnTo>
                  <a:pt x="313791" y="213017"/>
                </a:lnTo>
                <a:lnTo>
                  <a:pt x="313791" y="75895"/>
                </a:lnTo>
                <a:lnTo>
                  <a:pt x="348805" y="75895"/>
                </a:lnTo>
                <a:lnTo>
                  <a:pt x="348805" y="89288"/>
                </a:lnTo>
                <a:cubicBezTo>
                  <a:pt x="351885" y="84766"/>
                  <a:pt x="355860" y="81024"/>
                  <a:pt x="360730" y="78062"/>
                </a:cubicBezTo>
                <a:cubicBezTo>
                  <a:pt x="365601" y="75100"/>
                  <a:pt x="372091" y="73565"/>
                  <a:pt x="380200" y="73457"/>
                </a:cubicBezTo>
                <a:close/>
                <a:moveTo>
                  <a:pt x="1229467" y="72542"/>
                </a:moveTo>
                <a:cubicBezTo>
                  <a:pt x="1236122" y="72815"/>
                  <a:pt x="1241465" y="75239"/>
                  <a:pt x="1245494" y="79814"/>
                </a:cubicBezTo>
                <a:cubicBezTo>
                  <a:pt x="1249523" y="84388"/>
                  <a:pt x="1251591" y="89477"/>
                  <a:pt x="1251699" y="95079"/>
                </a:cubicBezTo>
                <a:cubicBezTo>
                  <a:pt x="1251591" y="101557"/>
                  <a:pt x="1249523" y="107179"/>
                  <a:pt x="1245494" y="111944"/>
                </a:cubicBezTo>
                <a:cubicBezTo>
                  <a:pt x="1241465" y="116709"/>
                  <a:pt x="1236122" y="119209"/>
                  <a:pt x="1229467" y="119443"/>
                </a:cubicBezTo>
                <a:cubicBezTo>
                  <a:pt x="1221789" y="119209"/>
                  <a:pt x="1215825" y="116709"/>
                  <a:pt x="1211574" y="111944"/>
                </a:cubicBezTo>
                <a:cubicBezTo>
                  <a:pt x="1207323" y="107179"/>
                  <a:pt x="1205166" y="101557"/>
                  <a:pt x="1205103" y="95079"/>
                </a:cubicBezTo>
                <a:cubicBezTo>
                  <a:pt x="1205166" y="89477"/>
                  <a:pt x="1207323" y="84388"/>
                  <a:pt x="1211574" y="79814"/>
                </a:cubicBezTo>
                <a:cubicBezTo>
                  <a:pt x="1215825" y="75239"/>
                  <a:pt x="1221789" y="72815"/>
                  <a:pt x="1229467" y="72542"/>
                </a:cubicBezTo>
                <a:close/>
                <a:moveTo>
                  <a:pt x="1111963" y="72542"/>
                </a:moveTo>
                <a:cubicBezTo>
                  <a:pt x="1125212" y="72771"/>
                  <a:pt x="1136149" y="74673"/>
                  <a:pt x="1144775" y="78250"/>
                </a:cubicBezTo>
                <a:cubicBezTo>
                  <a:pt x="1153400" y="81827"/>
                  <a:pt x="1159834" y="85708"/>
                  <a:pt x="1164076" y="89893"/>
                </a:cubicBezTo>
                <a:lnTo>
                  <a:pt x="1150984" y="114878"/>
                </a:lnTo>
                <a:cubicBezTo>
                  <a:pt x="1146753" y="111530"/>
                  <a:pt x="1141358" y="108544"/>
                  <a:pt x="1134798" y="105920"/>
                </a:cubicBezTo>
                <a:cubicBezTo>
                  <a:pt x="1128238" y="103296"/>
                  <a:pt x="1121237" y="101911"/>
                  <a:pt x="1113794" y="101765"/>
                </a:cubicBezTo>
                <a:cubicBezTo>
                  <a:pt x="1108410" y="101879"/>
                  <a:pt x="1104228" y="103099"/>
                  <a:pt x="1101247" y="105424"/>
                </a:cubicBezTo>
                <a:cubicBezTo>
                  <a:pt x="1098265" y="107750"/>
                  <a:pt x="1096753" y="110494"/>
                  <a:pt x="1096708" y="113658"/>
                </a:cubicBezTo>
                <a:cubicBezTo>
                  <a:pt x="1097094" y="119124"/>
                  <a:pt x="1100952" y="123133"/>
                  <a:pt x="1108281" y="125684"/>
                </a:cubicBezTo>
                <a:cubicBezTo>
                  <a:pt x="1115611" y="128234"/>
                  <a:pt x="1124097" y="130833"/>
                  <a:pt x="1133741" y="133479"/>
                </a:cubicBezTo>
                <a:cubicBezTo>
                  <a:pt x="1143386" y="136125"/>
                  <a:pt x="1151872" y="140324"/>
                  <a:pt x="1159202" y="146076"/>
                </a:cubicBezTo>
                <a:cubicBezTo>
                  <a:pt x="1166531" y="151829"/>
                  <a:pt x="1170389" y="160640"/>
                  <a:pt x="1170775" y="172510"/>
                </a:cubicBezTo>
                <a:cubicBezTo>
                  <a:pt x="1170560" y="186202"/>
                  <a:pt x="1165509" y="196901"/>
                  <a:pt x="1155622" y="204609"/>
                </a:cubicBezTo>
                <a:cubicBezTo>
                  <a:pt x="1145735" y="212317"/>
                  <a:pt x="1132301" y="216237"/>
                  <a:pt x="1115319" y="216370"/>
                </a:cubicBezTo>
                <a:cubicBezTo>
                  <a:pt x="1102260" y="216002"/>
                  <a:pt x="1090349" y="213313"/>
                  <a:pt x="1079586" y="208303"/>
                </a:cubicBezTo>
                <a:cubicBezTo>
                  <a:pt x="1068824" y="203293"/>
                  <a:pt x="1061641" y="198169"/>
                  <a:pt x="1058037" y="192931"/>
                </a:cubicBezTo>
                <a:lnTo>
                  <a:pt x="1075091" y="170071"/>
                </a:lnTo>
                <a:cubicBezTo>
                  <a:pt x="1079607" y="174651"/>
                  <a:pt x="1086030" y="178603"/>
                  <a:pt x="1094360" y="181925"/>
                </a:cubicBezTo>
                <a:cubicBezTo>
                  <a:pt x="1102689" y="185248"/>
                  <a:pt x="1110489" y="186988"/>
                  <a:pt x="1117760" y="187147"/>
                </a:cubicBezTo>
                <a:cubicBezTo>
                  <a:pt x="1122915" y="187147"/>
                  <a:pt x="1127173" y="186080"/>
                  <a:pt x="1130536" y="183945"/>
                </a:cubicBezTo>
                <a:cubicBezTo>
                  <a:pt x="1133898" y="181811"/>
                  <a:pt x="1135640" y="178609"/>
                  <a:pt x="1135761" y="174340"/>
                </a:cubicBezTo>
                <a:cubicBezTo>
                  <a:pt x="1135375" y="169027"/>
                  <a:pt x="1131517" y="165112"/>
                  <a:pt x="1124188" y="162595"/>
                </a:cubicBezTo>
                <a:cubicBezTo>
                  <a:pt x="1116858" y="160079"/>
                  <a:pt x="1108372" y="157450"/>
                  <a:pt x="1098727" y="154710"/>
                </a:cubicBezTo>
                <a:cubicBezTo>
                  <a:pt x="1089083" y="151969"/>
                  <a:pt x="1080597" y="147606"/>
                  <a:pt x="1073267" y="141621"/>
                </a:cubicBezTo>
                <a:cubicBezTo>
                  <a:pt x="1065938" y="135636"/>
                  <a:pt x="1062080" y="126518"/>
                  <a:pt x="1061694" y="114268"/>
                </a:cubicBezTo>
                <a:cubicBezTo>
                  <a:pt x="1062017" y="100800"/>
                  <a:pt x="1066852" y="90495"/>
                  <a:pt x="1076199" y="83351"/>
                </a:cubicBezTo>
                <a:cubicBezTo>
                  <a:pt x="1085545" y="76208"/>
                  <a:pt x="1097467" y="72605"/>
                  <a:pt x="1111963" y="72542"/>
                </a:cubicBezTo>
                <a:close/>
                <a:moveTo>
                  <a:pt x="973665" y="72542"/>
                </a:moveTo>
                <a:cubicBezTo>
                  <a:pt x="993684" y="72649"/>
                  <a:pt x="1007892" y="77611"/>
                  <a:pt x="1016288" y="87429"/>
                </a:cubicBezTo>
                <a:cubicBezTo>
                  <a:pt x="1024684" y="97247"/>
                  <a:pt x="1028757" y="111284"/>
                  <a:pt x="1028509" y="129538"/>
                </a:cubicBezTo>
                <a:lnTo>
                  <a:pt x="1028509" y="213017"/>
                </a:lnTo>
                <a:lnTo>
                  <a:pt x="998064" y="213017"/>
                </a:lnTo>
                <a:lnTo>
                  <a:pt x="998064" y="197190"/>
                </a:lnTo>
                <a:cubicBezTo>
                  <a:pt x="994336" y="202454"/>
                  <a:pt x="988986" y="206690"/>
                  <a:pt x="982015" y="209899"/>
                </a:cubicBezTo>
                <a:cubicBezTo>
                  <a:pt x="975044" y="213108"/>
                  <a:pt x="966871" y="214757"/>
                  <a:pt x="957497" y="214846"/>
                </a:cubicBezTo>
                <a:cubicBezTo>
                  <a:pt x="944778" y="214751"/>
                  <a:pt x="934498" y="211059"/>
                  <a:pt x="926657" y="203769"/>
                </a:cubicBezTo>
                <a:cubicBezTo>
                  <a:pt x="918815" y="196479"/>
                  <a:pt x="914780" y="186159"/>
                  <a:pt x="914552" y="172807"/>
                </a:cubicBezTo>
                <a:cubicBezTo>
                  <a:pt x="914900" y="157748"/>
                  <a:pt x="919760" y="146561"/>
                  <a:pt x="929132" y="139245"/>
                </a:cubicBezTo>
                <a:cubicBezTo>
                  <a:pt x="938504" y="131929"/>
                  <a:pt x="950298" y="128288"/>
                  <a:pt x="964513" y="128321"/>
                </a:cubicBezTo>
                <a:cubicBezTo>
                  <a:pt x="970729" y="128384"/>
                  <a:pt x="976601" y="129246"/>
                  <a:pt x="982130" y="130907"/>
                </a:cubicBezTo>
                <a:cubicBezTo>
                  <a:pt x="987659" y="132568"/>
                  <a:pt x="992159" y="134648"/>
                  <a:pt x="995629" y="137146"/>
                </a:cubicBezTo>
                <a:cubicBezTo>
                  <a:pt x="996238" y="125668"/>
                  <a:pt x="994636" y="116913"/>
                  <a:pt x="990824" y="110881"/>
                </a:cubicBezTo>
                <a:cubicBezTo>
                  <a:pt x="987011" y="104849"/>
                  <a:pt x="980071" y="101810"/>
                  <a:pt x="970004" y="101765"/>
                </a:cubicBezTo>
                <a:cubicBezTo>
                  <a:pt x="962194" y="101873"/>
                  <a:pt x="955473" y="102878"/>
                  <a:pt x="949841" y="104779"/>
                </a:cubicBezTo>
                <a:cubicBezTo>
                  <a:pt x="944209" y="106681"/>
                  <a:pt x="938941" y="108830"/>
                  <a:pt x="934038" y="111227"/>
                </a:cubicBezTo>
                <a:lnTo>
                  <a:pt x="925209" y="85632"/>
                </a:lnTo>
                <a:cubicBezTo>
                  <a:pt x="931298" y="82023"/>
                  <a:pt x="938608" y="78966"/>
                  <a:pt x="947140" y="76462"/>
                </a:cubicBezTo>
                <a:cubicBezTo>
                  <a:pt x="955672" y="73957"/>
                  <a:pt x="964514" y="72650"/>
                  <a:pt x="973665" y="72542"/>
                </a:cubicBezTo>
                <a:close/>
                <a:moveTo>
                  <a:pt x="208463" y="72542"/>
                </a:moveTo>
                <a:cubicBezTo>
                  <a:pt x="231448" y="72966"/>
                  <a:pt x="249570" y="79806"/>
                  <a:pt x="262827" y="93063"/>
                </a:cubicBezTo>
                <a:cubicBezTo>
                  <a:pt x="276085" y="106319"/>
                  <a:pt x="282849" y="123450"/>
                  <a:pt x="283121" y="144456"/>
                </a:cubicBezTo>
                <a:cubicBezTo>
                  <a:pt x="282849" y="165462"/>
                  <a:pt x="276085" y="182594"/>
                  <a:pt x="262827" y="195850"/>
                </a:cubicBezTo>
                <a:cubicBezTo>
                  <a:pt x="249570" y="209106"/>
                  <a:pt x="231448" y="215946"/>
                  <a:pt x="208463" y="216370"/>
                </a:cubicBezTo>
                <a:cubicBezTo>
                  <a:pt x="185479" y="215946"/>
                  <a:pt x="167358" y="209106"/>
                  <a:pt x="154101" y="195850"/>
                </a:cubicBezTo>
                <a:cubicBezTo>
                  <a:pt x="140843" y="182594"/>
                  <a:pt x="134079" y="165462"/>
                  <a:pt x="133807" y="144456"/>
                </a:cubicBezTo>
                <a:cubicBezTo>
                  <a:pt x="134078" y="123450"/>
                  <a:pt x="140843" y="106319"/>
                  <a:pt x="154101" y="93063"/>
                </a:cubicBezTo>
                <a:cubicBezTo>
                  <a:pt x="167358" y="79806"/>
                  <a:pt x="185479" y="72966"/>
                  <a:pt x="208463" y="72542"/>
                </a:cubicBezTo>
                <a:close/>
                <a:moveTo>
                  <a:pt x="828141" y="0"/>
                </a:moveTo>
                <a:lnTo>
                  <a:pt x="863155" y="0"/>
                </a:lnTo>
                <a:lnTo>
                  <a:pt x="863155" y="160971"/>
                </a:lnTo>
                <a:cubicBezTo>
                  <a:pt x="863136" y="168686"/>
                  <a:pt x="864089" y="174329"/>
                  <a:pt x="866013" y="177898"/>
                </a:cubicBezTo>
                <a:cubicBezTo>
                  <a:pt x="867937" y="181467"/>
                  <a:pt x="870947" y="183229"/>
                  <a:pt x="875042" y="183185"/>
                </a:cubicBezTo>
                <a:cubicBezTo>
                  <a:pt x="877773" y="183147"/>
                  <a:pt x="880313" y="182614"/>
                  <a:pt x="882662" y="181587"/>
                </a:cubicBezTo>
                <a:cubicBezTo>
                  <a:pt x="885012" y="180560"/>
                  <a:pt x="887247" y="179267"/>
                  <a:pt x="889368" y="177708"/>
                </a:cubicBezTo>
                <a:lnTo>
                  <a:pt x="896683" y="204496"/>
                </a:lnTo>
                <a:cubicBezTo>
                  <a:pt x="892733" y="207775"/>
                  <a:pt x="887755" y="210503"/>
                  <a:pt x="881748" y="212678"/>
                </a:cubicBezTo>
                <a:cubicBezTo>
                  <a:pt x="875742" y="214854"/>
                  <a:pt x="868631" y="215983"/>
                  <a:pt x="860415" y="216065"/>
                </a:cubicBezTo>
                <a:cubicBezTo>
                  <a:pt x="849879" y="216116"/>
                  <a:pt x="841874" y="212818"/>
                  <a:pt x="836400" y="206171"/>
                </a:cubicBezTo>
                <a:cubicBezTo>
                  <a:pt x="830926" y="199524"/>
                  <a:pt x="828173" y="189225"/>
                  <a:pt x="828141" y="175273"/>
                </a:cubicBezTo>
                <a:close/>
                <a:moveTo>
                  <a:pt x="0" y="0"/>
                </a:moveTo>
                <a:lnTo>
                  <a:pt x="121882" y="0"/>
                </a:lnTo>
                <a:lnTo>
                  <a:pt x="121882" y="35014"/>
                </a:lnTo>
                <a:lnTo>
                  <a:pt x="37452" y="35014"/>
                </a:lnTo>
                <a:lnTo>
                  <a:pt x="37452" y="95098"/>
                </a:lnTo>
                <a:lnTo>
                  <a:pt x="112738" y="95098"/>
                </a:lnTo>
                <a:lnTo>
                  <a:pt x="112738" y="130111"/>
                </a:lnTo>
                <a:lnTo>
                  <a:pt x="37452" y="130111"/>
                </a:lnTo>
                <a:lnTo>
                  <a:pt x="37452" y="213017"/>
                </a:lnTo>
                <a:lnTo>
                  <a:pt x="0" y="213017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uk-UA" sz="1400"/>
          </a:p>
        </p:txBody>
      </p:sp>
      <p:cxnSp>
        <p:nvCxnSpPr>
          <p:cNvPr id="235" name="Пряма сполучна лінія 234">
            <a:extLst>
              <a:ext uri="{FF2B5EF4-FFF2-40B4-BE49-F238E27FC236}">
                <a16:creationId xmlns:a16="http://schemas.microsoft.com/office/drawing/2014/main" id="{F8830C57-0F78-F2DA-4B5D-2B971746D49E}"/>
              </a:ext>
            </a:extLst>
          </p:cNvPr>
          <p:cNvCxnSpPr>
            <a:cxnSpLocks/>
          </p:cNvCxnSpPr>
          <p:nvPr/>
        </p:nvCxnSpPr>
        <p:spPr>
          <a:xfrm>
            <a:off x="992625" y="4354701"/>
            <a:ext cx="5618818" cy="0"/>
          </a:xfrm>
          <a:prstGeom prst="line">
            <a:avLst/>
          </a:prstGeom>
          <a:ln w="158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45000">
                  <a:schemeClr val="accent1">
                    <a:lumMod val="45000"/>
                    <a:lumOff val="55000"/>
                  </a:schemeClr>
                </a:gs>
                <a:gs pos="100000">
                  <a:srgbClr val="DEF0FA">
                    <a:alpha val="3000"/>
                  </a:srgbClr>
                </a:gs>
                <a:gs pos="57000">
                  <a:schemeClr val="accent1">
                    <a:lumMod val="45000"/>
                    <a:lumOff val="55000"/>
                  </a:schemeClr>
                </a:gs>
              </a:gsLst>
              <a:lin ang="6000000" scaled="0"/>
            </a:gradFill>
          </a:ln>
          <a:effectLst>
            <a:outerShdw blurRad="317500" dist="76200" dir="8280000" sx="106000" sy="106000" algn="t" rotWithShape="0">
              <a:schemeClr val="bg1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 сполучна лінія 8">
            <a:extLst>
              <a:ext uri="{FF2B5EF4-FFF2-40B4-BE49-F238E27FC236}">
                <a16:creationId xmlns:a16="http://schemas.microsoft.com/office/drawing/2014/main" id="{F9E8D35A-DA72-46C5-2258-DF2C4894D7C9}"/>
              </a:ext>
            </a:extLst>
          </p:cNvPr>
          <p:cNvCxnSpPr>
            <a:cxnSpLocks/>
          </p:cNvCxnSpPr>
          <p:nvPr/>
        </p:nvCxnSpPr>
        <p:spPr>
          <a:xfrm>
            <a:off x="639318" y="5390874"/>
            <a:ext cx="5618818" cy="0"/>
          </a:xfrm>
          <a:prstGeom prst="line">
            <a:avLst/>
          </a:prstGeom>
          <a:ln w="158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45000">
                  <a:schemeClr val="accent1">
                    <a:lumMod val="45000"/>
                    <a:lumOff val="55000"/>
                  </a:schemeClr>
                </a:gs>
                <a:gs pos="100000">
                  <a:srgbClr val="DEF0FA">
                    <a:alpha val="3000"/>
                  </a:srgbClr>
                </a:gs>
                <a:gs pos="57000">
                  <a:schemeClr val="accent1">
                    <a:lumMod val="45000"/>
                    <a:lumOff val="55000"/>
                  </a:schemeClr>
                </a:gs>
              </a:gsLst>
              <a:lin ang="6000000" scaled="0"/>
            </a:gradFill>
          </a:ln>
          <a:effectLst>
            <a:outerShdw blurRad="317500" dist="76200" dir="8280000" sx="106000" sy="106000" algn="t" rotWithShape="0">
              <a:schemeClr val="bg1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 сполучна лінія 9">
            <a:extLst>
              <a:ext uri="{FF2B5EF4-FFF2-40B4-BE49-F238E27FC236}">
                <a16:creationId xmlns:a16="http://schemas.microsoft.com/office/drawing/2014/main" id="{0AE26FB3-E18E-E704-3B0F-82031AB06026}"/>
              </a:ext>
            </a:extLst>
          </p:cNvPr>
          <p:cNvCxnSpPr>
            <a:cxnSpLocks/>
          </p:cNvCxnSpPr>
          <p:nvPr/>
        </p:nvCxnSpPr>
        <p:spPr>
          <a:xfrm>
            <a:off x="780203" y="6294354"/>
            <a:ext cx="5618818" cy="0"/>
          </a:xfrm>
          <a:prstGeom prst="line">
            <a:avLst/>
          </a:prstGeom>
          <a:ln w="1587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45000">
                  <a:schemeClr val="accent1">
                    <a:lumMod val="45000"/>
                    <a:lumOff val="55000"/>
                  </a:schemeClr>
                </a:gs>
                <a:gs pos="100000">
                  <a:srgbClr val="DEF0FA">
                    <a:alpha val="3000"/>
                  </a:srgbClr>
                </a:gs>
                <a:gs pos="57000">
                  <a:schemeClr val="accent1">
                    <a:lumMod val="45000"/>
                    <a:lumOff val="55000"/>
                  </a:schemeClr>
                </a:gs>
              </a:gsLst>
              <a:lin ang="6000000" scaled="0"/>
            </a:gradFill>
          </a:ln>
          <a:effectLst>
            <a:outerShdw blurRad="317500" dist="76200" dir="8280000" sx="106000" sy="106000" algn="t" rotWithShape="0">
              <a:schemeClr val="bg1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7" name="Групувати 56">
            <a:extLst>
              <a:ext uri="{FF2B5EF4-FFF2-40B4-BE49-F238E27FC236}">
                <a16:creationId xmlns:a16="http://schemas.microsoft.com/office/drawing/2014/main" id="{C0AEAC02-437F-FEF8-4E45-BCA7D58BEB70}"/>
              </a:ext>
            </a:extLst>
          </p:cNvPr>
          <p:cNvGrpSpPr/>
          <p:nvPr/>
        </p:nvGrpSpPr>
        <p:grpSpPr>
          <a:xfrm>
            <a:off x="10570261" y="104129"/>
            <a:ext cx="1405132" cy="300056"/>
            <a:chOff x="8944864" y="1776832"/>
            <a:chExt cx="1022457" cy="221924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35AB380-A63E-A7E2-1631-F7B11BA3E956}"/>
                </a:ext>
              </a:extLst>
            </p:cNvPr>
            <p:cNvSpPr txBox="1"/>
            <p:nvPr/>
          </p:nvSpPr>
          <p:spPr>
            <a:xfrm>
              <a:off x="9569202" y="1795187"/>
              <a:ext cx="97196" cy="96262"/>
            </a:xfrm>
            <a:custGeom>
              <a:avLst/>
              <a:gdLst/>
              <a:ahLst/>
              <a:cxnLst/>
              <a:rect l="l" t="t" r="r" b="b"/>
              <a:pathLst>
                <a:path w="97196" h="96262">
                  <a:moveTo>
                    <a:pt x="48531" y="0"/>
                  </a:moveTo>
                  <a:cubicBezTo>
                    <a:pt x="57866" y="55"/>
                    <a:pt x="66182" y="2061"/>
                    <a:pt x="73479" y="6016"/>
                  </a:cubicBezTo>
                  <a:cubicBezTo>
                    <a:pt x="80775" y="9972"/>
                    <a:pt x="86530" y="15542"/>
                    <a:pt x="90744" y="22729"/>
                  </a:cubicBezTo>
                  <a:cubicBezTo>
                    <a:pt x="94958" y="29915"/>
                    <a:pt x="97109" y="38382"/>
                    <a:pt x="97196" y="48130"/>
                  </a:cubicBezTo>
                  <a:cubicBezTo>
                    <a:pt x="97109" y="57543"/>
                    <a:pt x="94958" y="65852"/>
                    <a:pt x="90744" y="73058"/>
                  </a:cubicBezTo>
                  <a:cubicBezTo>
                    <a:pt x="86530" y="80264"/>
                    <a:pt x="80775" y="85914"/>
                    <a:pt x="73479" y="90008"/>
                  </a:cubicBezTo>
                  <a:cubicBezTo>
                    <a:pt x="66182" y="94102"/>
                    <a:pt x="57866" y="96186"/>
                    <a:pt x="48531" y="96262"/>
                  </a:cubicBezTo>
                  <a:cubicBezTo>
                    <a:pt x="39198" y="96206"/>
                    <a:pt x="30894" y="94200"/>
                    <a:pt x="23618" y="90245"/>
                  </a:cubicBezTo>
                  <a:cubicBezTo>
                    <a:pt x="16343" y="86290"/>
                    <a:pt x="10610" y="80719"/>
                    <a:pt x="6417" y="73532"/>
                  </a:cubicBezTo>
                  <a:cubicBezTo>
                    <a:pt x="2225" y="66346"/>
                    <a:pt x="86" y="57879"/>
                    <a:pt x="0" y="48130"/>
                  </a:cubicBezTo>
                  <a:cubicBezTo>
                    <a:pt x="68" y="39012"/>
                    <a:pt x="2138" y="30841"/>
                    <a:pt x="6210" y="23618"/>
                  </a:cubicBezTo>
                  <a:cubicBezTo>
                    <a:pt x="10281" y="16395"/>
                    <a:pt x="15946" y="10676"/>
                    <a:pt x="23203" y="6461"/>
                  </a:cubicBezTo>
                  <a:cubicBezTo>
                    <a:pt x="30461" y="2246"/>
                    <a:pt x="38904" y="92"/>
                    <a:pt x="48531" y="0"/>
                  </a:cubicBezTo>
                  <a:close/>
                  <a:moveTo>
                    <a:pt x="48531" y="15318"/>
                  </a:moveTo>
                  <a:cubicBezTo>
                    <a:pt x="39411" y="15477"/>
                    <a:pt x="31975" y="18528"/>
                    <a:pt x="26223" y="24472"/>
                  </a:cubicBezTo>
                  <a:cubicBezTo>
                    <a:pt x="20470" y="30415"/>
                    <a:pt x="17503" y="38302"/>
                    <a:pt x="17319" y="48130"/>
                  </a:cubicBezTo>
                  <a:cubicBezTo>
                    <a:pt x="17528" y="57667"/>
                    <a:pt x="20545" y="65470"/>
                    <a:pt x="26373" y="71539"/>
                  </a:cubicBezTo>
                  <a:cubicBezTo>
                    <a:pt x="32200" y="77608"/>
                    <a:pt x="39586" y="80743"/>
                    <a:pt x="48531" y="80943"/>
                  </a:cubicBezTo>
                  <a:cubicBezTo>
                    <a:pt x="58415" y="80726"/>
                    <a:pt x="66091" y="77558"/>
                    <a:pt x="71557" y="71439"/>
                  </a:cubicBezTo>
                  <a:cubicBezTo>
                    <a:pt x="77023" y="65320"/>
                    <a:pt x="79796" y="57551"/>
                    <a:pt x="79877" y="48130"/>
                  </a:cubicBezTo>
                  <a:cubicBezTo>
                    <a:pt x="79671" y="38302"/>
                    <a:pt x="76648" y="30415"/>
                    <a:pt x="70807" y="24472"/>
                  </a:cubicBezTo>
                  <a:cubicBezTo>
                    <a:pt x="64965" y="18528"/>
                    <a:pt x="57540" y="15477"/>
                    <a:pt x="48531" y="15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F8EBCAE-2A42-42E0-C84C-445A7F18945A}"/>
                </a:ext>
              </a:extLst>
            </p:cNvPr>
            <p:cNvSpPr txBox="1"/>
            <p:nvPr/>
          </p:nvSpPr>
          <p:spPr>
            <a:xfrm>
              <a:off x="9683502" y="1795187"/>
              <a:ext cx="83594" cy="96262"/>
            </a:xfrm>
            <a:custGeom>
              <a:avLst/>
              <a:gdLst/>
              <a:ahLst/>
              <a:cxnLst/>
              <a:rect l="l" t="t" r="r" b="b"/>
              <a:pathLst>
                <a:path w="83594" h="96262">
                  <a:moveTo>
                    <a:pt x="46532" y="0"/>
                  </a:moveTo>
                  <a:cubicBezTo>
                    <a:pt x="53144" y="19"/>
                    <a:pt x="58862" y="846"/>
                    <a:pt x="63688" y="2481"/>
                  </a:cubicBezTo>
                  <a:cubicBezTo>
                    <a:pt x="68514" y="4115"/>
                    <a:pt x="72796" y="6441"/>
                    <a:pt x="76534" y="9457"/>
                  </a:cubicBezTo>
                  <a:lnTo>
                    <a:pt x="69608" y="22523"/>
                  </a:lnTo>
                  <a:cubicBezTo>
                    <a:pt x="67196" y="20297"/>
                    <a:pt x="64117" y="18546"/>
                    <a:pt x="60371" y="17270"/>
                  </a:cubicBezTo>
                  <a:cubicBezTo>
                    <a:pt x="56625" y="15994"/>
                    <a:pt x="52679" y="15343"/>
                    <a:pt x="48533" y="15318"/>
                  </a:cubicBezTo>
                  <a:cubicBezTo>
                    <a:pt x="39354" y="15385"/>
                    <a:pt x="31901" y="18253"/>
                    <a:pt x="26173" y="23923"/>
                  </a:cubicBezTo>
                  <a:cubicBezTo>
                    <a:pt x="20446" y="29593"/>
                    <a:pt x="17494" y="37664"/>
                    <a:pt x="17319" y="48135"/>
                  </a:cubicBezTo>
                  <a:cubicBezTo>
                    <a:pt x="17453" y="58192"/>
                    <a:pt x="20354" y="66143"/>
                    <a:pt x="26023" y="71988"/>
                  </a:cubicBezTo>
                  <a:cubicBezTo>
                    <a:pt x="31692" y="77832"/>
                    <a:pt x="39329" y="80817"/>
                    <a:pt x="48933" y="80943"/>
                  </a:cubicBezTo>
                  <a:cubicBezTo>
                    <a:pt x="52674" y="80885"/>
                    <a:pt x="56364" y="80234"/>
                    <a:pt x="60005" y="78991"/>
                  </a:cubicBezTo>
                  <a:cubicBezTo>
                    <a:pt x="63645" y="77748"/>
                    <a:pt x="66402" y="76264"/>
                    <a:pt x="68276" y="74537"/>
                  </a:cubicBezTo>
                  <a:lnTo>
                    <a:pt x="68276" y="59857"/>
                  </a:lnTo>
                  <a:lnTo>
                    <a:pt x="45732" y="59857"/>
                  </a:lnTo>
                  <a:lnTo>
                    <a:pt x="45732" y="44539"/>
                  </a:lnTo>
                  <a:lnTo>
                    <a:pt x="83594" y="44539"/>
                  </a:lnTo>
                  <a:lnTo>
                    <a:pt x="83594" y="83208"/>
                  </a:lnTo>
                  <a:cubicBezTo>
                    <a:pt x="79251" y="87365"/>
                    <a:pt x="73848" y="90573"/>
                    <a:pt x="67385" y="92832"/>
                  </a:cubicBezTo>
                  <a:cubicBezTo>
                    <a:pt x="60922" y="95091"/>
                    <a:pt x="54683" y="96234"/>
                    <a:pt x="48666" y="96262"/>
                  </a:cubicBezTo>
                  <a:cubicBezTo>
                    <a:pt x="33274" y="96073"/>
                    <a:pt x="21345" y="91686"/>
                    <a:pt x="12878" y="83100"/>
                  </a:cubicBezTo>
                  <a:cubicBezTo>
                    <a:pt x="4412" y="74514"/>
                    <a:pt x="119" y="62859"/>
                    <a:pt x="0" y="48135"/>
                  </a:cubicBezTo>
                  <a:cubicBezTo>
                    <a:pt x="46" y="39100"/>
                    <a:pt x="1953" y="30968"/>
                    <a:pt x="5721" y="23739"/>
                  </a:cubicBezTo>
                  <a:cubicBezTo>
                    <a:pt x="9488" y="16510"/>
                    <a:pt x="14842" y="10771"/>
                    <a:pt x="21781" y="6521"/>
                  </a:cubicBezTo>
                  <a:cubicBezTo>
                    <a:pt x="28721" y="2271"/>
                    <a:pt x="36971" y="97"/>
                    <a:pt x="46532" y="0"/>
                  </a:cubicBez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5A54BE1-3C2B-595F-4FB9-25F8DB5AB35B}"/>
                </a:ext>
              </a:extLst>
            </p:cNvPr>
            <p:cNvSpPr txBox="1"/>
            <p:nvPr/>
          </p:nvSpPr>
          <p:spPr>
            <a:xfrm>
              <a:off x="92879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C1ADEA2-8EF7-D1D9-2F3A-25B7F068D671}"/>
                </a:ext>
              </a:extLst>
            </p:cNvPr>
            <p:cNvSpPr txBox="1"/>
            <p:nvPr/>
          </p:nvSpPr>
          <p:spPr>
            <a:xfrm>
              <a:off x="97832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E4FE3D73-E59C-9EBD-82B6-712743FE0A6A}"/>
                </a:ext>
              </a:extLst>
            </p:cNvPr>
            <p:cNvSpPr txBox="1"/>
            <p:nvPr/>
          </p:nvSpPr>
          <p:spPr>
            <a:xfrm>
              <a:off x="9185612" y="1796788"/>
              <a:ext cx="79726" cy="93195"/>
            </a:xfrm>
            <a:custGeom>
              <a:avLst/>
              <a:gdLst/>
              <a:ahLst/>
              <a:cxnLst/>
              <a:rect l="l" t="t" r="r" b="b"/>
              <a:pathLst>
                <a:path w="79726" h="93195">
                  <a:moveTo>
                    <a:pt x="0" y="0"/>
                  </a:moveTo>
                  <a:lnTo>
                    <a:pt x="13054" y="0"/>
                  </a:lnTo>
                  <a:lnTo>
                    <a:pt x="64408" y="64837"/>
                  </a:lnTo>
                  <a:lnTo>
                    <a:pt x="64408" y="0"/>
                  </a:lnTo>
                  <a:lnTo>
                    <a:pt x="79726" y="0"/>
                  </a:lnTo>
                  <a:lnTo>
                    <a:pt x="79726" y="93195"/>
                  </a:lnTo>
                  <a:lnTo>
                    <a:pt x="66672" y="93195"/>
                  </a:lnTo>
                  <a:lnTo>
                    <a:pt x="15318" y="28624"/>
                  </a:lnTo>
                  <a:lnTo>
                    <a:pt x="15318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0F3C5D1-1743-4B63-04B2-3240EAB79116}"/>
                </a:ext>
              </a:extLst>
            </p:cNvPr>
            <p:cNvSpPr txBox="1"/>
            <p:nvPr/>
          </p:nvSpPr>
          <p:spPr>
            <a:xfrm>
              <a:off x="9404688" y="1796788"/>
              <a:ext cx="53323" cy="93195"/>
            </a:xfrm>
            <a:custGeom>
              <a:avLst/>
              <a:gdLst/>
              <a:ahLst/>
              <a:cxnLst/>
              <a:rect l="l" t="t" r="r" b="b"/>
              <a:pathLst>
                <a:path w="53323" h="93195">
                  <a:moveTo>
                    <a:pt x="0" y="0"/>
                  </a:moveTo>
                  <a:lnTo>
                    <a:pt x="53323" y="0"/>
                  </a:lnTo>
                  <a:lnTo>
                    <a:pt x="53323" y="15318"/>
                  </a:lnTo>
                  <a:lnTo>
                    <a:pt x="16385" y="15318"/>
                  </a:lnTo>
                  <a:lnTo>
                    <a:pt x="16385" y="41605"/>
                  </a:lnTo>
                  <a:lnTo>
                    <a:pt x="49322" y="41605"/>
                  </a:lnTo>
                  <a:lnTo>
                    <a:pt x="49322" y="56924"/>
                  </a:lnTo>
                  <a:lnTo>
                    <a:pt x="16385" y="56924"/>
                  </a:lnTo>
                  <a:lnTo>
                    <a:pt x="16385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F34D760-1AF3-84B4-C89E-C73A869F19AA}"/>
                </a:ext>
              </a:extLst>
            </p:cNvPr>
            <p:cNvSpPr txBox="1"/>
            <p:nvPr/>
          </p:nvSpPr>
          <p:spPr>
            <a:xfrm>
              <a:off x="9478810" y="1796788"/>
              <a:ext cx="76926" cy="93195"/>
            </a:xfrm>
            <a:custGeom>
              <a:avLst/>
              <a:gdLst/>
              <a:ahLst/>
              <a:cxnLst/>
              <a:rect l="l" t="t" r="r" b="b"/>
              <a:pathLst>
                <a:path w="76926" h="93195">
                  <a:moveTo>
                    <a:pt x="0" y="0"/>
                  </a:moveTo>
                  <a:lnTo>
                    <a:pt x="76926" y="0"/>
                  </a:lnTo>
                  <a:lnTo>
                    <a:pt x="76926" y="15318"/>
                  </a:lnTo>
                  <a:lnTo>
                    <a:pt x="46656" y="15318"/>
                  </a:lnTo>
                  <a:lnTo>
                    <a:pt x="46656" y="93195"/>
                  </a:lnTo>
                  <a:lnTo>
                    <a:pt x="30270" y="93195"/>
                  </a:lnTo>
                  <a:lnTo>
                    <a:pt x="30270" y="15318"/>
                  </a:lnTo>
                  <a:lnTo>
                    <a:pt x="0" y="15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D2F4A49-09D4-DE01-C9E2-D8A5DCDDE931}"/>
                </a:ext>
              </a:extLst>
            </p:cNvPr>
            <p:cNvSpPr txBox="1"/>
            <p:nvPr/>
          </p:nvSpPr>
          <p:spPr>
            <a:xfrm>
              <a:off x="9892378" y="1796788"/>
              <a:ext cx="74943" cy="93195"/>
            </a:xfrm>
            <a:custGeom>
              <a:avLst/>
              <a:gdLst/>
              <a:ahLst/>
              <a:cxnLst/>
              <a:rect l="l" t="t" r="r" b="b"/>
              <a:pathLst>
                <a:path w="74943" h="93195">
                  <a:moveTo>
                    <a:pt x="2667" y="0"/>
                  </a:moveTo>
                  <a:lnTo>
                    <a:pt x="73609" y="0"/>
                  </a:lnTo>
                  <a:lnTo>
                    <a:pt x="73609" y="11322"/>
                  </a:lnTo>
                  <a:lnTo>
                    <a:pt x="21870" y="77876"/>
                  </a:lnTo>
                  <a:lnTo>
                    <a:pt x="74943" y="77876"/>
                  </a:lnTo>
                  <a:lnTo>
                    <a:pt x="74943" y="93195"/>
                  </a:lnTo>
                  <a:lnTo>
                    <a:pt x="0" y="93195"/>
                  </a:lnTo>
                  <a:lnTo>
                    <a:pt x="0" y="82006"/>
                  </a:lnTo>
                  <a:lnTo>
                    <a:pt x="51607" y="15318"/>
                  </a:lnTo>
                  <a:lnTo>
                    <a:pt x="2667" y="15318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66" name="Freeform 218">
              <a:extLst>
                <a:ext uri="{FF2B5EF4-FFF2-40B4-BE49-F238E27FC236}">
                  <a16:creationId xmlns:a16="http://schemas.microsoft.com/office/drawing/2014/main" id="{2C2A0666-F6AA-9715-596F-8E0F7F725387}"/>
                </a:ext>
              </a:extLst>
            </p:cNvPr>
            <p:cNvSpPr/>
            <p:nvPr/>
          </p:nvSpPr>
          <p:spPr>
            <a:xfrm>
              <a:off x="9064800" y="1991655"/>
              <a:ext cx="4609" cy="1336"/>
            </a:xfrm>
            <a:custGeom>
              <a:avLst/>
              <a:gdLst/>
              <a:ahLst/>
              <a:cxnLst/>
              <a:rect l="0" t="0" r="0" b="0"/>
              <a:pathLst>
                <a:path w="13665" h="3962">
                  <a:moveTo>
                    <a:pt x="0" y="3962"/>
                  </a:moveTo>
                  <a:cubicBezTo>
                    <a:pt x="4610" y="2731"/>
                    <a:pt x="9169" y="1626"/>
                    <a:pt x="13665" y="0"/>
                  </a:cubicBezTo>
                  <a:cubicBezTo>
                    <a:pt x="8978" y="1384"/>
                    <a:pt x="4508" y="2731"/>
                    <a:pt x="0" y="3962"/>
                  </a:cubicBezTo>
                </a:path>
              </a:pathLst>
            </a:custGeom>
            <a:solidFill>
              <a:srgbClr val="000000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pic>
          <p:nvPicPr>
            <p:cNvPr id="67" name="Picture 219">
              <a:extLst>
                <a:ext uri="{FF2B5EF4-FFF2-40B4-BE49-F238E27FC236}">
                  <a16:creationId xmlns:a16="http://schemas.microsoft.com/office/drawing/2014/main" id="{77552A5D-15F2-8FEA-3C97-44E192734548}"/>
                </a:ext>
              </a:extLst>
            </p:cNvPr>
            <p:cNvPicPr/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058175" y="1988501"/>
              <a:ext cx="15518" cy="10255"/>
            </a:xfrm>
            <a:prstGeom prst="rect">
              <a:avLst/>
            </a:prstGeom>
            <a:noFill/>
          </p:spPr>
        </p:pic>
        <p:grpSp>
          <p:nvGrpSpPr>
            <p:cNvPr id="68" name="Групувати 67">
              <a:extLst>
                <a:ext uri="{FF2B5EF4-FFF2-40B4-BE49-F238E27FC236}">
                  <a16:creationId xmlns:a16="http://schemas.microsoft.com/office/drawing/2014/main" id="{9FB83D4B-1222-0D79-D8FC-67030FD9D8D4}"/>
                </a:ext>
              </a:extLst>
            </p:cNvPr>
            <p:cNvGrpSpPr/>
            <p:nvPr/>
          </p:nvGrpSpPr>
          <p:grpSpPr>
            <a:xfrm>
              <a:off x="8944864" y="1776832"/>
              <a:ext cx="207633" cy="206717"/>
              <a:chOff x="5192198" y="3302281"/>
              <a:chExt cx="207633" cy="206717"/>
            </a:xfrm>
          </p:grpSpPr>
          <p:sp>
            <p:nvSpPr>
              <p:cNvPr id="82" name="Freeform 220">
                <a:extLst>
                  <a:ext uri="{FF2B5EF4-FFF2-40B4-BE49-F238E27FC236}">
                    <a16:creationId xmlns:a16="http://schemas.microsoft.com/office/drawing/2014/main" id="{C4C46D63-4091-D0AD-31D3-86951A9F2136}"/>
                  </a:ext>
                </a:extLst>
              </p:cNvPr>
              <p:cNvSpPr/>
              <p:nvPr/>
            </p:nvSpPr>
            <p:spPr>
              <a:xfrm>
                <a:off x="5309209" y="3316368"/>
                <a:ext cx="90622" cy="178639"/>
              </a:xfrm>
              <a:custGeom>
                <a:avLst/>
                <a:gdLst/>
                <a:ahLst/>
                <a:cxnLst/>
                <a:rect l="0" t="0" r="0" b="0"/>
                <a:pathLst>
                  <a:path w="268693" h="529665">
                    <a:moveTo>
                      <a:pt x="249186" y="162356"/>
                    </a:moveTo>
                    <a:cubicBezTo>
                      <a:pt x="249490" y="162482"/>
                      <a:pt x="249770" y="162521"/>
                      <a:pt x="250049" y="162724"/>
                    </a:cubicBezTo>
                    <a:cubicBezTo>
                      <a:pt x="233972" y="106400"/>
                      <a:pt x="199834" y="59042"/>
                      <a:pt x="150126" y="24841"/>
                    </a:cubicBezTo>
                    <a:cubicBezTo>
                      <a:pt x="127165" y="9055"/>
                      <a:pt x="100622" y="0"/>
                      <a:pt x="77356" y="0"/>
                    </a:cubicBezTo>
                    <a:cubicBezTo>
                      <a:pt x="63970" y="0"/>
                      <a:pt x="51701" y="2844"/>
                      <a:pt x="41008" y="8661"/>
                    </a:cubicBezTo>
                    <a:cubicBezTo>
                      <a:pt x="13894" y="24498"/>
                      <a:pt x="0" y="46990"/>
                      <a:pt x="0" y="75565"/>
                    </a:cubicBezTo>
                    <a:cubicBezTo>
                      <a:pt x="0" y="122174"/>
                      <a:pt x="27051" y="149669"/>
                      <a:pt x="67932" y="191324"/>
                    </a:cubicBezTo>
                    <a:cubicBezTo>
                      <a:pt x="89205" y="213003"/>
                      <a:pt x="113068" y="237336"/>
                      <a:pt x="136474" y="268591"/>
                    </a:cubicBezTo>
                    <a:cubicBezTo>
                      <a:pt x="174879" y="319785"/>
                      <a:pt x="184366" y="391375"/>
                      <a:pt x="161239" y="455687"/>
                    </a:cubicBezTo>
                    <a:cubicBezTo>
                      <a:pt x="151143" y="483754"/>
                      <a:pt x="135737" y="508431"/>
                      <a:pt x="115798" y="528992"/>
                    </a:cubicBezTo>
                    <a:cubicBezTo>
                      <a:pt x="115519" y="529068"/>
                      <a:pt x="115468" y="529462"/>
                      <a:pt x="115214" y="529665"/>
                    </a:cubicBezTo>
                    <a:cubicBezTo>
                      <a:pt x="163931" y="502233"/>
                      <a:pt x="200685" y="463269"/>
                      <a:pt x="223342" y="414768"/>
                    </a:cubicBezTo>
                    <a:cubicBezTo>
                      <a:pt x="268693" y="317359"/>
                      <a:pt x="235026" y="249795"/>
                      <a:pt x="214922" y="209384"/>
                    </a:cubicBezTo>
                    <a:cubicBezTo>
                      <a:pt x="204610" y="188670"/>
                      <a:pt x="197193" y="173531"/>
                      <a:pt x="204711" y="162191"/>
                    </a:cubicBezTo>
                    <a:cubicBezTo>
                      <a:pt x="213411" y="149098"/>
                      <a:pt x="229451" y="148463"/>
                      <a:pt x="249186" y="162356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sp>
            <p:nvSpPr>
              <p:cNvPr id="83" name="Freeform 221">
                <a:extLst>
                  <a:ext uri="{FF2B5EF4-FFF2-40B4-BE49-F238E27FC236}">
                    <a16:creationId xmlns:a16="http://schemas.microsoft.com/office/drawing/2014/main" id="{82AC0A02-3375-0A74-7292-E5733F81699A}"/>
                  </a:ext>
                </a:extLst>
              </p:cNvPr>
              <p:cNvSpPr/>
              <p:nvPr/>
            </p:nvSpPr>
            <p:spPr>
              <a:xfrm>
                <a:off x="5192198" y="3326401"/>
                <a:ext cx="131219" cy="179925"/>
              </a:xfrm>
              <a:custGeom>
                <a:avLst/>
                <a:gdLst/>
                <a:ahLst/>
                <a:cxnLst/>
                <a:rect l="0" t="0" r="0" b="0"/>
                <a:pathLst>
                  <a:path w="389064" h="533476">
                    <a:moveTo>
                      <a:pt x="374561" y="363639"/>
                    </a:moveTo>
                    <a:cubicBezTo>
                      <a:pt x="345733" y="318936"/>
                      <a:pt x="304800" y="303162"/>
                      <a:pt x="261519" y="286563"/>
                    </a:cubicBezTo>
                    <a:cubicBezTo>
                      <a:pt x="219050" y="270142"/>
                      <a:pt x="175095" y="253251"/>
                      <a:pt x="137757" y="209398"/>
                    </a:cubicBezTo>
                    <a:cubicBezTo>
                      <a:pt x="101156" y="166739"/>
                      <a:pt x="85764" y="111430"/>
                      <a:pt x="94044" y="53988"/>
                    </a:cubicBezTo>
                    <a:cubicBezTo>
                      <a:pt x="96635" y="36322"/>
                      <a:pt x="101651" y="19495"/>
                      <a:pt x="108243" y="3988"/>
                    </a:cubicBezTo>
                    <a:cubicBezTo>
                      <a:pt x="108509" y="3214"/>
                      <a:pt x="108801" y="2451"/>
                      <a:pt x="108827" y="2439"/>
                    </a:cubicBezTo>
                    <a:cubicBezTo>
                      <a:pt x="109182" y="1486"/>
                      <a:pt x="109386" y="788"/>
                      <a:pt x="109703" y="0"/>
                    </a:cubicBezTo>
                    <a:cubicBezTo>
                      <a:pt x="104902" y="3988"/>
                      <a:pt x="100559" y="8408"/>
                      <a:pt x="96063" y="12675"/>
                    </a:cubicBezTo>
                    <a:cubicBezTo>
                      <a:pt x="96139" y="12599"/>
                      <a:pt x="96241" y="12535"/>
                      <a:pt x="96330" y="12459"/>
                    </a:cubicBezTo>
                    <a:cubicBezTo>
                      <a:pt x="96241" y="12535"/>
                      <a:pt x="96139" y="12612"/>
                      <a:pt x="96063" y="12688"/>
                    </a:cubicBezTo>
                    <a:cubicBezTo>
                      <a:pt x="35345" y="69977"/>
                      <a:pt x="0" y="149556"/>
                      <a:pt x="0" y="234925"/>
                    </a:cubicBezTo>
                    <a:cubicBezTo>
                      <a:pt x="0" y="369468"/>
                      <a:pt x="90031" y="490258"/>
                      <a:pt x="218974" y="528586"/>
                    </a:cubicBezTo>
                    <a:cubicBezTo>
                      <a:pt x="231445" y="531837"/>
                      <a:pt x="244221" y="533476"/>
                      <a:pt x="256972" y="533476"/>
                    </a:cubicBezTo>
                    <a:cubicBezTo>
                      <a:pt x="300482" y="533476"/>
                      <a:pt x="339344" y="514349"/>
                      <a:pt x="363881" y="480910"/>
                    </a:cubicBezTo>
                    <a:cubicBezTo>
                      <a:pt x="376135" y="464070"/>
                      <a:pt x="383044" y="444995"/>
                      <a:pt x="385800" y="426034"/>
                    </a:cubicBezTo>
                    <a:cubicBezTo>
                      <a:pt x="389064" y="403453"/>
                      <a:pt x="385838" y="381190"/>
                      <a:pt x="374561" y="363639"/>
                    </a:cubicBezTo>
                  </a:path>
                </a:pathLst>
              </a:cu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 dirty="0"/>
              </a:p>
            </p:txBody>
          </p:sp>
          <p:sp>
            <p:nvSpPr>
              <p:cNvPr id="84" name="Freeform 222">
                <a:extLst>
                  <a:ext uri="{FF2B5EF4-FFF2-40B4-BE49-F238E27FC236}">
                    <a16:creationId xmlns:a16="http://schemas.microsoft.com/office/drawing/2014/main" id="{BB7D721C-A378-D99D-7AEA-86A3E4479220}"/>
                  </a:ext>
                </a:extLst>
              </p:cNvPr>
              <p:cNvSpPr/>
              <p:nvPr/>
            </p:nvSpPr>
            <p:spPr>
              <a:xfrm>
                <a:off x="5231948" y="3302281"/>
                <a:ext cx="129163" cy="206717"/>
              </a:xfrm>
              <a:custGeom>
                <a:avLst/>
                <a:gdLst/>
                <a:ahLst/>
                <a:cxnLst/>
                <a:rect l="0" t="0" r="0" b="0"/>
                <a:pathLst>
                  <a:path w="382967" h="612914">
                    <a:moveTo>
                      <a:pt x="342366" y="327609"/>
                    </a:moveTo>
                    <a:cubicBezTo>
                      <a:pt x="320078" y="297904"/>
                      <a:pt x="296850" y="274142"/>
                      <a:pt x="276352" y="253340"/>
                    </a:cubicBezTo>
                    <a:cubicBezTo>
                      <a:pt x="233743" y="209868"/>
                      <a:pt x="200215" y="175692"/>
                      <a:pt x="200215" y="117323"/>
                    </a:cubicBezTo>
                    <a:cubicBezTo>
                      <a:pt x="200215" y="57811"/>
                      <a:pt x="243726" y="25121"/>
                      <a:pt x="284543" y="15316"/>
                    </a:cubicBezTo>
                    <a:cubicBezTo>
                      <a:pt x="282499" y="14656"/>
                      <a:pt x="280162" y="14313"/>
                      <a:pt x="278054" y="13742"/>
                    </a:cubicBezTo>
                    <a:cubicBezTo>
                      <a:pt x="249555" y="5157"/>
                      <a:pt x="218605" y="0"/>
                      <a:pt x="188531" y="0"/>
                    </a:cubicBezTo>
                    <a:cubicBezTo>
                      <a:pt x="138582" y="0"/>
                      <a:pt x="99174" y="10275"/>
                      <a:pt x="60719" y="33389"/>
                    </a:cubicBezTo>
                    <a:cubicBezTo>
                      <a:pt x="32842" y="50127"/>
                      <a:pt x="10960" y="87922"/>
                      <a:pt x="4864" y="129718"/>
                    </a:cubicBezTo>
                    <a:cubicBezTo>
                      <a:pt x="686" y="158141"/>
                      <a:pt x="0" y="213157"/>
                      <a:pt x="41846" y="262065"/>
                    </a:cubicBezTo>
                    <a:cubicBezTo>
                      <a:pt x="74536" y="300393"/>
                      <a:pt x="114948" y="316002"/>
                      <a:pt x="153987" y="331038"/>
                    </a:cubicBezTo>
                    <a:cubicBezTo>
                      <a:pt x="199809" y="348652"/>
                      <a:pt x="247002" y="366953"/>
                      <a:pt x="280975" y="419442"/>
                    </a:cubicBezTo>
                    <a:cubicBezTo>
                      <a:pt x="304025" y="455091"/>
                      <a:pt x="303886" y="505104"/>
                      <a:pt x="282499" y="547801"/>
                    </a:cubicBezTo>
                    <a:cubicBezTo>
                      <a:pt x="281102" y="550659"/>
                      <a:pt x="279552" y="553415"/>
                      <a:pt x="277952" y="556132"/>
                    </a:cubicBezTo>
                    <a:cubicBezTo>
                      <a:pt x="277520" y="556932"/>
                      <a:pt x="277038" y="557745"/>
                      <a:pt x="276581" y="558545"/>
                    </a:cubicBezTo>
                    <a:cubicBezTo>
                      <a:pt x="259715" y="585304"/>
                      <a:pt x="231902" y="606069"/>
                      <a:pt x="204165" y="612914"/>
                    </a:cubicBezTo>
                    <a:cubicBezTo>
                      <a:pt x="219011" y="610793"/>
                      <a:pt x="233401" y="607555"/>
                      <a:pt x="247307" y="602856"/>
                    </a:cubicBezTo>
                    <a:cubicBezTo>
                      <a:pt x="248679" y="602462"/>
                      <a:pt x="250038" y="602043"/>
                      <a:pt x="251435" y="601649"/>
                    </a:cubicBezTo>
                    <a:cubicBezTo>
                      <a:pt x="253213" y="601001"/>
                      <a:pt x="254864" y="600100"/>
                      <a:pt x="256603" y="599427"/>
                    </a:cubicBezTo>
                    <a:cubicBezTo>
                      <a:pt x="259804" y="598157"/>
                      <a:pt x="262979" y="596823"/>
                      <a:pt x="266103" y="595375"/>
                    </a:cubicBezTo>
                    <a:cubicBezTo>
                      <a:pt x="268084" y="594448"/>
                      <a:pt x="270091" y="593559"/>
                      <a:pt x="272110" y="592505"/>
                    </a:cubicBezTo>
                    <a:cubicBezTo>
                      <a:pt x="276936" y="590092"/>
                      <a:pt x="281686" y="587336"/>
                      <a:pt x="286334" y="584453"/>
                    </a:cubicBezTo>
                    <a:cubicBezTo>
                      <a:pt x="287007" y="584022"/>
                      <a:pt x="287642" y="583590"/>
                      <a:pt x="288252" y="583183"/>
                    </a:cubicBezTo>
                    <a:cubicBezTo>
                      <a:pt x="293408" y="579894"/>
                      <a:pt x="298386" y="576198"/>
                      <a:pt x="303301" y="572274"/>
                    </a:cubicBezTo>
                    <a:cubicBezTo>
                      <a:pt x="303695" y="571944"/>
                      <a:pt x="304101" y="571601"/>
                      <a:pt x="304495" y="571296"/>
                    </a:cubicBezTo>
                    <a:cubicBezTo>
                      <a:pt x="308991" y="567575"/>
                      <a:pt x="313398" y="563587"/>
                      <a:pt x="317716" y="559282"/>
                    </a:cubicBezTo>
                    <a:cubicBezTo>
                      <a:pt x="318795" y="558139"/>
                      <a:pt x="319900" y="556932"/>
                      <a:pt x="321018" y="555789"/>
                    </a:cubicBezTo>
                    <a:cubicBezTo>
                      <a:pt x="323939" y="552703"/>
                      <a:pt x="326796" y="549477"/>
                      <a:pt x="329565" y="546087"/>
                    </a:cubicBezTo>
                    <a:cubicBezTo>
                      <a:pt x="331787" y="543470"/>
                      <a:pt x="333832" y="540753"/>
                      <a:pt x="335877" y="538022"/>
                    </a:cubicBezTo>
                    <a:cubicBezTo>
                      <a:pt x="338036" y="535114"/>
                      <a:pt x="340182" y="532091"/>
                      <a:pt x="342265" y="529005"/>
                    </a:cubicBezTo>
                    <a:cubicBezTo>
                      <a:pt x="343255" y="527494"/>
                      <a:pt x="344283" y="526046"/>
                      <a:pt x="345210" y="524535"/>
                    </a:cubicBezTo>
                    <a:cubicBezTo>
                      <a:pt x="345502" y="524141"/>
                      <a:pt x="345782" y="523709"/>
                      <a:pt x="346087" y="523239"/>
                    </a:cubicBezTo>
                    <a:lnTo>
                      <a:pt x="346036" y="523062"/>
                    </a:lnTo>
                    <a:cubicBezTo>
                      <a:pt x="352792" y="511949"/>
                      <a:pt x="358609" y="500176"/>
                      <a:pt x="363092" y="487616"/>
                    </a:cubicBezTo>
                    <a:cubicBezTo>
                      <a:pt x="382967" y="432472"/>
                      <a:pt x="374992" y="371144"/>
                      <a:pt x="342366" y="327609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</p:grpSp>
        <p:grpSp>
          <p:nvGrpSpPr>
            <p:cNvPr id="69" name="Групувати 68">
              <a:extLst>
                <a:ext uri="{FF2B5EF4-FFF2-40B4-BE49-F238E27FC236}">
                  <a16:creationId xmlns:a16="http://schemas.microsoft.com/office/drawing/2014/main" id="{4284BFC2-C421-CDD3-3C9C-B0AED216E058}"/>
                </a:ext>
              </a:extLst>
            </p:cNvPr>
            <p:cNvGrpSpPr/>
            <p:nvPr/>
          </p:nvGrpSpPr>
          <p:grpSpPr>
            <a:xfrm>
              <a:off x="9192478" y="1930875"/>
              <a:ext cx="575419" cy="50379"/>
              <a:chOff x="4220435" y="3738620"/>
              <a:chExt cx="575419" cy="50379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C629AE1A-BD1A-D033-5D89-5B1B6D934F92}"/>
                  </a:ext>
                </a:extLst>
              </p:cNvPr>
              <p:cNvSpPr txBox="1"/>
              <p:nvPr/>
            </p:nvSpPr>
            <p:spPr>
              <a:xfrm>
                <a:off x="4600817" y="3741001"/>
                <a:ext cx="29929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29929" h="47998">
                    <a:moveTo>
                      <a:pt x="15198" y="0"/>
                    </a:moveTo>
                    <a:cubicBezTo>
                      <a:pt x="17931" y="19"/>
                      <a:pt x="20418" y="463"/>
                      <a:pt x="22659" y="1331"/>
                    </a:cubicBezTo>
                    <a:cubicBezTo>
                      <a:pt x="24899" y="2200"/>
                      <a:pt x="26701" y="3376"/>
                      <a:pt x="28065" y="4860"/>
                    </a:cubicBezTo>
                    <a:lnTo>
                      <a:pt x="25002" y="9127"/>
                    </a:lnTo>
                    <a:cubicBezTo>
                      <a:pt x="23783" y="7889"/>
                      <a:pt x="22405" y="6947"/>
                      <a:pt x="20868" y="6301"/>
                    </a:cubicBezTo>
                    <a:cubicBezTo>
                      <a:pt x="19331" y="5655"/>
                      <a:pt x="17552" y="5330"/>
                      <a:pt x="15531" y="5326"/>
                    </a:cubicBezTo>
                    <a:cubicBezTo>
                      <a:pt x="12905" y="5353"/>
                      <a:pt x="10853" y="5981"/>
                      <a:pt x="9377" y="7210"/>
                    </a:cubicBezTo>
                    <a:cubicBezTo>
                      <a:pt x="7902" y="8438"/>
                      <a:pt x="7151" y="10099"/>
                      <a:pt x="7126" y="12195"/>
                    </a:cubicBezTo>
                    <a:cubicBezTo>
                      <a:pt x="7187" y="14454"/>
                      <a:pt x="7977" y="16223"/>
                      <a:pt x="9498" y="17502"/>
                    </a:cubicBezTo>
                    <a:cubicBezTo>
                      <a:pt x="11018" y="18780"/>
                      <a:pt x="12903" y="19858"/>
                      <a:pt x="15153" y="20734"/>
                    </a:cubicBezTo>
                    <a:cubicBezTo>
                      <a:pt x="17403" y="21611"/>
                      <a:pt x="19652" y="22575"/>
                      <a:pt x="21902" y="23627"/>
                    </a:cubicBezTo>
                    <a:cubicBezTo>
                      <a:pt x="24152" y="24680"/>
                      <a:pt x="26037" y="26110"/>
                      <a:pt x="27557" y="27916"/>
                    </a:cubicBezTo>
                    <a:cubicBezTo>
                      <a:pt x="29078" y="29723"/>
                      <a:pt x="29868" y="32197"/>
                      <a:pt x="29929" y="35336"/>
                    </a:cubicBezTo>
                    <a:cubicBezTo>
                      <a:pt x="29825" y="39219"/>
                      <a:pt x="28351" y="42288"/>
                      <a:pt x="25507" y="44543"/>
                    </a:cubicBezTo>
                    <a:cubicBezTo>
                      <a:pt x="22663" y="46798"/>
                      <a:pt x="19071" y="47949"/>
                      <a:pt x="14731" y="47998"/>
                    </a:cubicBezTo>
                    <a:cubicBezTo>
                      <a:pt x="11753" y="47981"/>
                      <a:pt x="8872" y="47365"/>
                      <a:pt x="6089" y="46150"/>
                    </a:cubicBezTo>
                    <a:cubicBezTo>
                      <a:pt x="3305" y="44935"/>
                      <a:pt x="1276" y="43220"/>
                      <a:pt x="0" y="41005"/>
                    </a:cubicBezTo>
                    <a:lnTo>
                      <a:pt x="3264" y="37137"/>
                    </a:lnTo>
                    <a:cubicBezTo>
                      <a:pt x="4693" y="38943"/>
                      <a:pt x="6465" y="40316"/>
                      <a:pt x="8579" y="41255"/>
                    </a:cubicBezTo>
                    <a:cubicBezTo>
                      <a:pt x="10693" y="42194"/>
                      <a:pt x="12766" y="42666"/>
                      <a:pt x="14798" y="42672"/>
                    </a:cubicBezTo>
                    <a:cubicBezTo>
                      <a:pt x="17309" y="42665"/>
                      <a:pt x="19441" y="42045"/>
                      <a:pt x="21193" y="40813"/>
                    </a:cubicBezTo>
                    <a:cubicBezTo>
                      <a:pt x="22946" y="39581"/>
                      <a:pt x="23860" y="37777"/>
                      <a:pt x="23936" y="35403"/>
                    </a:cubicBezTo>
                    <a:cubicBezTo>
                      <a:pt x="23876" y="33168"/>
                      <a:pt x="23085" y="31398"/>
                      <a:pt x="21565" y="30095"/>
                    </a:cubicBezTo>
                    <a:cubicBezTo>
                      <a:pt x="20045" y="28792"/>
                      <a:pt x="18160" y="27681"/>
                      <a:pt x="15910" y="26763"/>
                    </a:cubicBezTo>
                    <a:cubicBezTo>
                      <a:pt x="13660" y="25844"/>
                      <a:pt x="11410" y="24845"/>
                      <a:pt x="9160" y="23763"/>
                    </a:cubicBezTo>
                    <a:cubicBezTo>
                      <a:pt x="6910" y="22682"/>
                      <a:pt x="5025" y="21246"/>
                      <a:pt x="3505" y="19455"/>
                    </a:cubicBezTo>
                    <a:cubicBezTo>
                      <a:pt x="1985" y="17663"/>
                      <a:pt x="1194" y="15243"/>
                      <a:pt x="1134" y="12195"/>
                    </a:cubicBezTo>
                    <a:cubicBezTo>
                      <a:pt x="1165" y="8740"/>
                      <a:pt x="2400" y="5865"/>
                      <a:pt x="4839" y="3571"/>
                    </a:cubicBezTo>
                    <a:cubicBezTo>
                      <a:pt x="7278" y="1278"/>
                      <a:pt x="10731" y="87"/>
                      <a:pt x="1519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C8D927F2-B1FD-FFD8-3E07-5C2DC68E824D}"/>
                  </a:ext>
                </a:extLst>
              </p:cNvPr>
              <p:cNvSpPr txBox="1"/>
              <p:nvPr/>
            </p:nvSpPr>
            <p:spPr>
              <a:xfrm>
                <a:off x="4646060" y="3741001"/>
                <a:ext cx="41130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41130" h="47998">
                    <a:moveTo>
                      <a:pt x="22933" y="0"/>
                    </a:moveTo>
                    <a:cubicBezTo>
                      <a:pt x="26078" y="1"/>
                      <a:pt x="28840" y="381"/>
                      <a:pt x="31219" y="1140"/>
                    </a:cubicBezTo>
                    <a:cubicBezTo>
                      <a:pt x="33597" y="1899"/>
                      <a:pt x="35725" y="3028"/>
                      <a:pt x="37602" y="4527"/>
                    </a:cubicBezTo>
                    <a:lnTo>
                      <a:pt x="35138" y="9061"/>
                    </a:lnTo>
                    <a:cubicBezTo>
                      <a:pt x="33740" y="7826"/>
                      <a:pt x="32033" y="6895"/>
                      <a:pt x="30019" y="6268"/>
                    </a:cubicBezTo>
                    <a:cubicBezTo>
                      <a:pt x="28004" y="5641"/>
                      <a:pt x="25864" y="5327"/>
                      <a:pt x="23600" y="5326"/>
                    </a:cubicBezTo>
                    <a:cubicBezTo>
                      <a:pt x="18314" y="5399"/>
                      <a:pt x="14079" y="7103"/>
                      <a:pt x="10895" y="10437"/>
                    </a:cubicBezTo>
                    <a:cubicBezTo>
                      <a:pt x="7710" y="13771"/>
                      <a:pt x="6076" y="18293"/>
                      <a:pt x="5993" y="24002"/>
                    </a:cubicBezTo>
                    <a:cubicBezTo>
                      <a:pt x="6072" y="29738"/>
                      <a:pt x="7714" y="34266"/>
                      <a:pt x="10920" y="37586"/>
                    </a:cubicBezTo>
                    <a:cubicBezTo>
                      <a:pt x="14125" y="40907"/>
                      <a:pt x="18418" y="42602"/>
                      <a:pt x="23800" y="42672"/>
                    </a:cubicBezTo>
                    <a:cubicBezTo>
                      <a:pt x="26071" y="42650"/>
                      <a:pt x="28314" y="42261"/>
                      <a:pt x="30527" y="41505"/>
                    </a:cubicBezTo>
                    <a:cubicBezTo>
                      <a:pt x="32741" y="40748"/>
                      <a:pt x="34500" y="39759"/>
                      <a:pt x="35805" y="38536"/>
                    </a:cubicBezTo>
                    <a:lnTo>
                      <a:pt x="35805" y="28929"/>
                    </a:lnTo>
                    <a:lnTo>
                      <a:pt x="23199" y="28929"/>
                    </a:lnTo>
                    <a:lnTo>
                      <a:pt x="23199" y="23603"/>
                    </a:lnTo>
                    <a:lnTo>
                      <a:pt x="41130" y="23603"/>
                    </a:lnTo>
                    <a:lnTo>
                      <a:pt x="41130" y="41538"/>
                    </a:lnTo>
                    <a:cubicBezTo>
                      <a:pt x="38960" y="43614"/>
                      <a:pt x="36258" y="45207"/>
                      <a:pt x="33026" y="46316"/>
                    </a:cubicBezTo>
                    <a:cubicBezTo>
                      <a:pt x="29795" y="47426"/>
                      <a:pt x="26675" y="47987"/>
                      <a:pt x="23666" y="47998"/>
                    </a:cubicBezTo>
                    <a:cubicBezTo>
                      <a:pt x="16319" y="47906"/>
                      <a:pt x="10558" y="45724"/>
                      <a:pt x="6381" y="41450"/>
                    </a:cubicBezTo>
                    <a:cubicBezTo>
                      <a:pt x="2204" y="37176"/>
                      <a:pt x="78" y="31361"/>
                      <a:pt x="0" y="24002"/>
                    </a:cubicBezTo>
                    <a:cubicBezTo>
                      <a:pt x="25" y="19485"/>
                      <a:pt x="974" y="15425"/>
                      <a:pt x="2848" y="11821"/>
                    </a:cubicBezTo>
                    <a:cubicBezTo>
                      <a:pt x="4722" y="8217"/>
                      <a:pt x="7370" y="5358"/>
                      <a:pt x="10792" y="3244"/>
                    </a:cubicBezTo>
                    <a:cubicBezTo>
                      <a:pt x="14215" y="1129"/>
                      <a:pt x="18261" y="48"/>
                      <a:pt x="2293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C08D033-65F3-32B1-EF38-5A9A3EDCA66B}"/>
                  </a:ext>
                </a:extLst>
              </p:cNvPr>
              <p:cNvSpPr txBox="1"/>
              <p:nvPr/>
            </p:nvSpPr>
            <p:spPr>
              <a:xfrm>
                <a:off x="4479416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70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70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7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58DE299D-6C7A-6822-BDDB-24E2AE450FF0}"/>
                  </a:ext>
                </a:extLst>
              </p:cNvPr>
              <p:cNvSpPr txBox="1"/>
              <p:nvPr/>
            </p:nvSpPr>
            <p:spPr>
              <a:xfrm>
                <a:off x="4700872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69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69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8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FC9D93A0-2AD9-9CE1-877B-2E54D928B755}"/>
                  </a:ext>
                </a:extLst>
              </p:cNvPr>
              <p:cNvSpPr txBox="1"/>
              <p:nvPr/>
            </p:nvSpPr>
            <p:spPr>
              <a:xfrm>
                <a:off x="4330639" y="3738620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60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9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B09A6721-AD5B-A824-A94D-BCCBC80F4195}"/>
                  </a:ext>
                </a:extLst>
              </p:cNvPr>
              <p:cNvSpPr txBox="1"/>
              <p:nvPr/>
            </p:nvSpPr>
            <p:spPr>
              <a:xfrm>
                <a:off x="4428271" y="3741001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59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8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EDF9DB37-B63C-FE09-3CCD-48007EF7D297}"/>
                  </a:ext>
                </a:extLst>
              </p:cNvPr>
              <p:cNvSpPr txBox="1"/>
              <p:nvPr/>
            </p:nvSpPr>
            <p:spPr>
              <a:xfrm>
                <a:off x="4220435" y="3738620"/>
                <a:ext cx="37396" cy="47264"/>
              </a:xfrm>
              <a:custGeom>
                <a:avLst/>
                <a:gdLst/>
                <a:ahLst/>
                <a:cxnLst/>
                <a:rect l="l" t="t" r="r" b="b"/>
                <a:pathLst>
                  <a:path w="37396" h="472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25670"/>
                    </a:lnTo>
                    <a:cubicBezTo>
                      <a:pt x="5682" y="30781"/>
                      <a:pt x="6869" y="34760"/>
                      <a:pt x="9219" y="37604"/>
                    </a:cubicBezTo>
                    <a:cubicBezTo>
                      <a:pt x="11568" y="40449"/>
                      <a:pt x="14939" y="41894"/>
                      <a:pt x="19331" y="41938"/>
                    </a:cubicBezTo>
                    <a:cubicBezTo>
                      <a:pt x="23204" y="41940"/>
                      <a:pt x="26230" y="40620"/>
                      <a:pt x="28410" y="37980"/>
                    </a:cubicBezTo>
                    <a:cubicBezTo>
                      <a:pt x="30591" y="35339"/>
                      <a:pt x="31699" y="31369"/>
                      <a:pt x="31737" y="26070"/>
                    </a:cubicBezTo>
                    <a:lnTo>
                      <a:pt x="31737" y="0"/>
                    </a:lnTo>
                    <a:lnTo>
                      <a:pt x="37396" y="0"/>
                    </a:lnTo>
                    <a:lnTo>
                      <a:pt x="37396" y="27203"/>
                    </a:lnTo>
                    <a:cubicBezTo>
                      <a:pt x="37349" y="31943"/>
                      <a:pt x="36495" y="35790"/>
                      <a:pt x="34832" y="38746"/>
                    </a:cubicBezTo>
                    <a:cubicBezTo>
                      <a:pt x="33169" y="41701"/>
                      <a:pt x="30976" y="43864"/>
                      <a:pt x="28254" y="45234"/>
                    </a:cubicBezTo>
                    <a:cubicBezTo>
                      <a:pt x="25531" y="46604"/>
                      <a:pt x="22557" y="47281"/>
                      <a:pt x="19331" y="47264"/>
                    </a:cubicBezTo>
                    <a:cubicBezTo>
                      <a:pt x="13624" y="47263"/>
                      <a:pt x="9001" y="45550"/>
                      <a:pt x="5464" y="42126"/>
                    </a:cubicBezTo>
                    <a:cubicBezTo>
                      <a:pt x="1926" y="38702"/>
                      <a:pt x="105" y="33572"/>
                      <a:pt x="0" y="267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AF57BBD5-99EA-AAD9-5C04-79B57B068975}"/>
                  </a:ext>
                </a:extLst>
              </p:cNvPr>
              <p:cNvSpPr txBox="1"/>
              <p:nvPr/>
            </p:nvSpPr>
            <p:spPr>
              <a:xfrm>
                <a:off x="4278251" y="3738620"/>
                <a:ext cx="5659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5659" h="466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B39A978E-5073-CC58-6959-0348EA71FC3D}"/>
                  </a:ext>
                </a:extLst>
              </p:cNvPr>
              <p:cNvSpPr txBox="1"/>
              <p:nvPr/>
            </p:nvSpPr>
            <p:spPr>
              <a:xfrm>
                <a:off x="4285044" y="3738620"/>
                <a:ext cx="28403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28403" h="46664">
                    <a:moveTo>
                      <a:pt x="20469" y="0"/>
                    </a:moveTo>
                    <a:lnTo>
                      <a:pt x="27337" y="0"/>
                    </a:lnTo>
                    <a:lnTo>
                      <a:pt x="6534" y="21932"/>
                    </a:lnTo>
                    <a:lnTo>
                      <a:pt x="28403" y="46664"/>
                    </a:lnTo>
                    <a:lnTo>
                      <a:pt x="21136" y="46664"/>
                    </a:lnTo>
                    <a:lnTo>
                      <a:pt x="0" y="22332"/>
                    </a:lnTo>
                    <a:lnTo>
                      <a:pt x="2046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6706F1B0-DE7D-099A-9217-46C8A92B0612}"/>
                  </a:ext>
                </a:extLst>
              </p:cNvPr>
              <p:cNvSpPr txBox="1"/>
              <p:nvPr/>
            </p:nvSpPr>
            <p:spPr>
              <a:xfrm>
                <a:off x="4374312" y="3741001"/>
                <a:ext cx="38330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330" h="46664">
                    <a:moveTo>
                      <a:pt x="0" y="0"/>
                    </a:moveTo>
                    <a:lnTo>
                      <a:pt x="38330" y="0"/>
                    </a:lnTo>
                    <a:lnTo>
                      <a:pt x="38330" y="5325"/>
                    </a:lnTo>
                    <a:lnTo>
                      <a:pt x="21995" y="5325"/>
                    </a:lnTo>
                    <a:lnTo>
                      <a:pt x="21995" y="46664"/>
                    </a:lnTo>
                    <a:lnTo>
                      <a:pt x="16336" y="46664"/>
                    </a:lnTo>
                    <a:lnTo>
                      <a:pt x="16336" y="5325"/>
                    </a:lnTo>
                    <a:lnTo>
                      <a:pt x="0" y="53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F1F2C503-2787-97FF-B910-CE6B898A8F59}"/>
                  </a:ext>
                </a:extLst>
              </p:cNvPr>
              <p:cNvSpPr txBox="1"/>
              <p:nvPr/>
            </p:nvSpPr>
            <p:spPr>
              <a:xfrm>
                <a:off x="4542571" y="3741001"/>
                <a:ext cx="38997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997" h="46664">
                    <a:moveTo>
                      <a:pt x="0" y="0"/>
                    </a:moveTo>
                    <a:lnTo>
                      <a:pt x="4527" y="0"/>
                    </a:lnTo>
                    <a:lnTo>
                      <a:pt x="33671" y="36798"/>
                    </a:lnTo>
                    <a:lnTo>
                      <a:pt x="33671" y="0"/>
                    </a:lnTo>
                    <a:lnTo>
                      <a:pt x="38997" y="0"/>
                    </a:lnTo>
                    <a:lnTo>
                      <a:pt x="38997" y="46664"/>
                    </a:lnTo>
                    <a:lnTo>
                      <a:pt x="34470" y="46664"/>
                    </a:lnTo>
                    <a:lnTo>
                      <a:pt x="5326" y="9999"/>
                    </a:lnTo>
                    <a:lnTo>
                      <a:pt x="5326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3D2E6E5A-E417-1384-61C7-BA48626BB672}"/>
                  </a:ext>
                </a:extLst>
              </p:cNvPr>
              <p:cNvSpPr txBox="1"/>
              <p:nvPr/>
            </p:nvSpPr>
            <p:spPr>
              <a:xfrm>
                <a:off x="4758121" y="3741001"/>
                <a:ext cx="37733" cy="47727"/>
              </a:xfrm>
              <a:custGeom>
                <a:avLst/>
                <a:gdLst/>
                <a:ahLst/>
                <a:cxnLst/>
                <a:rect l="l" t="t" r="r" b="b"/>
                <a:pathLst>
                  <a:path w="37733" h="47727">
                    <a:moveTo>
                      <a:pt x="2767" y="0"/>
                    </a:moveTo>
                    <a:lnTo>
                      <a:pt x="36951" y="0"/>
                    </a:lnTo>
                    <a:lnTo>
                      <a:pt x="36951" y="5632"/>
                    </a:lnTo>
                    <a:lnTo>
                      <a:pt x="10158" y="38742"/>
                    </a:lnTo>
                    <a:lnTo>
                      <a:pt x="7260" y="42095"/>
                    </a:lnTo>
                    <a:lnTo>
                      <a:pt x="37733" y="42095"/>
                    </a:lnTo>
                    <a:lnTo>
                      <a:pt x="37733" y="47727"/>
                    </a:lnTo>
                    <a:lnTo>
                      <a:pt x="0" y="47727"/>
                    </a:lnTo>
                    <a:lnTo>
                      <a:pt x="0" y="41867"/>
                    </a:lnTo>
                    <a:lnTo>
                      <a:pt x="24450" y="11297"/>
                    </a:lnTo>
                    <a:cubicBezTo>
                      <a:pt x="26186" y="9126"/>
                      <a:pt x="27836" y="7238"/>
                      <a:pt x="29398" y="5632"/>
                    </a:cubicBezTo>
                    <a:lnTo>
                      <a:pt x="2767" y="5632"/>
                    </a:lnTo>
                    <a:lnTo>
                      <a:pt x="276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6181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6FDB8F-6153-4EA6-A23A-5681AA4B2C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2415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1059389-D174-5181-6EDC-2615335D8211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12700" y="0"/>
            <a:ext cx="12192000" cy="6858000"/>
          </a:xfrm>
          <a:prstGeom prst="rect">
            <a:avLst/>
          </a:prstGeom>
        </p:spPr>
      </p:pic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CBE507B6-2D5C-413C-6579-D5396AC3719A}"/>
              </a:ext>
            </a:extLst>
          </p:cNvPr>
          <p:cNvSpPr/>
          <p:nvPr/>
        </p:nvSpPr>
        <p:spPr>
          <a:xfrm>
            <a:off x="0" y="1196350"/>
            <a:ext cx="1770743" cy="1292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889A20-86F8-DEAA-E679-AA89D5DCA834}"/>
              </a:ext>
            </a:extLst>
          </p:cNvPr>
          <p:cNvSpPr txBox="1"/>
          <p:nvPr/>
        </p:nvSpPr>
        <p:spPr>
          <a:xfrm>
            <a:off x="742477" y="996295"/>
            <a:ext cx="494821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ommercial efficiency </a:t>
            </a:r>
          </a:p>
          <a:p>
            <a:pPr algn="ctr"/>
            <a:endParaRPr lang="en-US" sz="900" dirty="0"/>
          </a:p>
          <a:p>
            <a:pPr algn="ctr"/>
            <a:endParaRPr lang="en-US" sz="900" dirty="0"/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Certified in accordance with the EU regulations</a:t>
            </a:r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Surplus of storage capacities offered to non-resident          </a:t>
            </a:r>
          </a:p>
          <a:p>
            <a:pPr marL="271463">
              <a:buClr>
                <a:schemeClr val="bg2">
                  <a:lumMod val="50000"/>
                </a:schemeClr>
              </a:buClr>
              <a:buSzPct val="90000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       customers</a:t>
            </a:r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16% increase in Customer Portfolio in 2023</a:t>
            </a:r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lang="en-US" sz="1400" baseline="30000" dirty="0">
                <a:latin typeface="Calibri Light" panose="020F0302020204030204" pitchFamily="34" charset="0"/>
                <a:cs typeface="Calibri Light" panose="020F0302020204030204" pitchFamily="34" charset="0"/>
              </a:rPr>
              <a:t>st</a:t>
            </a: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time ever at the E-World with own booth in 2024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002BD1-7ABE-04FA-FC6A-01FBA20B2967}"/>
              </a:ext>
            </a:extLst>
          </p:cNvPr>
          <p:cNvSpPr txBox="1"/>
          <p:nvPr/>
        </p:nvSpPr>
        <p:spPr>
          <a:xfrm>
            <a:off x="6814233" y="1008410"/>
            <a:ext cx="4266927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ompetitive pricing</a:t>
            </a:r>
          </a:p>
          <a:p>
            <a:endParaRPr lang="en-US" sz="2000" dirty="0"/>
          </a:p>
          <a:p>
            <a:pPr marL="285750" indent="-285750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Fixed tariff until April 2025 </a:t>
            </a:r>
          </a:p>
          <a:p>
            <a:pPr marL="285750" indent="-285750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owest storage tariff in Europe</a:t>
            </a:r>
          </a:p>
          <a:p>
            <a:pPr marL="285750" indent="-285750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No capacity auc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F46299-52D6-640A-5CA2-79E681807D7B}"/>
              </a:ext>
            </a:extLst>
          </p:cNvPr>
          <p:cNvSpPr txBox="1"/>
          <p:nvPr/>
        </p:nvSpPr>
        <p:spPr>
          <a:xfrm>
            <a:off x="1089754" y="3968879"/>
            <a:ext cx="4383874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Digitalization</a:t>
            </a:r>
          </a:p>
          <a:p>
            <a:pPr algn="ctr"/>
            <a:r>
              <a:rPr lang="en-US" sz="2400" b="1" dirty="0"/>
              <a:t> </a:t>
            </a:r>
            <a:endParaRPr lang="uk-UA" sz="2400" b="1" dirty="0"/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Tailor made I-Platform for customers</a:t>
            </a:r>
          </a:p>
          <a:p>
            <a:pPr marL="533400" lvl="1">
              <a:buClr>
                <a:schemeClr val="bg2">
                  <a:lumMod val="50000"/>
                </a:schemeClr>
              </a:buClr>
              <a:buSzPct val="90000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launched in 2020</a:t>
            </a:r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Full I-Platform migration to SAP S/4 HANA in     </a:t>
            </a:r>
          </a:p>
          <a:p>
            <a:pPr marL="271463">
              <a:buClr>
                <a:schemeClr val="bg2">
                  <a:lumMod val="50000"/>
                </a:schemeClr>
              </a:buClr>
              <a:buSzPct val="90000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       energy units (project in progress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43D1D8-3246-F3DE-DD08-B68B9D26C88C}"/>
              </a:ext>
            </a:extLst>
          </p:cNvPr>
          <p:cNvSpPr txBox="1"/>
          <p:nvPr/>
        </p:nvSpPr>
        <p:spPr>
          <a:xfrm>
            <a:off x="6814233" y="3968879"/>
            <a:ext cx="412584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Flexible Services</a:t>
            </a:r>
          </a:p>
          <a:p>
            <a:pPr algn="ctr"/>
            <a:endParaRPr lang="en-US" sz="2400" b="1" dirty="0"/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Storage (injection/withdrawal)</a:t>
            </a:r>
          </a:p>
          <a:p>
            <a:pPr marL="271463">
              <a:buClr>
                <a:schemeClr val="bg2">
                  <a:lumMod val="50000"/>
                </a:schemeClr>
              </a:buClr>
              <a:buSzPct val="90000"/>
            </a:pPr>
            <a:r>
              <a:rPr lang="en-US" sz="1200" i="1" dirty="0">
                <a:latin typeface="Calibri" panose="020F0502020204030204" pitchFamily="34" charset="0"/>
                <a:cs typeface="Calibri" panose="020F0502020204030204" pitchFamily="34" charset="0"/>
              </a:rPr>
              <a:t>        Latest update in service portfolio April 3, 2024</a:t>
            </a:r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CWR, </a:t>
            </a:r>
            <a:r>
              <a:rPr lang="en-US" sz="14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CWR+short-haul</a:t>
            </a: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marL="271463" indent="271463">
              <a:buClr>
                <a:schemeClr val="bg2">
                  <a:lumMod val="50000"/>
                </a:schemeClr>
              </a:buClr>
              <a:buSzPct val="90000"/>
              <a:buFont typeface="Calibri Light" panose="020F0302020204030204" pitchFamily="34" charset="0"/>
              <a:buChar char="»"/>
            </a:pPr>
            <a:r>
              <a:rPr lang="en-US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Service branches </a:t>
            </a:r>
          </a:p>
          <a:p>
            <a:pPr marL="266700"/>
            <a:endParaRPr lang="en-US" sz="1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40" name="Групувати 39">
            <a:extLst>
              <a:ext uri="{FF2B5EF4-FFF2-40B4-BE49-F238E27FC236}">
                <a16:creationId xmlns:a16="http://schemas.microsoft.com/office/drawing/2014/main" id="{FE44D59E-24A5-8C30-4EE0-A4F26D61D80F}"/>
              </a:ext>
            </a:extLst>
          </p:cNvPr>
          <p:cNvGrpSpPr/>
          <p:nvPr/>
        </p:nvGrpSpPr>
        <p:grpSpPr>
          <a:xfrm>
            <a:off x="10907550" y="5771543"/>
            <a:ext cx="1011162" cy="1013158"/>
            <a:chOff x="2925792" y="246281"/>
            <a:chExt cx="6340415" cy="6352926"/>
          </a:xfrm>
          <a:solidFill>
            <a:srgbClr val="62C5EC"/>
          </a:solidFill>
        </p:grpSpPr>
        <p:grpSp>
          <p:nvGrpSpPr>
            <p:cNvPr id="41" name="Групувати 40">
              <a:extLst>
                <a:ext uri="{FF2B5EF4-FFF2-40B4-BE49-F238E27FC236}">
                  <a16:creationId xmlns:a16="http://schemas.microsoft.com/office/drawing/2014/main" id="{32C3E526-B773-B2F3-1EB2-D1AE387AFEBD}"/>
                </a:ext>
              </a:extLst>
            </p:cNvPr>
            <p:cNvGrpSpPr/>
            <p:nvPr/>
          </p:nvGrpSpPr>
          <p:grpSpPr>
            <a:xfrm>
              <a:off x="3468983" y="246281"/>
              <a:ext cx="4994207" cy="206276"/>
              <a:chOff x="3468983" y="246281"/>
              <a:chExt cx="4994207" cy="206276"/>
            </a:xfrm>
            <a:grpFill/>
          </p:grpSpPr>
          <p:sp>
            <p:nvSpPr>
              <p:cNvPr id="1246" name="Полілінія: фігура 1245">
                <a:extLst>
                  <a:ext uri="{FF2B5EF4-FFF2-40B4-BE49-F238E27FC236}">
                    <a16:creationId xmlns:a16="http://schemas.microsoft.com/office/drawing/2014/main" id="{72F70CCA-7FC2-C0F6-3A66-85065A05B3CF}"/>
                  </a:ext>
                </a:extLst>
              </p:cNvPr>
              <p:cNvSpPr/>
              <p:nvPr/>
            </p:nvSpPr>
            <p:spPr>
              <a:xfrm>
                <a:off x="3606524" y="246281"/>
                <a:ext cx="20827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208276" h="206275">
                    <a:moveTo>
                      <a:pt x="103994" y="0"/>
                    </a:moveTo>
                    <a:cubicBezTo>
                      <a:pt x="123998" y="119"/>
                      <a:pt x="141818" y="4417"/>
                      <a:pt x="157453" y="12892"/>
                    </a:cubicBezTo>
                    <a:cubicBezTo>
                      <a:pt x="173089" y="21368"/>
                      <a:pt x="185421" y="33306"/>
                      <a:pt x="194451" y="48705"/>
                    </a:cubicBezTo>
                    <a:cubicBezTo>
                      <a:pt x="203481" y="64104"/>
                      <a:pt x="208089" y="82248"/>
                      <a:pt x="208276" y="103137"/>
                    </a:cubicBezTo>
                    <a:cubicBezTo>
                      <a:pt x="208089" y="123307"/>
                      <a:pt x="203481" y="141112"/>
                      <a:pt x="194451" y="156554"/>
                    </a:cubicBezTo>
                    <a:cubicBezTo>
                      <a:pt x="185421" y="171995"/>
                      <a:pt x="173089" y="184102"/>
                      <a:pt x="157453" y="192874"/>
                    </a:cubicBezTo>
                    <a:cubicBezTo>
                      <a:pt x="141818" y="201647"/>
                      <a:pt x="123998" y="206114"/>
                      <a:pt x="103994" y="206275"/>
                    </a:cubicBezTo>
                    <a:cubicBezTo>
                      <a:pt x="83994" y="206156"/>
                      <a:pt x="66200" y="201858"/>
                      <a:pt x="50610" y="193382"/>
                    </a:cubicBezTo>
                    <a:cubicBezTo>
                      <a:pt x="35021" y="184907"/>
                      <a:pt x="22734" y="172969"/>
                      <a:pt x="13750" y="157570"/>
                    </a:cubicBezTo>
                    <a:cubicBezTo>
                      <a:pt x="4766" y="142171"/>
                      <a:pt x="183" y="124026"/>
                      <a:pt x="0" y="103137"/>
                    </a:cubicBezTo>
                    <a:cubicBezTo>
                      <a:pt x="146" y="83598"/>
                      <a:pt x="4581" y="66089"/>
                      <a:pt x="13305" y="50610"/>
                    </a:cubicBezTo>
                    <a:cubicBezTo>
                      <a:pt x="22030" y="35132"/>
                      <a:pt x="34168" y="22877"/>
                      <a:pt x="49721" y="13845"/>
                    </a:cubicBezTo>
                    <a:cubicBezTo>
                      <a:pt x="65273" y="4814"/>
                      <a:pt x="83365" y="198"/>
                      <a:pt x="103994" y="0"/>
                    </a:cubicBezTo>
                    <a:close/>
                    <a:moveTo>
                      <a:pt x="103994" y="32825"/>
                    </a:moveTo>
                    <a:cubicBezTo>
                      <a:pt x="84451" y="33165"/>
                      <a:pt x="68516" y="39703"/>
                      <a:pt x="56190" y="52439"/>
                    </a:cubicBezTo>
                    <a:cubicBezTo>
                      <a:pt x="43864" y="65176"/>
                      <a:pt x="37505" y="82076"/>
                      <a:pt x="37112" y="103137"/>
                    </a:cubicBezTo>
                    <a:cubicBezTo>
                      <a:pt x="37558" y="123574"/>
                      <a:pt x="44025" y="140294"/>
                      <a:pt x="56512" y="153299"/>
                    </a:cubicBezTo>
                    <a:cubicBezTo>
                      <a:pt x="68999" y="166304"/>
                      <a:pt x="84826" y="173021"/>
                      <a:pt x="103994" y="173450"/>
                    </a:cubicBezTo>
                    <a:cubicBezTo>
                      <a:pt x="125175" y="172985"/>
                      <a:pt x="141622" y="166197"/>
                      <a:pt x="153335" y="153085"/>
                    </a:cubicBezTo>
                    <a:cubicBezTo>
                      <a:pt x="165048" y="139973"/>
                      <a:pt x="170991" y="123323"/>
                      <a:pt x="171164" y="103137"/>
                    </a:cubicBezTo>
                    <a:cubicBezTo>
                      <a:pt x="170723" y="82076"/>
                      <a:pt x="164245" y="65176"/>
                      <a:pt x="151728" y="52439"/>
                    </a:cubicBezTo>
                    <a:cubicBezTo>
                      <a:pt x="139211" y="39703"/>
                      <a:pt x="123300" y="33165"/>
                      <a:pt x="103994" y="328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47" name="Полілінія: фігура 1246">
                <a:extLst>
                  <a:ext uri="{FF2B5EF4-FFF2-40B4-BE49-F238E27FC236}">
                    <a16:creationId xmlns:a16="http://schemas.microsoft.com/office/drawing/2014/main" id="{511BA7E0-9B17-6D7D-0FFC-F817528A4297}"/>
                  </a:ext>
                </a:extLst>
              </p:cNvPr>
              <p:cNvSpPr/>
              <p:nvPr/>
            </p:nvSpPr>
            <p:spPr>
              <a:xfrm>
                <a:off x="3844649" y="246281"/>
                <a:ext cx="167128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67128" h="206275">
                    <a:moveTo>
                      <a:pt x="102263" y="0"/>
                    </a:moveTo>
                    <a:cubicBezTo>
                      <a:pt x="115354" y="95"/>
                      <a:pt x="127105" y="1974"/>
                      <a:pt x="137517" y="5637"/>
                    </a:cubicBezTo>
                    <a:cubicBezTo>
                      <a:pt x="147929" y="9300"/>
                      <a:pt x="156466" y="14176"/>
                      <a:pt x="163127" y="20266"/>
                    </a:cubicBezTo>
                    <a:lnTo>
                      <a:pt x="147411" y="46258"/>
                    </a:lnTo>
                    <a:cubicBezTo>
                      <a:pt x="141529" y="42197"/>
                      <a:pt x="135005" y="38958"/>
                      <a:pt x="127837" y="36540"/>
                    </a:cubicBezTo>
                    <a:cubicBezTo>
                      <a:pt x="120670" y="34123"/>
                      <a:pt x="112145" y="32885"/>
                      <a:pt x="102263" y="32825"/>
                    </a:cubicBezTo>
                    <a:cubicBezTo>
                      <a:pt x="83296" y="33039"/>
                      <a:pt x="67794" y="39328"/>
                      <a:pt x="55757" y="51689"/>
                    </a:cubicBezTo>
                    <a:cubicBezTo>
                      <a:pt x="43720" y="64051"/>
                      <a:pt x="37505" y="81200"/>
                      <a:pt x="37112" y="103137"/>
                    </a:cubicBezTo>
                    <a:cubicBezTo>
                      <a:pt x="37439" y="124324"/>
                      <a:pt x="43857" y="141259"/>
                      <a:pt x="56364" y="153942"/>
                    </a:cubicBezTo>
                    <a:cubicBezTo>
                      <a:pt x="68871" y="166626"/>
                      <a:pt x="85505" y="173128"/>
                      <a:pt x="106263" y="173450"/>
                    </a:cubicBezTo>
                    <a:cubicBezTo>
                      <a:pt x="114758" y="173444"/>
                      <a:pt x="123057" y="172098"/>
                      <a:pt x="131159" y="169413"/>
                    </a:cubicBezTo>
                    <a:cubicBezTo>
                      <a:pt x="139261" y="166727"/>
                      <a:pt x="146774" y="162737"/>
                      <a:pt x="153698" y="157444"/>
                    </a:cubicBezTo>
                    <a:lnTo>
                      <a:pt x="167128" y="183726"/>
                    </a:lnTo>
                    <a:cubicBezTo>
                      <a:pt x="160585" y="190535"/>
                      <a:pt x="151596" y="195970"/>
                      <a:pt x="140160" y="200031"/>
                    </a:cubicBezTo>
                    <a:cubicBezTo>
                      <a:pt x="128724" y="204093"/>
                      <a:pt x="116378" y="206174"/>
                      <a:pt x="103120" y="206275"/>
                    </a:cubicBezTo>
                    <a:cubicBezTo>
                      <a:pt x="72070" y="205872"/>
                      <a:pt x="47239" y="196471"/>
                      <a:pt x="28628" y="178072"/>
                    </a:cubicBezTo>
                    <a:cubicBezTo>
                      <a:pt x="10017" y="159673"/>
                      <a:pt x="475" y="134695"/>
                      <a:pt x="0" y="103137"/>
                    </a:cubicBezTo>
                    <a:cubicBezTo>
                      <a:pt x="40" y="83778"/>
                      <a:pt x="3988" y="66353"/>
                      <a:pt x="11844" y="50864"/>
                    </a:cubicBezTo>
                    <a:cubicBezTo>
                      <a:pt x="19700" y="35375"/>
                      <a:pt x="31223" y="23078"/>
                      <a:pt x="46413" y="13972"/>
                    </a:cubicBezTo>
                    <a:cubicBezTo>
                      <a:pt x="61604" y="4867"/>
                      <a:pt x="80220" y="209"/>
                      <a:pt x="10226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48" name="Полілінія: фігура 1247">
                <a:extLst>
                  <a:ext uri="{FF2B5EF4-FFF2-40B4-BE49-F238E27FC236}">
                    <a16:creationId xmlns:a16="http://schemas.microsoft.com/office/drawing/2014/main" id="{FFD4A529-0DD8-CE5E-9AF5-D1E1878595E2}"/>
                  </a:ext>
                </a:extLst>
              </p:cNvPr>
              <p:cNvSpPr/>
              <p:nvPr/>
            </p:nvSpPr>
            <p:spPr>
              <a:xfrm>
                <a:off x="4254224" y="246281"/>
                <a:ext cx="13226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32266" h="206275">
                    <a:moveTo>
                      <a:pt x="66847" y="0"/>
                    </a:moveTo>
                    <a:cubicBezTo>
                      <a:pt x="79237" y="71"/>
                      <a:pt x="90335" y="1998"/>
                      <a:pt x="100142" y="5780"/>
                    </a:cubicBezTo>
                    <a:cubicBezTo>
                      <a:pt x="109950" y="9562"/>
                      <a:pt x="117898" y="14771"/>
                      <a:pt x="123988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6" y="39285"/>
                      <a:pt x="89791" y="36719"/>
                    </a:cubicBezTo>
                    <a:cubicBezTo>
                      <a:pt x="84277" y="34153"/>
                      <a:pt x="77582" y="32855"/>
                      <a:pt x="69706" y="32825"/>
                    </a:cubicBezTo>
                    <a:cubicBezTo>
                      <a:pt x="60907" y="32920"/>
                      <a:pt x="54057" y="34945"/>
                      <a:pt x="49154" y="38899"/>
                    </a:cubicBezTo>
                    <a:cubicBezTo>
                      <a:pt x="44251" y="42852"/>
                      <a:pt x="41761" y="48164"/>
                      <a:pt x="41684" y="54833"/>
                    </a:cubicBezTo>
                    <a:cubicBezTo>
                      <a:pt x="42155" y="64844"/>
                      <a:pt x="46873" y="72493"/>
                      <a:pt x="55837" y="77779"/>
                    </a:cubicBezTo>
                    <a:cubicBezTo>
                      <a:pt x="64801" y="83065"/>
                      <a:pt x="75180" y="88088"/>
                      <a:pt x="86975" y="92847"/>
                    </a:cubicBezTo>
                    <a:cubicBezTo>
                      <a:pt x="98770" y="97607"/>
                      <a:pt x="109149" y="104202"/>
                      <a:pt x="118113" y="112632"/>
                    </a:cubicBezTo>
                    <a:cubicBezTo>
                      <a:pt x="127077" y="121062"/>
                      <a:pt x="131795" y="133427"/>
                      <a:pt x="132266" y="149726"/>
                    </a:cubicBezTo>
                    <a:cubicBezTo>
                      <a:pt x="131821" y="166832"/>
                      <a:pt x="125360" y="180471"/>
                      <a:pt x="112884" y="190644"/>
                    </a:cubicBezTo>
                    <a:cubicBezTo>
                      <a:pt x="100407" y="200816"/>
                      <a:pt x="84585" y="206026"/>
                      <a:pt x="65417" y="206275"/>
                    </a:cubicBezTo>
                    <a:cubicBezTo>
                      <a:pt x="56688" y="206263"/>
                      <a:pt x="47942" y="205051"/>
                      <a:pt x="39179" y="202639"/>
                    </a:cubicBezTo>
                    <a:cubicBezTo>
                      <a:pt x="30415" y="200227"/>
                      <a:pt x="22541" y="196688"/>
                      <a:pt x="15558" y="192025"/>
                    </a:cubicBezTo>
                    <a:cubicBezTo>
                      <a:pt x="8574" y="187361"/>
                      <a:pt x="3388" y="181645"/>
                      <a:pt x="0" y="174877"/>
                    </a:cubicBezTo>
                    <a:lnTo>
                      <a:pt x="19988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9" y="173450"/>
                    </a:cubicBezTo>
                    <a:cubicBezTo>
                      <a:pt x="74460" y="173420"/>
                      <a:pt x="81394" y="171407"/>
                      <a:pt x="86791" y="167412"/>
                    </a:cubicBezTo>
                    <a:cubicBezTo>
                      <a:pt x="92188" y="163416"/>
                      <a:pt x="94976" y="157616"/>
                      <a:pt x="95155" y="150012"/>
                    </a:cubicBezTo>
                    <a:cubicBezTo>
                      <a:pt x="94683" y="140474"/>
                      <a:pt x="89965" y="133040"/>
                      <a:pt x="81001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9" y="107212"/>
                      <a:pt x="27689" y="100438"/>
                      <a:pt x="18725" y="91892"/>
                    </a:cubicBezTo>
                    <a:cubicBezTo>
                      <a:pt x="9762" y="83345"/>
                      <a:pt x="5044" y="71088"/>
                      <a:pt x="4572" y="55119"/>
                    </a:cubicBezTo>
                    <a:cubicBezTo>
                      <a:pt x="4738" y="39697"/>
                      <a:pt x="10258" y="26760"/>
                      <a:pt x="21135" y="16309"/>
                    </a:cubicBezTo>
                    <a:cubicBezTo>
                      <a:pt x="32011" y="5858"/>
                      <a:pt x="47248" y="421"/>
                      <a:pt x="668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49" name="Полілінія: фігура 1248">
                <a:extLst>
                  <a:ext uri="{FF2B5EF4-FFF2-40B4-BE49-F238E27FC236}">
                    <a16:creationId xmlns:a16="http://schemas.microsoft.com/office/drawing/2014/main" id="{42225752-E8E8-891D-C823-76D8E7DB8217}"/>
                  </a:ext>
                </a:extLst>
              </p:cNvPr>
              <p:cNvSpPr/>
              <p:nvPr/>
            </p:nvSpPr>
            <p:spPr>
              <a:xfrm>
                <a:off x="4463774" y="246281"/>
                <a:ext cx="20827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208276" h="206275">
                    <a:moveTo>
                      <a:pt x="103994" y="0"/>
                    </a:moveTo>
                    <a:cubicBezTo>
                      <a:pt x="123998" y="119"/>
                      <a:pt x="141818" y="4417"/>
                      <a:pt x="157453" y="12892"/>
                    </a:cubicBezTo>
                    <a:cubicBezTo>
                      <a:pt x="173089" y="21368"/>
                      <a:pt x="185422" y="33306"/>
                      <a:pt x="194451" y="48705"/>
                    </a:cubicBezTo>
                    <a:cubicBezTo>
                      <a:pt x="203481" y="64104"/>
                      <a:pt x="208089" y="82248"/>
                      <a:pt x="208276" y="103137"/>
                    </a:cubicBezTo>
                    <a:cubicBezTo>
                      <a:pt x="208089" y="123307"/>
                      <a:pt x="203481" y="141112"/>
                      <a:pt x="194451" y="156554"/>
                    </a:cubicBezTo>
                    <a:cubicBezTo>
                      <a:pt x="185422" y="171995"/>
                      <a:pt x="173089" y="184102"/>
                      <a:pt x="157453" y="192874"/>
                    </a:cubicBezTo>
                    <a:cubicBezTo>
                      <a:pt x="141818" y="201647"/>
                      <a:pt x="123998" y="206114"/>
                      <a:pt x="103994" y="206275"/>
                    </a:cubicBezTo>
                    <a:cubicBezTo>
                      <a:pt x="83994" y="206156"/>
                      <a:pt x="66200" y="201858"/>
                      <a:pt x="50610" y="193382"/>
                    </a:cubicBezTo>
                    <a:cubicBezTo>
                      <a:pt x="35021" y="184907"/>
                      <a:pt x="22734" y="172969"/>
                      <a:pt x="13750" y="157570"/>
                    </a:cubicBezTo>
                    <a:cubicBezTo>
                      <a:pt x="4766" y="142171"/>
                      <a:pt x="183" y="124026"/>
                      <a:pt x="0" y="103137"/>
                    </a:cubicBezTo>
                    <a:cubicBezTo>
                      <a:pt x="146" y="83598"/>
                      <a:pt x="4581" y="66089"/>
                      <a:pt x="13305" y="50610"/>
                    </a:cubicBezTo>
                    <a:cubicBezTo>
                      <a:pt x="22030" y="35132"/>
                      <a:pt x="34168" y="22877"/>
                      <a:pt x="49721" y="13845"/>
                    </a:cubicBezTo>
                    <a:cubicBezTo>
                      <a:pt x="65273" y="4814"/>
                      <a:pt x="83365" y="198"/>
                      <a:pt x="103994" y="0"/>
                    </a:cubicBezTo>
                    <a:close/>
                    <a:moveTo>
                      <a:pt x="103994" y="32825"/>
                    </a:moveTo>
                    <a:cubicBezTo>
                      <a:pt x="84451" y="33165"/>
                      <a:pt x="68517" y="39703"/>
                      <a:pt x="56190" y="52439"/>
                    </a:cubicBezTo>
                    <a:cubicBezTo>
                      <a:pt x="43864" y="65176"/>
                      <a:pt x="37505" y="82076"/>
                      <a:pt x="37112" y="103137"/>
                    </a:cubicBezTo>
                    <a:cubicBezTo>
                      <a:pt x="37558" y="123574"/>
                      <a:pt x="44025" y="140294"/>
                      <a:pt x="56512" y="153299"/>
                    </a:cubicBezTo>
                    <a:cubicBezTo>
                      <a:pt x="68999" y="166304"/>
                      <a:pt x="84826" y="173021"/>
                      <a:pt x="103994" y="173450"/>
                    </a:cubicBezTo>
                    <a:cubicBezTo>
                      <a:pt x="125175" y="172985"/>
                      <a:pt x="141622" y="166197"/>
                      <a:pt x="153335" y="153085"/>
                    </a:cubicBezTo>
                    <a:cubicBezTo>
                      <a:pt x="165048" y="139973"/>
                      <a:pt x="170991" y="123323"/>
                      <a:pt x="171164" y="103137"/>
                    </a:cubicBezTo>
                    <a:cubicBezTo>
                      <a:pt x="170723" y="82076"/>
                      <a:pt x="164245" y="65176"/>
                      <a:pt x="151728" y="52439"/>
                    </a:cubicBezTo>
                    <a:cubicBezTo>
                      <a:pt x="139211" y="39703"/>
                      <a:pt x="123300" y="33165"/>
                      <a:pt x="103994" y="328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0" name="Полілінія: фігура 1249">
                <a:extLst>
                  <a:ext uri="{FF2B5EF4-FFF2-40B4-BE49-F238E27FC236}">
                    <a16:creationId xmlns:a16="http://schemas.microsoft.com/office/drawing/2014/main" id="{B1941BC6-51DD-1A36-C000-FB1009E70F2B}"/>
                  </a:ext>
                </a:extLst>
              </p:cNvPr>
              <p:cNvSpPr/>
              <p:nvPr/>
            </p:nvSpPr>
            <p:spPr>
              <a:xfrm>
                <a:off x="5892524" y="246281"/>
                <a:ext cx="13226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32266" h="206275">
                    <a:moveTo>
                      <a:pt x="66847" y="0"/>
                    </a:moveTo>
                    <a:cubicBezTo>
                      <a:pt x="79236" y="71"/>
                      <a:pt x="90335" y="1998"/>
                      <a:pt x="100142" y="5780"/>
                    </a:cubicBezTo>
                    <a:cubicBezTo>
                      <a:pt x="109949" y="9562"/>
                      <a:pt x="117898" y="14771"/>
                      <a:pt x="123988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6" y="39285"/>
                      <a:pt x="89791" y="36719"/>
                    </a:cubicBezTo>
                    <a:cubicBezTo>
                      <a:pt x="84277" y="34153"/>
                      <a:pt x="77581" y="32855"/>
                      <a:pt x="69706" y="32825"/>
                    </a:cubicBezTo>
                    <a:cubicBezTo>
                      <a:pt x="60907" y="32920"/>
                      <a:pt x="54056" y="34945"/>
                      <a:pt x="49154" y="38899"/>
                    </a:cubicBezTo>
                    <a:cubicBezTo>
                      <a:pt x="44251" y="42852"/>
                      <a:pt x="41761" y="48164"/>
                      <a:pt x="41684" y="54833"/>
                    </a:cubicBezTo>
                    <a:cubicBezTo>
                      <a:pt x="42155" y="64844"/>
                      <a:pt x="46873" y="72493"/>
                      <a:pt x="55837" y="77779"/>
                    </a:cubicBezTo>
                    <a:cubicBezTo>
                      <a:pt x="64801" y="83065"/>
                      <a:pt x="75180" y="88088"/>
                      <a:pt x="86975" y="92847"/>
                    </a:cubicBezTo>
                    <a:cubicBezTo>
                      <a:pt x="98770" y="97607"/>
                      <a:pt x="109149" y="104202"/>
                      <a:pt x="118113" y="112632"/>
                    </a:cubicBezTo>
                    <a:cubicBezTo>
                      <a:pt x="127077" y="121062"/>
                      <a:pt x="131795" y="133427"/>
                      <a:pt x="132266" y="149726"/>
                    </a:cubicBezTo>
                    <a:cubicBezTo>
                      <a:pt x="131821" y="166832"/>
                      <a:pt x="125360" y="180471"/>
                      <a:pt x="112884" y="190644"/>
                    </a:cubicBezTo>
                    <a:cubicBezTo>
                      <a:pt x="100407" y="200816"/>
                      <a:pt x="84584" y="206026"/>
                      <a:pt x="65417" y="206275"/>
                    </a:cubicBezTo>
                    <a:cubicBezTo>
                      <a:pt x="56688" y="206263"/>
                      <a:pt x="47942" y="205051"/>
                      <a:pt x="39178" y="202639"/>
                    </a:cubicBezTo>
                    <a:cubicBezTo>
                      <a:pt x="30415" y="200227"/>
                      <a:pt x="22541" y="196688"/>
                      <a:pt x="15557" y="192025"/>
                    </a:cubicBezTo>
                    <a:cubicBezTo>
                      <a:pt x="8574" y="187361"/>
                      <a:pt x="3388" y="181645"/>
                      <a:pt x="0" y="174877"/>
                    </a:cubicBezTo>
                    <a:lnTo>
                      <a:pt x="19987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9" y="173450"/>
                    </a:cubicBezTo>
                    <a:cubicBezTo>
                      <a:pt x="74460" y="173420"/>
                      <a:pt x="81394" y="171407"/>
                      <a:pt x="86791" y="167412"/>
                    </a:cubicBezTo>
                    <a:cubicBezTo>
                      <a:pt x="92188" y="163416"/>
                      <a:pt x="94976" y="157616"/>
                      <a:pt x="95154" y="150012"/>
                    </a:cubicBezTo>
                    <a:cubicBezTo>
                      <a:pt x="94683" y="140474"/>
                      <a:pt x="89965" y="133040"/>
                      <a:pt x="81001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9" y="107212"/>
                      <a:pt x="27689" y="100438"/>
                      <a:pt x="18725" y="91892"/>
                    </a:cubicBezTo>
                    <a:cubicBezTo>
                      <a:pt x="9762" y="83345"/>
                      <a:pt x="5044" y="71088"/>
                      <a:pt x="4572" y="55119"/>
                    </a:cubicBezTo>
                    <a:cubicBezTo>
                      <a:pt x="4738" y="39697"/>
                      <a:pt x="10258" y="26760"/>
                      <a:pt x="21134" y="16309"/>
                    </a:cubicBezTo>
                    <a:cubicBezTo>
                      <a:pt x="32011" y="5858"/>
                      <a:pt x="47248" y="421"/>
                      <a:pt x="668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1" name="Полілінія: фігура 1250">
                <a:extLst>
                  <a:ext uri="{FF2B5EF4-FFF2-40B4-BE49-F238E27FC236}">
                    <a16:creationId xmlns:a16="http://schemas.microsoft.com/office/drawing/2014/main" id="{4574635C-4310-DC7E-4581-5E11EC69EE72}"/>
                  </a:ext>
                </a:extLst>
              </p:cNvPr>
              <p:cNvSpPr/>
              <p:nvPr/>
            </p:nvSpPr>
            <p:spPr>
              <a:xfrm>
                <a:off x="6263999" y="246281"/>
                <a:ext cx="20827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208276" h="206275">
                    <a:moveTo>
                      <a:pt x="103994" y="0"/>
                    </a:moveTo>
                    <a:cubicBezTo>
                      <a:pt x="123998" y="119"/>
                      <a:pt x="141818" y="4417"/>
                      <a:pt x="157453" y="12892"/>
                    </a:cubicBezTo>
                    <a:cubicBezTo>
                      <a:pt x="173089" y="21368"/>
                      <a:pt x="185422" y="33306"/>
                      <a:pt x="194452" y="48705"/>
                    </a:cubicBezTo>
                    <a:cubicBezTo>
                      <a:pt x="203481" y="64104"/>
                      <a:pt x="208089" y="82248"/>
                      <a:pt x="208276" y="103137"/>
                    </a:cubicBezTo>
                    <a:cubicBezTo>
                      <a:pt x="208089" y="123307"/>
                      <a:pt x="203481" y="141112"/>
                      <a:pt x="194452" y="156554"/>
                    </a:cubicBezTo>
                    <a:cubicBezTo>
                      <a:pt x="185422" y="171995"/>
                      <a:pt x="173089" y="184102"/>
                      <a:pt x="157453" y="192874"/>
                    </a:cubicBezTo>
                    <a:cubicBezTo>
                      <a:pt x="141818" y="201647"/>
                      <a:pt x="123998" y="206114"/>
                      <a:pt x="103994" y="206275"/>
                    </a:cubicBezTo>
                    <a:cubicBezTo>
                      <a:pt x="83994" y="206156"/>
                      <a:pt x="66200" y="201858"/>
                      <a:pt x="50610" y="193382"/>
                    </a:cubicBezTo>
                    <a:cubicBezTo>
                      <a:pt x="35021" y="184907"/>
                      <a:pt x="22734" y="172969"/>
                      <a:pt x="13750" y="157570"/>
                    </a:cubicBezTo>
                    <a:cubicBezTo>
                      <a:pt x="4766" y="142171"/>
                      <a:pt x="183" y="124026"/>
                      <a:pt x="0" y="103137"/>
                    </a:cubicBezTo>
                    <a:cubicBezTo>
                      <a:pt x="146" y="83598"/>
                      <a:pt x="4581" y="66089"/>
                      <a:pt x="13305" y="50610"/>
                    </a:cubicBezTo>
                    <a:cubicBezTo>
                      <a:pt x="22030" y="35132"/>
                      <a:pt x="34168" y="22877"/>
                      <a:pt x="49721" y="13845"/>
                    </a:cubicBezTo>
                    <a:cubicBezTo>
                      <a:pt x="65273" y="4814"/>
                      <a:pt x="83364" y="198"/>
                      <a:pt x="103994" y="0"/>
                    </a:cubicBezTo>
                    <a:close/>
                    <a:moveTo>
                      <a:pt x="103994" y="32825"/>
                    </a:moveTo>
                    <a:cubicBezTo>
                      <a:pt x="84451" y="33165"/>
                      <a:pt x="68516" y="39703"/>
                      <a:pt x="56190" y="52439"/>
                    </a:cubicBezTo>
                    <a:cubicBezTo>
                      <a:pt x="43864" y="65176"/>
                      <a:pt x="37505" y="82076"/>
                      <a:pt x="37111" y="103137"/>
                    </a:cubicBezTo>
                    <a:cubicBezTo>
                      <a:pt x="37558" y="123574"/>
                      <a:pt x="44025" y="140294"/>
                      <a:pt x="56512" y="153299"/>
                    </a:cubicBezTo>
                    <a:cubicBezTo>
                      <a:pt x="68999" y="166304"/>
                      <a:pt x="84827" y="173021"/>
                      <a:pt x="103994" y="173450"/>
                    </a:cubicBezTo>
                    <a:cubicBezTo>
                      <a:pt x="125175" y="172985"/>
                      <a:pt x="141622" y="166197"/>
                      <a:pt x="153335" y="153085"/>
                    </a:cubicBezTo>
                    <a:cubicBezTo>
                      <a:pt x="165048" y="139973"/>
                      <a:pt x="170991" y="123323"/>
                      <a:pt x="171164" y="103137"/>
                    </a:cubicBezTo>
                    <a:cubicBezTo>
                      <a:pt x="170723" y="82076"/>
                      <a:pt x="164245" y="65176"/>
                      <a:pt x="151728" y="52439"/>
                    </a:cubicBezTo>
                    <a:cubicBezTo>
                      <a:pt x="139210" y="39703"/>
                      <a:pt x="123299" y="33165"/>
                      <a:pt x="103994" y="328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2" name="Полілінія: фігура 1251">
                <a:extLst>
                  <a:ext uri="{FF2B5EF4-FFF2-40B4-BE49-F238E27FC236}">
                    <a16:creationId xmlns:a16="http://schemas.microsoft.com/office/drawing/2014/main" id="{CC9EB470-BC95-02B0-5DCC-347F948C5437}"/>
                  </a:ext>
                </a:extLst>
              </p:cNvPr>
              <p:cNvSpPr/>
              <p:nvPr/>
            </p:nvSpPr>
            <p:spPr>
              <a:xfrm>
                <a:off x="6749774" y="246281"/>
                <a:ext cx="167128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67128" h="206275">
                    <a:moveTo>
                      <a:pt x="102262" y="0"/>
                    </a:moveTo>
                    <a:cubicBezTo>
                      <a:pt x="115353" y="95"/>
                      <a:pt x="127105" y="1974"/>
                      <a:pt x="137517" y="5637"/>
                    </a:cubicBezTo>
                    <a:cubicBezTo>
                      <a:pt x="147929" y="9300"/>
                      <a:pt x="156466" y="14176"/>
                      <a:pt x="163127" y="20266"/>
                    </a:cubicBezTo>
                    <a:lnTo>
                      <a:pt x="147411" y="46258"/>
                    </a:lnTo>
                    <a:cubicBezTo>
                      <a:pt x="141529" y="42197"/>
                      <a:pt x="135005" y="38958"/>
                      <a:pt x="127837" y="36540"/>
                    </a:cubicBezTo>
                    <a:cubicBezTo>
                      <a:pt x="120670" y="34123"/>
                      <a:pt x="112145" y="32885"/>
                      <a:pt x="102262" y="32825"/>
                    </a:cubicBezTo>
                    <a:cubicBezTo>
                      <a:pt x="83296" y="33039"/>
                      <a:pt x="67794" y="39328"/>
                      <a:pt x="55757" y="51689"/>
                    </a:cubicBezTo>
                    <a:cubicBezTo>
                      <a:pt x="43719" y="64051"/>
                      <a:pt x="37504" y="81200"/>
                      <a:pt x="37111" y="103137"/>
                    </a:cubicBezTo>
                    <a:cubicBezTo>
                      <a:pt x="37439" y="124324"/>
                      <a:pt x="43856" y="141259"/>
                      <a:pt x="56364" y="153942"/>
                    </a:cubicBezTo>
                    <a:cubicBezTo>
                      <a:pt x="68872" y="166626"/>
                      <a:pt x="85504" y="173128"/>
                      <a:pt x="106263" y="173450"/>
                    </a:cubicBezTo>
                    <a:cubicBezTo>
                      <a:pt x="114758" y="173444"/>
                      <a:pt x="123057" y="172098"/>
                      <a:pt x="131159" y="169413"/>
                    </a:cubicBezTo>
                    <a:cubicBezTo>
                      <a:pt x="139261" y="166727"/>
                      <a:pt x="146774" y="162737"/>
                      <a:pt x="153698" y="157444"/>
                    </a:cubicBezTo>
                    <a:lnTo>
                      <a:pt x="167128" y="183726"/>
                    </a:lnTo>
                    <a:cubicBezTo>
                      <a:pt x="160585" y="190535"/>
                      <a:pt x="151596" y="195970"/>
                      <a:pt x="140160" y="200031"/>
                    </a:cubicBezTo>
                    <a:cubicBezTo>
                      <a:pt x="128724" y="204093"/>
                      <a:pt x="116378" y="206174"/>
                      <a:pt x="103120" y="206275"/>
                    </a:cubicBezTo>
                    <a:cubicBezTo>
                      <a:pt x="72070" y="205872"/>
                      <a:pt x="47239" y="196471"/>
                      <a:pt x="28628" y="178072"/>
                    </a:cubicBezTo>
                    <a:cubicBezTo>
                      <a:pt x="10017" y="159673"/>
                      <a:pt x="475" y="134695"/>
                      <a:pt x="0" y="103137"/>
                    </a:cubicBezTo>
                    <a:cubicBezTo>
                      <a:pt x="40" y="83778"/>
                      <a:pt x="3988" y="66353"/>
                      <a:pt x="11844" y="50864"/>
                    </a:cubicBezTo>
                    <a:cubicBezTo>
                      <a:pt x="19700" y="35375"/>
                      <a:pt x="31223" y="23078"/>
                      <a:pt x="46413" y="13972"/>
                    </a:cubicBezTo>
                    <a:cubicBezTo>
                      <a:pt x="61604" y="4867"/>
                      <a:pt x="80220" y="209"/>
                      <a:pt x="10226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3" name="Полілінія: фігура 1252">
                <a:extLst>
                  <a:ext uri="{FF2B5EF4-FFF2-40B4-BE49-F238E27FC236}">
                    <a16:creationId xmlns:a16="http://schemas.microsoft.com/office/drawing/2014/main" id="{1AF6E582-8E53-E83D-1CE4-1F50256025F1}"/>
                  </a:ext>
                </a:extLst>
              </p:cNvPr>
              <p:cNvSpPr/>
              <p:nvPr/>
            </p:nvSpPr>
            <p:spPr>
              <a:xfrm>
                <a:off x="7159349" y="246281"/>
                <a:ext cx="13226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32266" h="206275">
                    <a:moveTo>
                      <a:pt x="66847" y="0"/>
                    </a:moveTo>
                    <a:cubicBezTo>
                      <a:pt x="79237" y="71"/>
                      <a:pt x="90335" y="1998"/>
                      <a:pt x="100142" y="5780"/>
                    </a:cubicBezTo>
                    <a:cubicBezTo>
                      <a:pt x="109950" y="9562"/>
                      <a:pt x="117898" y="14771"/>
                      <a:pt x="123988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5" y="39285"/>
                      <a:pt x="89791" y="36719"/>
                    </a:cubicBezTo>
                    <a:cubicBezTo>
                      <a:pt x="84277" y="34153"/>
                      <a:pt x="77582" y="32855"/>
                      <a:pt x="69706" y="32825"/>
                    </a:cubicBezTo>
                    <a:cubicBezTo>
                      <a:pt x="60907" y="32920"/>
                      <a:pt x="54057" y="34945"/>
                      <a:pt x="49154" y="38899"/>
                    </a:cubicBezTo>
                    <a:cubicBezTo>
                      <a:pt x="44251" y="42852"/>
                      <a:pt x="41761" y="48164"/>
                      <a:pt x="41684" y="54833"/>
                    </a:cubicBezTo>
                    <a:cubicBezTo>
                      <a:pt x="42155" y="64844"/>
                      <a:pt x="46873" y="72493"/>
                      <a:pt x="55837" y="77779"/>
                    </a:cubicBezTo>
                    <a:cubicBezTo>
                      <a:pt x="64801" y="83065"/>
                      <a:pt x="75180" y="88088"/>
                      <a:pt x="86975" y="92847"/>
                    </a:cubicBezTo>
                    <a:cubicBezTo>
                      <a:pt x="98770" y="97607"/>
                      <a:pt x="109149" y="104202"/>
                      <a:pt x="118113" y="112632"/>
                    </a:cubicBezTo>
                    <a:cubicBezTo>
                      <a:pt x="127077" y="121062"/>
                      <a:pt x="131795" y="133427"/>
                      <a:pt x="132266" y="149726"/>
                    </a:cubicBezTo>
                    <a:cubicBezTo>
                      <a:pt x="131821" y="166832"/>
                      <a:pt x="125360" y="180471"/>
                      <a:pt x="112884" y="190644"/>
                    </a:cubicBezTo>
                    <a:cubicBezTo>
                      <a:pt x="100407" y="200816"/>
                      <a:pt x="84585" y="206026"/>
                      <a:pt x="65417" y="206275"/>
                    </a:cubicBezTo>
                    <a:cubicBezTo>
                      <a:pt x="56688" y="206263"/>
                      <a:pt x="47942" y="205051"/>
                      <a:pt x="39179" y="202639"/>
                    </a:cubicBezTo>
                    <a:cubicBezTo>
                      <a:pt x="30415" y="200227"/>
                      <a:pt x="22541" y="196688"/>
                      <a:pt x="15557" y="192025"/>
                    </a:cubicBezTo>
                    <a:cubicBezTo>
                      <a:pt x="8574" y="187361"/>
                      <a:pt x="3388" y="181645"/>
                      <a:pt x="0" y="174877"/>
                    </a:cubicBezTo>
                    <a:lnTo>
                      <a:pt x="19987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9" y="173450"/>
                    </a:cubicBezTo>
                    <a:cubicBezTo>
                      <a:pt x="74459" y="173420"/>
                      <a:pt x="81394" y="171407"/>
                      <a:pt x="86791" y="167412"/>
                    </a:cubicBezTo>
                    <a:cubicBezTo>
                      <a:pt x="92188" y="163416"/>
                      <a:pt x="94976" y="157616"/>
                      <a:pt x="95155" y="150012"/>
                    </a:cubicBezTo>
                    <a:cubicBezTo>
                      <a:pt x="94683" y="140474"/>
                      <a:pt x="89965" y="133040"/>
                      <a:pt x="81001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9" y="107212"/>
                      <a:pt x="27689" y="100438"/>
                      <a:pt x="18725" y="91892"/>
                    </a:cubicBezTo>
                    <a:cubicBezTo>
                      <a:pt x="9761" y="83345"/>
                      <a:pt x="5044" y="71088"/>
                      <a:pt x="4572" y="55119"/>
                    </a:cubicBezTo>
                    <a:cubicBezTo>
                      <a:pt x="4737" y="39697"/>
                      <a:pt x="10258" y="26760"/>
                      <a:pt x="21134" y="16309"/>
                    </a:cubicBezTo>
                    <a:cubicBezTo>
                      <a:pt x="32011" y="5858"/>
                      <a:pt x="47248" y="421"/>
                      <a:pt x="668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4" name="Полілінія: фігура 1253">
                <a:extLst>
                  <a:ext uri="{FF2B5EF4-FFF2-40B4-BE49-F238E27FC236}">
                    <a16:creationId xmlns:a16="http://schemas.microsoft.com/office/drawing/2014/main" id="{44EBF575-0FBF-AD6C-5C6D-F7D9AE8CD7E0}"/>
                  </a:ext>
                </a:extLst>
              </p:cNvPr>
              <p:cNvSpPr/>
              <p:nvPr/>
            </p:nvSpPr>
            <p:spPr>
              <a:xfrm>
                <a:off x="7483199" y="246281"/>
                <a:ext cx="20827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208276" h="206275">
                    <a:moveTo>
                      <a:pt x="103994" y="0"/>
                    </a:moveTo>
                    <a:cubicBezTo>
                      <a:pt x="123998" y="119"/>
                      <a:pt x="141818" y="4417"/>
                      <a:pt x="157453" y="12892"/>
                    </a:cubicBezTo>
                    <a:cubicBezTo>
                      <a:pt x="173089" y="21368"/>
                      <a:pt x="185422" y="33306"/>
                      <a:pt x="194451" y="48705"/>
                    </a:cubicBezTo>
                    <a:cubicBezTo>
                      <a:pt x="203481" y="64104"/>
                      <a:pt x="208089" y="82248"/>
                      <a:pt x="208276" y="103137"/>
                    </a:cubicBezTo>
                    <a:cubicBezTo>
                      <a:pt x="208089" y="123307"/>
                      <a:pt x="203481" y="141112"/>
                      <a:pt x="194451" y="156554"/>
                    </a:cubicBezTo>
                    <a:cubicBezTo>
                      <a:pt x="185422" y="171995"/>
                      <a:pt x="173089" y="184102"/>
                      <a:pt x="157453" y="192874"/>
                    </a:cubicBezTo>
                    <a:cubicBezTo>
                      <a:pt x="141818" y="201647"/>
                      <a:pt x="123998" y="206114"/>
                      <a:pt x="103994" y="206275"/>
                    </a:cubicBezTo>
                    <a:cubicBezTo>
                      <a:pt x="83994" y="206156"/>
                      <a:pt x="66200" y="201858"/>
                      <a:pt x="50610" y="193382"/>
                    </a:cubicBezTo>
                    <a:cubicBezTo>
                      <a:pt x="35020" y="184907"/>
                      <a:pt x="22734" y="172969"/>
                      <a:pt x="13750" y="157570"/>
                    </a:cubicBezTo>
                    <a:cubicBezTo>
                      <a:pt x="4766" y="142171"/>
                      <a:pt x="183" y="124026"/>
                      <a:pt x="0" y="103137"/>
                    </a:cubicBezTo>
                    <a:cubicBezTo>
                      <a:pt x="146" y="83598"/>
                      <a:pt x="4581" y="66089"/>
                      <a:pt x="13305" y="50610"/>
                    </a:cubicBezTo>
                    <a:cubicBezTo>
                      <a:pt x="22030" y="35132"/>
                      <a:pt x="34168" y="22877"/>
                      <a:pt x="49721" y="13845"/>
                    </a:cubicBezTo>
                    <a:cubicBezTo>
                      <a:pt x="65273" y="4814"/>
                      <a:pt x="83365" y="198"/>
                      <a:pt x="103994" y="0"/>
                    </a:cubicBezTo>
                    <a:close/>
                    <a:moveTo>
                      <a:pt x="103994" y="32825"/>
                    </a:moveTo>
                    <a:cubicBezTo>
                      <a:pt x="84451" y="33165"/>
                      <a:pt x="68517" y="39703"/>
                      <a:pt x="56190" y="52439"/>
                    </a:cubicBezTo>
                    <a:cubicBezTo>
                      <a:pt x="43864" y="65176"/>
                      <a:pt x="37504" y="82076"/>
                      <a:pt x="37112" y="103137"/>
                    </a:cubicBezTo>
                    <a:cubicBezTo>
                      <a:pt x="37558" y="123574"/>
                      <a:pt x="44025" y="140294"/>
                      <a:pt x="56512" y="153299"/>
                    </a:cubicBezTo>
                    <a:cubicBezTo>
                      <a:pt x="68999" y="166304"/>
                      <a:pt x="84826" y="173021"/>
                      <a:pt x="103994" y="173450"/>
                    </a:cubicBezTo>
                    <a:cubicBezTo>
                      <a:pt x="125175" y="172985"/>
                      <a:pt x="141622" y="166197"/>
                      <a:pt x="153336" y="153085"/>
                    </a:cubicBezTo>
                    <a:cubicBezTo>
                      <a:pt x="165048" y="139973"/>
                      <a:pt x="170991" y="123323"/>
                      <a:pt x="171164" y="103137"/>
                    </a:cubicBezTo>
                    <a:cubicBezTo>
                      <a:pt x="170723" y="82076"/>
                      <a:pt x="164244" y="65176"/>
                      <a:pt x="151728" y="52439"/>
                    </a:cubicBezTo>
                    <a:cubicBezTo>
                      <a:pt x="139211" y="39703"/>
                      <a:pt x="123300" y="33165"/>
                      <a:pt x="103994" y="328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5" name="Полілінія: фігура 1254">
                <a:extLst>
                  <a:ext uri="{FF2B5EF4-FFF2-40B4-BE49-F238E27FC236}">
                    <a16:creationId xmlns:a16="http://schemas.microsoft.com/office/drawing/2014/main" id="{3F85615B-47B6-2B3B-0CE1-A90EF42ABC39}"/>
                  </a:ext>
                </a:extLst>
              </p:cNvPr>
              <p:cNvSpPr/>
              <p:nvPr/>
            </p:nvSpPr>
            <p:spPr>
              <a:xfrm>
                <a:off x="8330924" y="246281"/>
                <a:ext cx="13226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32266" h="206275">
                    <a:moveTo>
                      <a:pt x="66846" y="0"/>
                    </a:moveTo>
                    <a:cubicBezTo>
                      <a:pt x="79236" y="71"/>
                      <a:pt x="90334" y="1998"/>
                      <a:pt x="100142" y="5780"/>
                    </a:cubicBezTo>
                    <a:cubicBezTo>
                      <a:pt x="109950" y="9562"/>
                      <a:pt x="117898" y="14771"/>
                      <a:pt x="123987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5" y="39285"/>
                      <a:pt x="89790" y="36719"/>
                    </a:cubicBezTo>
                    <a:cubicBezTo>
                      <a:pt x="84276" y="34153"/>
                      <a:pt x="77580" y="32855"/>
                      <a:pt x="69706" y="32825"/>
                    </a:cubicBezTo>
                    <a:cubicBezTo>
                      <a:pt x="60906" y="32920"/>
                      <a:pt x="54056" y="34945"/>
                      <a:pt x="49154" y="38899"/>
                    </a:cubicBezTo>
                    <a:cubicBezTo>
                      <a:pt x="44251" y="42852"/>
                      <a:pt x="41761" y="48164"/>
                      <a:pt x="41683" y="54833"/>
                    </a:cubicBezTo>
                    <a:cubicBezTo>
                      <a:pt x="42155" y="64844"/>
                      <a:pt x="46873" y="72493"/>
                      <a:pt x="55837" y="77779"/>
                    </a:cubicBezTo>
                    <a:cubicBezTo>
                      <a:pt x="64800" y="83065"/>
                      <a:pt x="75180" y="88088"/>
                      <a:pt x="86974" y="92847"/>
                    </a:cubicBezTo>
                    <a:cubicBezTo>
                      <a:pt x="98770" y="97607"/>
                      <a:pt x="109148" y="104202"/>
                      <a:pt x="118112" y="112632"/>
                    </a:cubicBezTo>
                    <a:cubicBezTo>
                      <a:pt x="127076" y="121062"/>
                      <a:pt x="131794" y="133427"/>
                      <a:pt x="132266" y="149726"/>
                    </a:cubicBezTo>
                    <a:cubicBezTo>
                      <a:pt x="131821" y="166832"/>
                      <a:pt x="125360" y="180471"/>
                      <a:pt x="112883" y="190644"/>
                    </a:cubicBezTo>
                    <a:cubicBezTo>
                      <a:pt x="100406" y="200816"/>
                      <a:pt x="84584" y="206026"/>
                      <a:pt x="65416" y="206275"/>
                    </a:cubicBezTo>
                    <a:cubicBezTo>
                      <a:pt x="56688" y="206263"/>
                      <a:pt x="47942" y="205051"/>
                      <a:pt x="39179" y="202639"/>
                    </a:cubicBezTo>
                    <a:cubicBezTo>
                      <a:pt x="30415" y="200227"/>
                      <a:pt x="22541" y="196688"/>
                      <a:pt x="15557" y="192025"/>
                    </a:cubicBezTo>
                    <a:cubicBezTo>
                      <a:pt x="8573" y="187361"/>
                      <a:pt x="3388" y="181645"/>
                      <a:pt x="0" y="174877"/>
                    </a:cubicBezTo>
                    <a:lnTo>
                      <a:pt x="19987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8" y="173450"/>
                    </a:cubicBezTo>
                    <a:cubicBezTo>
                      <a:pt x="74460" y="173420"/>
                      <a:pt x="81393" y="171407"/>
                      <a:pt x="86790" y="167412"/>
                    </a:cubicBezTo>
                    <a:cubicBezTo>
                      <a:pt x="92188" y="163416"/>
                      <a:pt x="94976" y="157616"/>
                      <a:pt x="95154" y="150012"/>
                    </a:cubicBezTo>
                    <a:cubicBezTo>
                      <a:pt x="94682" y="140474"/>
                      <a:pt x="89964" y="133040"/>
                      <a:pt x="81000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8" y="107212"/>
                      <a:pt x="27689" y="100438"/>
                      <a:pt x="18725" y="91892"/>
                    </a:cubicBezTo>
                    <a:cubicBezTo>
                      <a:pt x="9761" y="83345"/>
                      <a:pt x="5043" y="71088"/>
                      <a:pt x="4571" y="55119"/>
                    </a:cubicBezTo>
                    <a:cubicBezTo>
                      <a:pt x="4737" y="39697"/>
                      <a:pt x="10258" y="26760"/>
                      <a:pt x="21134" y="16309"/>
                    </a:cubicBezTo>
                    <a:cubicBezTo>
                      <a:pt x="32011" y="5858"/>
                      <a:pt x="47248" y="421"/>
                      <a:pt x="6684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6" name="Полілінія: фігура 1255">
                <a:extLst>
                  <a:ext uri="{FF2B5EF4-FFF2-40B4-BE49-F238E27FC236}">
                    <a16:creationId xmlns:a16="http://schemas.microsoft.com/office/drawing/2014/main" id="{682766A9-D0BD-498F-E44E-1FAAE8126C1E}"/>
                  </a:ext>
                </a:extLst>
              </p:cNvPr>
              <p:cNvSpPr/>
              <p:nvPr/>
            </p:nvSpPr>
            <p:spPr>
              <a:xfrm>
                <a:off x="5148223" y="248852"/>
                <a:ext cx="200025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200025" h="200561">
                    <a:moveTo>
                      <a:pt x="84581" y="0"/>
                    </a:moveTo>
                    <a:lnTo>
                      <a:pt x="115443" y="0"/>
                    </a:lnTo>
                    <a:lnTo>
                      <a:pt x="200025" y="200561"/>
                    </a:lnTo>
                    <a:lnTo>
                      <a:pt x="162591" y="200561"/>
                    </a:lnTo>
                    <a:lnTo>
                      <a:pt x="141731" y="149412"/>
                    </a:lnTo>
                    <a:lnTo>
                      <a:pt x="56292" y="149412"/>
                    </a:lnTo>
                    <a:lnTo>
                      <a:pt x="35432" y="200561"/>
                    </a:lnTo>
                    <a:lnTo>
                      <a:pt x="0" y="200561"/>
                    </a:lnTo>
                    <a:lnTo>
                      <a:pt x="84581" y="0"/>
                    </a:lnTo>
                    <a:close/>
                    <a:moveTo>
                      <a:pt x="99155" y="45435"/>
                    </a:moveTo>
                    <a:lnTo>
                      <a:pt x="69722" y="116586"/>
                    </a:lnTo>
                    <a:lnTo>
                      <a:pt x="128301" y="116586"/>
                    </a:lnTo>
                    <a:lnTo>
                      <a:pt x="99155" y="454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7" name="Полілінія: фігура 1256">
                <a:extLst>
                  <a:ext uri="{FF2B5EF4-FFF2-40B4-BE49-F238E27FC236}">
                    <a16:creationId xmlns:a16="http://schemas.microsoft.com/office/drawing/2014/main" id="{A3FE944C-494D-E521-40F3-573B3CE113F0}"/>
                  </a:ext>
                </a:extLst>
              </p:cNvPr>
              <p:cNvSpPr/>
              <p:nvPr/>
            </p:nvSpPr>
            <p:spPr>
              <a:xfrm>
                <a:off x="6516983" y="248852"/>
                <a:ext cx="157412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157412" h="200561">
                    <a:moveTo>
                      <a:pt x="60844" y="0"/>
                    </a:moveTo>
                    <a:cubicBezTo>
                      <a:pt x="87746" y="410"/>
                      <a:pt x="106663" y="6370"/>
                      <a:pt x="117594" y="17882"/>
                    </a:cubicBezTo>
                    <a:cubicBezTo>
                      <a:pt x="128526" y="29394"/>
                      <a:pt x="133797" y="44001"/>
                      <a:pt x="133409" y="61704"/>
                    </a:cubicBezTo>
                    <a:cubicBezTo>
                      <a:pt x="133240" y="73103"/>
                      <a:pt x="131136" y="82701"/>
                      <a:pt x="127097" y="90496"/>
                    </a:cubicBezTo>
                    <a:cubicBezTo>
                      <a:pt x="123058" y="98291"/>
                      <a:pt x="118099" y="104498"/>
                      <a:pt x="112220" y="109116"/>
                    </a:cubicBezTo>
                    <a:cubicBezTo>
                      <a:pt x="106341" y="113734"/>
                      <a:pt x="100557" y="116977"/>
                      <a:pt x="94868" y="118844"/>
                    </a:cubicBezTo>
                    <a:lnTo>
                      <a:pt x="157412" y="200561"/>
                    </a:lnTo>
                    <a:lnTo>
                      <a:pt x="114853" y="200561"/>
                    </a:lnTo>
                    <a:lnTo>
                      <a:pt x="59700" y="125695"/>
                    </a:lnTo>
                    <a:lnTo>
                      <a:pt x="35112" y="125695"/>
                    </a:lnTo>
                    <a:lnTo>
                      <a:pt x="35112" y="200561"/>
                    </a:lnTo>
                    <a:lnTo>
                      <a:pt x="0" y="200561"/>
                    </a:lnTo>
                    <a:lnTo>
                      <a:pt x="0" y="571"/>
                    </a:lnTo>
                    <a:cubicBezTo>
                      <a:pt x="4150" y="564"/>
                      <a:pt x="10634" y="515"/>
                      <a:pt x="19451" y="423"/>
                    </a:cubicBezTo>
                    <a:cubicBezTo>
                      <a:pt x="28269" y="332"/>
                      <a:pt x="36786" y="240"/>
                      <a:pt x="45002" y="148"/>
                    </a:cubicBezTo>
                    <a:cubicBezTo>
                      <a:pt x="53218" y="57"/>
                      <a:pt x="58498" y="7"/>
                      <a:pt x="60844" y="0"/>
                    </a:cubicBezTo>
                    <a:close/>
                    <a:moveTo>
                      <a:pt x="59128" y="32826"/>
                    </a:moveTo>
                    <a:cubicBezTo>
                      <a:pt x="55840" y="32832"/>
                      <a:pt x="52195" y="32891"/>
                      <a:pt x="48192" y="33005"/>
                    </a:cubicBezTo>
                    <a:cubicBezTo>
                      <a:pt x="44189" y="33118"/>
                      <a:pt x="39829" y="33249"/>
                      <a:pt x="35112" y="33398"/>
                    </a:cubicBezTo>
                    <a:lnTo>
                      <a:pt x="35112" y="92869"/>
                    </a:lnTo>
                    <a:lnTo>
                      <a:pt x="57985" y="92869"/>
                    </a:lnTo>
                    <a:cubicBezTo>
                      <a:pt x="68462" y="92869"/>
                      <a:pt x="77385" y="90296"/>
                      <a:pt x="84754" y="85149"/>
                    </a:cubicBezTo>
                    <a:cubicBezTo>
                      <a:pt x="92122" y="80003"/>
                      <a:pt x="95970" y="72283"/>
                      <a:pt x="96298" y="61990"/>
                    </a:cubicBezTo>
                    <a:cubicBezTo>
                      <a:pt x="96536" y="53895"/>
                      <a:pt x="93915" y="47068"/>
                      <a:pt x="88435" y="41511"/>
                    </a:cubicBezTo>
                    <a:cubicBezTo>
                      <a:pt x="82955" y="35953"/>
                      <a:pt x="73186" y="33058"/>
                      <a:pt x="59128" y="328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8" name="Полілінія: фігура 1257">
                <a:extLst>
                  <a:ext uri="{FF2B5EF4-FFF2-40B4-BE49-F238E27FC236}">
                    <a16:creationId xmlns:a16="http://schemas.microsoft.com/office/drawing/2014/main" id="{B29EA18F-D53B-3D30-947C-BC0570F337C2}"/>
                  </a:ext>
                </a:extLst>
              </p:cNvPr>
              <p:cNvSpPr/>
              <p:nvPr/>
            </p:nvSpPr>
            <p:spPr>
              <a:xfrm>
                <a:off x="8155283" y="248852"/>
                <a:ext cx="157412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157412" h="200561">
                    <a:moveTo>
                      <a:pt x="60844" y="0"/>
                    </a:moveTo>
                    <a:cubicBezTo>
                      <a:pt x="87747" y="410"/>
                      <a:pt x="106663" y="6370"/>
                      <a:pt x="117594" y="17882"/>
                    </a:cubicBezTo>
                    <a:cubicBezTo>
                      <a:pt x="128525" y="29394"/>
                      <a:pt x="133797" y="44001"/>
                      <a:pt x="133409" y="61704"/>
                    </a:cubicBezTo>
                    <a:cubicBezTo>
                      <a:pt x="133240" y="73103"/>
                      <a:pt x="131136" y="82701"/>
                      <a:pt x="127097" y="90496"/>
                    </a:cubicBezTo>
                    <a:cubicBezTo>
                      <a:pt x="123058" y="98291"/>
                      <a:pt x="118099" y="104498"/>
                      <a:pt x="112219" y="109116"/>
                    </a:cubicBezTo>
                    <a:cubicBezTo>
                      <a:pt x="106341" y="113734"/>
                      <a:pt x="100557" y="116977"/>
                      <a:pt x="94868" y="118844"/>
                    </a:cubicBezTo>
                    <a:lnTo>
                      <a:pt x="157412" y="200561"/>
                    </a:lnTo>
                    <a:lnTo>
                      <a:pt x="114854" y="200561"/>
                    </a:lnTo>
                    <a:lnTo>
                      <a:pt x="59701" y="125695"/>
                    </a:lnTo>
                    <a:lnTo>
                      <a:pt x="35111" y="125695"/>
                    </a:lnTo>
                    <a:lnTo>
                      <a:pt x="35111" y="200561"/>
                    </a:lnTo>
                    <a:lnTo>
                      <a:pt x="0" y="200561"/>
                    </a:lnTo>
                    <a:lnTo>
                      <a:pt x="0" y="571"/>
                    </a:lnTo>
                    <a:cubicBezTo>
                      <a:pt x="4150" y="564"/>
                      <a:pt x="10634" y="515"/>
                      <a:pt x="19452" y="423"/>
                    </a:cubicBezTo>
                    <a:cubicBezTo>
                      <a:pt x="28269" y="332"/>
                      <a:pt x="36786" y="240"/>
                      <a:pt x="45002" y="148"/>
                    </a:cubicBezTo>
                    <a:cubicBezTo>
                      <a:pt x="53218" y="57"/>
                      <a:pt x="58499" y="7"/>
                      <a:pt x="60844" y="0"/>
                    </a:cubicBezTo>
                    <a:close/>
                    <a:moveTo>
                      <a:pt x="59128" y="32826"/>
                    </a:moveTo>
                    <a:cubicBezTo>
                      <a:pt x="55841" y="32832"/>
                      <a:pt x="52195" y="32891"/>
                      <a:pt x="48192" y="33005"/>
                    </a:cubicBezTo>
                    <a:cubicBezTo>
                      <a:pt x="44189" y="33118"/>
                      <a:pt x="39829" y="33249"/>
                      <a:pt x="35111" y="33398"/>
                    </a:cubicBezTo>
                    <a:lnTo>
                      <a:pt x="35111" y="92869"/>
                    </a:lnTo>
                    <a:lnTo>
                      <a:pt x="57985" y="92869"/>
                    </a:lnTo>
                    <a:cubicBezTo>
                      <a:pt x="68462" y="92869"/>
                      <a:pt x="77385" y="90296"/>
                      <a:pt x="84754" y="85149"/>
                    </a:cubicBezTo>
                    <a:cubicBezTo>
                      <a:pt x="92122" y="80003"/>
                      <a:pt x="95970" y="72283"/>
                      <a:pt x="96298" y="61990"/>
                    </a:cubicBezTo>
                    <a:cubicBezTo>
                      <a:pt x="96536" y="53895"/>
                      <a:pt x="93915" y="47068"/>
                      <a:pt x="88435" y="41511"/>
                    </a:cubicBezTo>
                    <a:cubicBezTo>
                      <a:pt x="82954" y="35953"/>
                      <a:pt x="73186" y="33058"/>
                      <a:pt x="59128" y="328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59" name="Полілінія: фігура 1258">
                <a:extLst>
                  <a:ext uri="{FF2B5EF4-FFF2-40B4-BE49-F238E27FC236}">
                    <a16:creationId xmlns:a16="http://schemas.microsoft.com/office/drawing/2014/main" id="{72F1C678-48FA-2A12-8493-B75491EAF0F9}"/>
                  </a:ext>
                </a:extLst>
              </p:cNvPr>
              <p:cNvSpPr/>
              <p:nvPr/>
            </p:nvSpPr>
            <p:spPr>
              <a:xfrm>
                <a:off x="3468983" y="249710"/>
                <a:ext cx="114264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14264" h="199703">
                    <a:moveTo>
                      <a:pt x="0" y="0"/>
                    </a:moveTo>
                    <a:lnTo>
                      <a:pt x="114264" y="0"/>
                    </a:lnTo>
                    <a:lnTo>
                      <a:pt x="114264" y="32825"/>
                    </a:lnTo>
                    <a:lnTo>
                      <a:pt x="35111" y="32825"/>
                    </a:lnTo>
                    <a:lnTo>
                      <a:pt x="35111" y="89154"/>
                    </a:lnTo>
                    <a:lnTo>
                      <a:pt x="105692" y="89154"/>
                    </a:lnTo>
                    <a:lnTo>
                      <a:pt x="105692" y="121979"/>
                    </a:lnTo>
                    <a:lnTo>
                      <a:pt x="35111" y="121979"/>
                    </a:lnTo>
                    <a:lnTo>
                      <a:pt x="35111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0" name="Полілінія: фігура 1259">
                <a:extLst>
                  <a:ext uri="{FF2B5EF4-FFF2-40B4-BE49-F238E27FC236}">
                    <a16:creationId xmlns:a16="http://schemas.microsoft.com/office/drawing/2014/main" id="{90295F07-2BB6-46E0-4F00-905E02C228E4}"/>
                  </a:ext>
                </a:extLst>
              </p:cNvPr>
              <p:cNvSpPr/>
              <p:nvPr/>
            </p:nvSpPr>
            <p:spPr>
              <a:xfrm>
                <a:off x="4047150" y="249710"/>
                <a:ext cx="164557" cy="202847"/>
              </a:xfrm>
              <a:custGeom>
                <a:avLst/>
                <a:gdLst/>
                <a:ahLst/>
                <a:cxnLst/>
                <a:rect l="l" t="t" r="r" b="b"/>
                <a:pathLst>
                  <a:path w="164557" h="202847">
                    <a:moveTo>
                      <a:pt x="0" y="0"/>
                    </a:moveTo>
                    <a:lnTo>
                      <a:pt x="35112" y="0"/>
                    </a:lnTo>
                    <a:lnTo>
                      <a:pt x="35112" y="107547"/>
                    </a:lnTo>
                    <a:cubicBezTo>
                      <a:pt x="35034" y="126499"/>
                      <a:pt x="39048" y="141583"/>
                      <a:pt x="47154" y="152798"/>
                    </a:cubicBezTo>
                    <a:cubicBezTo>
                      <a:pt x="55259" y="164012"/>
                      <a:pt x="67920" y="169753"/>
                      <a:pt x="85137" y="170021"/>
                    </a:cubicBezTo>
                    <a:cubicBezTo>
                      <a:pt x="100252" y="169938"/>
                      <a:pt x="111472" y="164755"/>
                      <a:pt x="118797" y="154474"/>
                    </a:cubicBezTo>
                    <a:cubicBezTo>
                      <a:pt x="126122" y="144192"/>
                      <a:pt x="129767" y="129310"/>
                      <a:pt x="129731" y="109829"/>
                    </a:cubicBezTo>
                    <a:lnTo>
                      <a:pt x="129731" y="0"/>
                    </a:lnTo>
                    <a:lnTo>
                      <a:pt x="164557" y="0"/>
                    </a:lnTo>
                    <a:lnTo>
                      <a:pt x="164557" y="116961"/>
                    </a:lnTo>
                    <a:cubicBezTo>
                      <a:pt x="164354" y="137241"/>
                      <a:pt x="160604" y="153708"/>
                      <a:pt x="153304" y="166362"/>
                    </a:cubicBezTo>
                    <a:cubicBezTo>
                      <a:pt x="146005" y="179015"/>
                      <a:pt x="136372" y="188277"/>
                      <a:pt x="124404" y="194147"/>
                    </a:cubicBezTo>
                    <a:cubicBezTo>
                      <a:pt x="112435" y="200017"/>
                      <a:pt x="99347" y="202917"/>
                      <a:pt x="85137" y="202846"/>
                    </a:cubicBezTo>
                    <a:cubicBezTo>
                      <a:pt x="59829" y="202840"/>
                      <a:pt x="39422" y="195503"/>
                      <a:pt x="23916" y="180836"/>
                    </a:cubicBezTo>
                    <a:cubicBezTo>
                      <a:pt x="8411" y="166169"/>
                      <a:pt x="439" y="144212"/>
                      <a:pt x="0" y="11496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1" name="Полілінія: фігура 1260">
                <a:extLst>
                  <a:ext uri="{FF2B5EF4-FFF2-40B4-BE49-F238E27FC236}">
                    <a16:creationId xmlns:a16="http://schemas.microsoft.com/office/drawing/2014/main" id="{5D47298E-973D-43F2-F190-2B89A7BCB1F4}"/>
                  </a:ext>
                </a:extLst>
              </p:cNvPr>
              <p:cNvSpPr/>
              <p:nvPr/>
            </p:nvSpPr>
            <p:spPr>
              <a:xfrm>
                <a:off x="4716758" y="249710"/>
                <a:ext cx="170843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70843" h="199703">
                    <a:moveTo>
                      <a:pt x="0" y="0"/>
                    </a:moveTo>
                    <a:lnTo>
                      <a:pt x="27973" y="0"/>
                    </a:lnTo>
                    <a:lnTo>
                      <a:pt x="138017" y="138936"/>
                    </a:lnTo>
                    <a:lnTo>
                      <a:pt x="138017" y="0"/>
                    </a:lnTo>
                    <a:lnTo>
                      <a:pt x="170843" y="0"/>
                    </a:lnTo>
                    <a:lnTo>
                      <a:pt x="170843" y="199703"/>
                    </a:lnTo>
                    <a:lnTo>
                      <a:pt x="142870" y="199703"/>
                    </a:lnTo>
                    <a:lnTo>
                      <a:pt x="32825" y="61336"/>
                    </a:lnTo>
                    <a:lnTo>
                      <a:pt x="32825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2" name="Полілінія: фігура 1261">
                <a:extLst>
                  <a:ext uri="{FF2B5EF4-FFF2-40B4-BE49-F238E27FC236}">
                    <a16:creationId xmlns:a16="http://schemas.microsoft.com/office/drawing/2014/main" id="{E270B803-C7B6-821D-C965-88368C93740F}"/>
                  </a:ext>
                </a:extLst>
              </p:cNvPr>
              <p:cNvSpPr/>
              <p:nvPr/>
            </p:nvSpPr>
            <p:spPr>
              <a:xfrm>
                <a:off x="4973915" y="249710"/>
                <a:ext cx="188881" cy="200275"/>
              </a:xfrm>
              <a:custGeom>
                <a:avLst/>
                <a:gdLst/>
                <a:ahLst/>
                <a:cxnLst/>
                <a:rect l="l" t="t" r="r" b="b"/>
                <a:pathLst>
                  <a:path w="188881" h="200275">
                    <a:moveTo>
                      <a:pt x="0" y="0"/>
                    </a:moveTo>
                    <a:lnTo>
                      <a:pt x="37433" y="0"/>
                    </a:lnTo>
                    <a:lnTo>
                      <a:pt x="96869" y="148066"/>
                    </a:lnTo>
                    <a:lnTo>
                      <a:pt x="153733" y="0"/>
                    </a:lnTo>
                    <a:lnTo>
                      <a:pt x="188881" y="0"/>
                    </a:lnTo>
                    <a:lnTo>
                      <a:pt x="108871" y="200275"/>
                    </a:lnTo>
                    <a:lnTo>
                      <a:pt x="82296" y="20027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3" name="Полілінія: фігура 1262">
                <a:extLst>
                  <a:ext uri="{FF2B5EF4-FFF2-40B4-BE49-F238E27FC236}">
                    <a16:creationId xmlns:a16="http://schemas.microsoft.com/office/drawing/2014/main" id="{B814D59F-242D-23AE-5296-9ED8256EA020}"/>
                  </a:ext>
                </a:extLst>
              </p:cNvPr>
              <p:cNvSpPr/>
              <p:nvPr/>
            </p:nvSpPr>
            <p:spPr>
              <a:xfrm>
                <a:off x="5373983" y="249710"/>
                <a:ext cx="125123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25123" h="199703">
                    <a:moveTo>
                      <a:pt x="0" y="0"/>
                    </a:moveTo>
                    <a:lnTo>
                      <a:pt x="35111" y="0"/>
                    </a:lnTo>
                    <a:lnTo>
                      <a:pt x="35111" y="166878"/>
                    </a:lnTo>
                    <a:lnTo>
                      <a:pt x="125123" y="166878"/>
                    </a:lnTo>
                    <a:lnTo>
                      <a:pt x="125123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4" name="Полілінія: фігура 1263">
                <a:extLst>
                  <a:ext uri="{FF2B5EF4-FFF2-40B4-BE49-F238E27FC236}">
                    <a16:creationId xmlns:a16="http://schemas.microsoft.com/office/drawing/2014/main" id="{FA3600A0-F809-5F9E-09F8-47E61CF31DCA}"/>
                  </a:ext>
                </a:extLst>
              </p:cNvPr>
              <p:cNvSpPr/>
              <p:nvPr/>
            </p:nvSpPr>
            <p:spPr>
              <a:xfrm>
                <a:off x="5523525" y="249710"/>
                <a:ext cx="164557" cy="202847"/>
              </a:xfrm>
              <a:custGeom>
                <a:avLst/>
                <a:gdLst/>
                <a:ahLst/>
                <a:cxnLst/>
                <a:rect l="l" t="t" r="r" b="b"/>
                <a:pathLst>
                  <a:path w="164557" h="202847">
                    <a:moveTo>
                      <a:pt x="0" y="0"/>
                    </a:moveTo>
                    <a:lnTo>
                      <a:pt x="35112" y="0"/>
                    </a:lnTo>
                    <a:lnTo>
                      <a:pt x="35112" y="107547"/>
                    </a:lnTo>
                    <a:cubicBezTo>
                      <a:pt x="35035" y="126499"/>
                      <a:pt x="39048" y="141583"/>
                      <a:pt x="47154" y="152798"/>
                    </a:cubicBezTo>
                    <a:cubicBezTo>
                      <a:pt x="55259" y="164012"/>
                      <a:pt x="67920" y="169753"/>
                      <a:pt x="85137" y="170021"/>
                    </a:cubicBezTo>
                    <a:cubicBezTo>
                      <a:pt x="100252" y="169938"/>
                      <a:pt x="111472" y="164755"/>
                      <a:pt x="118797" y="154474"/>
                    </a:cubicBezTo>
                    <a:cubicBezTo>
                      <a:pt x="126122" y="144192"/>
                      <a:pt x="129767" y="129310"/>
                      <a:pt x="129731" y="109829"/>
                    </a:cubicBezTo>
                    <a:lnTo>
                      <a:pt x="129731" y="0"/>
                    </a:lnTo>
                    <a:lnTo>
                      <a:pt x="164557" y="0"/>
                    </a:lnTo>
                    <a:lnTo>
                      <a:pt x="164557" y="116961"/>
                    </a:lnTo>
                    <a:cubicBezTo>
                      <a:pt x="164354" y="137241"/>
                      <a:pt x="160603" y="153708"/>
                      <a:pt x="153305" y="166362"/>
                    </a:cubicBezTo>
                    <a:cubicBezTo>
                      <a:pt x="146006" y="179015"/>
                      <a:pt x="136372" y="188277"/>
                      <a:pt x="124403" y="194147"/>
                    </a:cubicBezTo>
                    <a:cubicBezTo>
                      <a:pt x="112435" y="200017"/>
                      <a:pt x="99347" y="202917"/>
                      <a:pt x="85137" y="202846"/>
                    </a:cubicBezTo>
                    <a:cubicBezTo>
                      <a:pt x="59829" y="202840"/>
                      <a:pt x="39422" y="195503"/>
                      <a:pt x="23916" y="180836"/>
                    </a:cubicBezTo>
                    <a:cubicBezTo>
                      <a:pt x="8411" y="166169"/>
                      <a:pt x="439" y="144212"/>
                      <a:pt x="0" y="11496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5" name="Полілінія: фігура 1264">
                <a:extLst>
                  <a:ext uri="{FF2B5EF4-FFF2-40B4-BE49-F238E27FC236}">
                    <a16:creationId xmlns:a16="http://schemas.microsoft.com/office/drawing/2014/main" id="{62C70A53-9356-71A3-BD54-900E58AB930A}"/>
                  </a:ext>
                </a:extLst>
              </p:cNvPr>
              <p:cNvSpPr/>
              <p:nvPr/>
            </p:nvSpPr>
            <p:spPr>
              <a:xfrm>
                <a:off x="5745458" y="249710"/>
                <a:ext cx="118550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18550" h="199703">
                    <a:moveTo>
                      <a:pt x="0" y="0"/>
                    </a:moveTo>
                    <a:lnTo>
                      <a:pt x="115693" y="0"/>
                    </a:lnTo>
                    <a:lnTo>
                      <a:pt x="115693" y="32825"/>
                    </a:lnTo>
                    <a:lnTo>
                      <a:pt x="35111" y="32825"/>
                    </a:lnTo>
                    <a:lnTo>
                      <a:pt x="35111" y="82296"/>
                    </a:lnTo>
                    <a:lnTo>
                      <a:pt x="107120" y="82296"/>
                    </a:lnTo>
                    <a:lnTo>
                      <a:pt x="107120" y="115121"/>
                    </a:lnTo>
                    <a:lnTo>
                      <a:pt x="35111" y="115121"/>
                    </a:lnTo>
                    <a:lnTo>
                      <a:pt x="35111" y="166878"/>
                    </a:lnTo>
                    <a:lnTo>
                      <a:pt x="118550" y="166878"/>
                    </a:lnTo>
                    <a:lnTo>
                      <a:pt x="118550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6" name="Полілінія: фігура 1265">
                <a:extLst>
                  <a:ext uri="{FF2B5EF4-FFF2-40B4-BE49-F238E27FC236}">
                    <a16:creationId xmlns:a16="http://schemas.microsoft.com/office/drawing/2014/main" id="{D761FE91-96B1-A151-7583-FA38A8AFE762}"/>
                  </a:ext>
                </a:extLst>
              </p:cNvPr>
              <p:cNvSpPr/>
              <p:nvPr/>
            </p:nvSpPr>
            <p:spPr>
              <a:xfrm>
                <a:off x="6126458" y="249710"/>
                <a:ext cx="114264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14264" h="199703">
                    <a:moveTo>
                      <a:pt x="0" y="0"/>
                    </a:moveTo>
                    <a:lnTo>
                      <a:pt x="114264" y="0"/>
                    </a:lnTo>
                    <a:lnTo>
                      <a:pt x="114264" y="32825"/>
                    </a:lnTo>
                    <a:lnTo>
                      <a:pt x="35111" y="32825"/>
                    </a:lnTo>
                    <a:lnTo>
                      <a:pt x="35111" y="89154"/>
                    </a:lnTo>
                    <a:lnTo>
                      <a:pt x="105692" y="89154"/>
                    </a:lnTo>
                    <a:lnTo>
                      <a:pt x="105692" y="121979"/>
                    </a:lnTo>
                    <a:lnTo>
                      <a:pt x="35111" y="121979"/>
                    </a:lnTo>
                    <a:lnTo>
                      <a:pt x="35111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7" name="Полілінія: фігура 1266">
                <a:extLst>
                  <a:ext uri="{FF2B5EF4-FFF2-40B4-BE49-F238E27FC236}">
                    <a16:creationId xmlns:a16="http://schemas.microsoft.com/office/drawing/2014/main" id="{8B0F8031-C043-BD50-17D3-AF6393897C1F}"/>
                  </a:ext>
                </a:extLst>
              </p:cNvPr>
              <p:cNvSpPr/>
              <p:nvPr/>
            </p:nvSpPr>
            <p:spPr>
              <a:xfrm>
                <a:off x="6952275" y="249710"/>
                <a:ext cx="164557" cy="202847"/>
              </a:xfrm>
              <a:custGeom>
                <a:avLst/>
                <a:gdLst/>
                <a:ahLst/>
                <a:cxnLst/>
                <a:rect l="l" t="t" r="r" b="b"/>
                <a:pathLst>
                  <a:path w="164557" h="202847">
                    <a:moveTo>
                      <a:pt x="0" y="0"/>
                    </a:moveTo>
                    <a:lnTo>
                      <a:pt x="35112" y="0"/>
                    </a:lnTo>
                    <a:lnTo>
                      <a:pt x="35112" y="107547"/>
                    </a:lnTo>
                    <a:cubicBezTo>
                      <a:pt x="35035" y="126499"/>
                      <a:pt x="39049" y="141583"/>
                      <a:pt x="47154" y="152798"/>
                    </a:cubicBezTo>
                    <a:cubicBezTo>
                      <a:pt x="55259" y="164012"/>
                      <a:pt x="67920" y="169753"/>
                      <a:pt x="85137" y="170021"/>
                    </a:cubicBezTo>
                    <a:cubicBezTo>
                      <a:pt x="100252" y="169938"/>
                      <a:pt x="111472" y="164755"/>
                      <a:pt x="118797" y="154474"/>
                    </a:cubicBezTo>
                    <a:cubicBezTo>
                      <a:pt x="126122" y="144192"/>
                      <a:pt x="129767" y="129310"/>
                      <a:pt x="129731" y="109829"/>
                    </a:cubicBezTo>
                    <a:lnTo>
                      <a:pt x="129731" y="0"/>
                    </a:lnTo>
                    <a:lnTo>
                      <a:pt x="164557" y="0"/>
                    </a:lnTo>
                    <a:lnTo>
                      <a:pt x="164557" y="116961"/>
                    </a:lnTo>
                    <a:cubicBezTo>
                      <a:pt x="164354" y="137241"/>
                      <a:pt x="160604" y="153708"/>
                      <a:pt x="153304" y="166362"/>
                    </a:cubicBezTo>
                    <a:cubicBezTo>
                      <a:pt x="146005" y="179015"/>
                      <a:pt x="136372" y="188277"/>
                      <a:pt x="124403" y="194147"/>
                    </a:cubicBezTo>
                    <a:cubicBezTo>
                      <a:pt x="112435" y="200017"/>
                      <a:pt x="99346" y="202917"/>
                      <a:pt x="85137" y="202846"/>
                    </a:cubicBezTo>
                    <a:cubicBezTo>
                      <a:pt x="59829" y="202840"/>
                      <a:pt x="39422" y="195503"/>
                      <a:pt x="23917" y="180836"/>
                    </a:cubicBezTo>
                    <a:cubicBezTo>
                      <a:pt x="8411" y="166169"/>
                      <a:pt x="439" y="144212"/>
                      <a:pt x="0" y="11496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8" name="Полілінія: фігура 1267">
                <a:extLst>
                  <a:ext uri="{FF2B5EF4-FFF2-40B4-BE49-F238E27FC236}">
                    <a16:creationId xmlns:a16="http://schemas.microsoft.com/office/drawing/2014/main" id="{B8C6DB8B-CF3A-87D8-A791-108880368DE6}"/>
                  </a:ext>
                </a:extLst>
              </p:cNvPr>
              <p:cNvSpPr/>
              <p:nvPr/>
            </p:nvSpPr>
            <p:spPr>
              <a:xfrm>
                <a:off x="7311273" y="249710"/>
                <a:ext cx="164842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64842" h="199703">
                    <a:moveTo>
                      <a:pt x="0" y="0"/>
                    </a:moveTo>
                    <a:lnTo>
                      <a:pt x="164842" y="0"/>
                    </a:lnTo>
                    <a:lnTo>
                      <a:pt x="164842" y="32825"/>
                    </a:lnTo>
                    <a:lnTo>
                      <a:pt x="99976" y="32825"/>
                    </a:lnTo>
                    <a:lnTo>
                      <a:pt x="99976" y="199703"/>
                    </a:lnTo>
                    <a:lnTo>
                      <a:pt x="64865" y="199703"/>
                    </a:lnTo>
                    <a:lnTo>
                      <a:pt x="64865" y="32825"/>
                    </a:lnTo>
                    <a:lnTo>
                      <a:pt x="0" y="3282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69" name="Полілінія: фігура 1268">
                <a:extLst>
                  <a:ext uri="{FF2B5EF4-FFF2-40B4-BE49-F238E27FC236}">
                    <a16:creationId xmlns:a16="http://schemas.microsoft.com/office/drawing/2014/main" id="{91E09732-8826-872A-0E97-BEE76D25B9C5}"/>
                  </a:ext>
                </a:extLst>
              </p:cNvPr>
              <p:cNvSpPr/>
              <p:nvPr/>
            </p:nvSpPr>
            <p:spPr>
              <a:xfrm>
                <a:off x="7736183" y="249710"/>
                <a:ext cx="201989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201989" h="199703">
                    <a:moveTo>
                      <a:pt x="0" y="0"/>
                    </a:moveTo>
                    <a:lnTo>
                      <a:pt x="35397" y="0"/>
                    </a:lnTo>
                    <a:lnTo>
                      <a:pt x="103710" y="93289"/>
                    </a:lnTo>
                    <a:lnTo>
                      <a:pt x="168876" y="0"/>
                    </a:lnTo>
                    <a:lnTo>
                      <a:pt x="201989" y="0"/>
                    </a:lnTo>
                    <a:lnTo>
                      <a:pt x="201989" y="199703"/>
                    </a:lnTo>
                    <a:lnTo>
                      <a:pt x="167163" y="199703"/>
                    </a:lnTo>
                    <a:lnTo>
                      <a:pt x="167163" y="55345"/>
                    </a:lnTo>
                    <a:lnTo>
                      <a:pt x="103996" y="144071"/>
                    </a:lnTo>
                    <a:lnTo>
                      <a:pt x="98851" y="144071"/>
                    </a:lnTo>
                    <a:lnTo>
                      <a:pt x="35111" y="56201"/>
                    </a:lnTo>
                    <a:lnTo>
                      <a:pt x="35111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270" name="Полілінія: фігура 1269">
                <a:extLst>
                  <a:ext uri="{FF2B5EF4-FFF2-40B4-BE49-F238E27FC236}">
                    <a16:creationId xmlns:a16="http://schemas.microsoft.com/office/drawing/2014/main" id="{A737BE73-C3DC-65FB-9127-C0671B4ED008}"/>
                  </a:ext>
                </a:extLst>
              </p:cNvPr>
              <p:cNvSpPr/>
              <p:nvPr/>
            </p:nvSpPr>
            <p:spPr>
              <a:xfrm>
                <a:off x="7993358" y="249710"/>
                <a:ext cx="118550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18550" h="199703">
                    <a:moveTo>
                      <a:pt x="0" y="0"/>
                    </a:moveTo>
                    <a:lnTo>
                      <a:pt x="115693" y="0"/>
                    </a:lnTo>
                    <a:lnTo>
                      <a:pt x="115693" y="32825"/>
                    </a:lnTo>
                    <a:lnTo>
                      <a:pt x="35111" y="32825"/>
                    </a:lnTo>
                    <a:lnTo>
                      <a:pt x="35111" y="82296"/>
                    </a:lnTo>
                    <a:lnTo>
                      <a:pt x="107120" y="82296"/>
                    </a:lnTo>
                    <a:lnTo>
                      <a:pt x="107120" y="115121"/>
                    </a:lnTo>
                    <a:lnTo>
                      <a:pt x="35111" y="115121"/>
                    </a:lnTo>
                    <a:lnTo>
                      <a:pt x="35111" y="166878"/>
                    </a:lnTo>
                    <a:lnTo>
                      <a:pt x="118550" y="166878"/>
                    </a:lnTo>
                    <a:lnTo>
                      <a:pt x="118550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</p:grpSp>
        <p:sp>
          <p:nvSpPr>
            <p:cNvPr id="42" name="Полілінія: фігура 41">
              <a:extLst>
                <a:ext uri="{FF2B5EF4-FFF2-40B4-BE49-F238E27FC236}">
                  <a16:creationId xmlns:a16="http://schemas.microsoft.com/office/drawing/2014/main" id="{3B47CEDC-6429-768E-0614-80D05FCEFAD6}"/>
                </a:ext>
              </a:extLst>
            </p:cNvPr>
            <p:cNvSpPr/>
            <p:nvPr/>
          </p:nvSpPr>
          <p:spPr>
            <a:xfrm>
              <a:off x="2925792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" name="Полілінія: фігура 42">
              <a:extLst>
                <a:ext uri="{FF2B5EF4-FFF2-40B4-BE49-F238E27FC236}">
                  <a16:creationId xmlns:a16="http://schemas.microsoft.com/office/drawing/2014/main" id="{5173993A-034E-A0F1-D462-D557F4104B23}"/>
                </a:ext>
              </a:extLst>
            </p:cNvPr>
            <p:cNvSpPr/>
            <p:nvPr/>
          </p:nvSpPr>
          <p:spPr>
            <a:xfrm>
              <a:off x="3055188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" name="Полілінія: фігура 43">
              <a:extLst>
                <a:ext uri="{FF2B5EF4-FFF2-40B4-BE49-F238E27FC236}">
                  <a16:creationId xmlns:a16="http://schemas.microsoft.com/office/drawing/2014/main" id="{5DF8D551-1E27-4179-8886-9BDA1C3A5D22}"/>
                </a:ext>
              </a:extLst>
            </p:cNvPr>
            <p:cNvSpPr/>
            <p:nvPr/>
          </p:nvSpPr>
          <p:spPr>
            <a:xfrm>
              <a:off x="3184584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" name="Полілінія: фігура 44">
              <a:extLst>
                <a:ext uri="{FF2B5EF4-FFF2-40B4-BE49-F238E27FC236}">
                  <a16:creationId xmlns:a16="http://schemas.microsoft.com/office/drawing/2014/main" id="{24FD8429-44A8-743D-7F27-C60E614C9572}"/>
                </a:ext>
              </a:extLst>
            </p:cNvPr>
            <p:cNvSpPr/>
            <p:nvPr/>
          </p:nvSpPr>
          <p:spPr>
            <a:xfrm>
              <a:off x="3313981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" name="Полілінія: фігура 45">
              <a:extLst>
                <a:ext uri="{FF2B5EF4-FFF2-40B4-BE49-F238E27FC236}">
                  <a16:creationId xmlns:a16="http://schemas.microsoft.com/office/drawing/2014/main" id="{1EC16401-C5BD-D349-330E-F7097194D6B4}"/>
                </a:ext>
              </a:extLst>
            </p:cNvPr>
            <p:cNvSpPr/>
            <p:nvPr/>
          </p:nvSpPr>
          <p:spPr>
            <a:xfrm>
              <a:off x="3443377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" name="Полілінія: фігура 46">
              <a:extLst>
                <a:ext uri="{FF2B5EF4-FFF2-40B4-BE49-F238E27FC236}">
                  <a16:creationId xmlns:a16="http://schemas.microsoft.com/office/drawing/2014/main" id="{CA03DB7F-C1FD-7556-6AFA-D7989083C583}"/>
                </a:ext>
              </a:extLst>
            </p:cNvPr>
            <p:cNvSpPr/>
            <p:nvPr/>
          </p:nvSpPr>
          <p:spPr>
            <a:xfrm>
              <a:off x="3572773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" name="Полілінія: фігура 47">
              <a:extLst>
                <a:ext uri="{FF2B5EF4-FFF2-40B4-BE49-F238E27FC236}">
                  <a16:creationId xmlns:a16="http://schemas.microsoft.com/office/drawing/2014/main" id="{DC2E85E2-CA67-388A-92F8-D672E2224198}"/>
                </a:ext>
              </a:extLst>
            </p:cNvPr>
            <p:cNvSpPr/>
            <p:nvPr/>
          </p:nvSpPr>
          <p:spPr>
            <a:xfrm>
              <a:off x="3702169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" name="Полілінія: фігура 48">
              <a:extLst>
                <a:ext uri="{FF2B5EF4-FFF2-40B4-BE49-F238E27FC236}">
                  <a16:creationId xmlns:a16="http://schemas.microsoft.com/office/drawing/2014/main" id="{D8FA4604-0F42-C263-536B-92E1CE8B3A84}"/>
                </a:ext>
              </a:extLst>
            </p:cNvPr>
            <p:cNvSpPr/>
            <p:nvPr/>
          </p:nvSpPr>
          <p:spPr>
            <a:xfrm>
              <a:off x="3960962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" name="Полілінія: фігура 49">
              <a:extLst>
                <a:ext uri="{FF2B5EF4-FFF2-40B4-BE49-F238E27FC236}">
                  <a16:creationId xmlns:a16="http://schemas.microsoft.com/office/drawing/2014/main" id="{36CB1E22-975F-E9E7-1B13-37818A3E13E8}"/>
                </a:ext>
              </a:extLst>
            </p:cNvPr>
            <p:cNvSpPr/>
            <p:nvPr/>
          </p:nvSpPr>
          <p:spPr>
            <a:xfrm>
              <a:off x="4090358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" name="Полілінія: фігура 50">
              <a:extLst>
                <a:ext uri="{FF2B5EF4-FFF2-40B4-BE49-F238E27FC236}">
                  <a16:creationId xmlns:a16="http://schemas.microsoft.com/office/drawing/2014/main" id="{71F85D70-8329-69FC-AC85-E7128CB4097B}"/>
                </a:ext>
              </a:extLst>
            </p:cNvPr>
            <p:cNvSpPr/>
            <p:nvPr/>
          </p:nvSpPr>
          <p:spPr>
            <a:xfrm>
              <a:off x="4219754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" name="Полілінія: фігура 51">
              <a:extLst>
                <a:ext uri="{FF2B5EF4-FFF2-40B4-BE49-F238E27FC236}">
                  <a16:creationId xmlns:a16="http://schemas.microsoft.com/office/drawing/2014/main" id="{0396DDA0-66A5-5AB8-A9EC-98C9B501CCBD}"/>
                </a:ext>
              </a:extLst>
            </p:cNvPr>
            <p:cNvSpPr/>
            <p:nvPr/>
          </p:nvSpPr>
          <p:spPr>
            <a:xfrm>
              <a:off x="4349150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" name="Полілінія: фігура 52">
              <a:extLst>
                <a:ext uri="{FF2B5EF4-FFF2-40B4-BE49-F238E27FC236}">
                  <a16:creationId xmlns:a16="http://schemas.microsoft.com/office/drawing/2014/main" id="{4010E029-9F5E-EFF8-35E5-8DF86ECFA091}"/>
                </a:ext>
              </a:extLst>
            </p:cNvPr>
            <p:cNvSpPr/>
            <p:nvPr/>
          </p:nvSpPr>
          <p:spPr>
            <a:xfrm>
              <a:off x="4478547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" name="Полілінія: фігура 53">
              <a:extLst>
                <a:ext uri="{FF2B5EF4-FFF2-40B4-BE49-F238E27FC236}">
                  <a16:creationId xmlns:a16="http://schemas.microsoft.com/office/drawing/2014/main" id="{F032AD20-403F-1764-6889-BE15B48A6024}"/>
                </a:ext>
              </a:extLst>
            </p:cNvPr>
            <p:cNvSpPr/>
            <p:nvPr/>
          </p:nvSpPr>
          <p:spPr>
            <a:xfrm>
              <a:off x="4737339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" name="Полілінія: фігура 54">
              <a:extLst>
                <a:ext uri="{FF2B5EF4-FFF2-40B4-BE49-F238E27FC236}">
                  <a16:creationId xmlns:a16="http://schemas.microsoft.com/office/drawing/2014/main" id="{8EC6861E-2D91-0A11-9C5F-3A5241A80813}"/>
                </a:ext>
              </a:extLst>
            </p:cNvPr>
            <p:cNvSpPr/>
            <p:nvPr/>
          </p:nvSpPr>
          <p:spPr>
            <a:xfrm>
              <a:off x="4996132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" name="Полілінія: фігура 55">
              <a:extLst>
                <a:ext uri="{FF2B5EF4-FFF2-40B4-BE49-F238E27FC236}">
                  <a16:creationId xmlns:a16="http://schemas.microsoft.com/office/drawing/2014/main" id="{A74907C6-5629-FB2B-1C12-EF9EF6AE4A07}"/>
                </a:ext>
              </a:extLst>
            </p:cNvPr>
            <p:cNvSpPr/>
            <p:nvPr/>
          </p:nvSpPr>
          <p:spPr>
            <a:xfrm>
              <a:off x="5254924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" name="Полілінія: фігура 56">
              <a:extLst>
                <a:ext uri="{FF2B5EF4-FFF2-40B4-BE49-F238E27FC236}">
                  <a16:creationId xmlns:a16="http://schemas.microsoft.com/office/drawing/2014/main" id="{4940DEFB-851E-7035-FA67-60547FCA7573}"/>
                </a:ext>
              </a:extLst>
            </p:cNvPr>
            <p:cNvSpPr/>
            <p:nvPr/>
          </p:nvSpPr>
          <p:spPr>
            <a:xfrm>
              <a:off x="5643113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" name="Полілінія: фігура 57">
              <a:extLst>
                <a:ext uri="{FF2B5EF4-FFF2-40B4-BE49-F238E27FC236}">
                  <a16:creationId xmlns:a16="http://schemas.microsoft.com/office/drawing/2014/main" id="{E694D4CF-A812-2C7A-013A-AACCD9E28F99}"/>
                </a:ext>
              </a:extLst>
            </p:cNvPr>
            <p:cNvSpPr/>
            <p:nvPr/>
          </p:nvSpPr>
          <p:spPr>
            <a:xfrm>
              <a:off x="6031301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" name="Полілінія: фігура 58">
              <a:extLst>
                <a:ext uri="{FF2B5EF4-FFF2-40B4-BE49-F238E27FC236}">
                  <a16:creationId xmlns:a16="http://schemas.microsoft.com/office/drawing/2014/main" id="{889C5B33-9739-6A9C-8396-DB469ADBA5E7}"/>
                </a:ext>
              </a:extLst>
            </p:cNvPr>
            <p:cNvSpPr/>
            <p:nvPr/>
          </p:nvSpPr>
          <p:spPr>
            <a:xfrm>
              <a:off x="6290094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" name="Полілінія: фігура 59">
              <a:extLst>
                <a:ext uri="{FF2B5EF4-FFF2-40B4-BE49-F238E27FC236}">
                  <a16:creationId xmlns:a16="http://schemas.microsoft.com/office/drawing/2014/main" id="{0C168F5D-0382-5C6F-FC08-6511B24FD9C9}"/>
                </a:ext>
              </a:extLst>
            </p:cNvPr>
            <p:cNvSpPr/>
            <p:nvPr/>
          </p:nvSpPr>
          <p:spPr>
            <a:xfrm>
              <a:off x="6419490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" name="Полілінія: фігура 60">
              <a:extLst>
                <a:ext uri="{FF2B5EF4-FFF2-40B4-BE49-F238E27FC236}">
                  <a16:creationId xmlns:a16="http://schemas.microsoft.com/office/drawing/2014/main" id="{9DFBE304-EEE6-FB77-4876-0D579FD3B41F}"/>
                </a:ext>
              </a:extLst>
            </p:cNvPr>
            <p:cNvSpPr/>
            <p:nvPr/>
          </p:nvSpPr>
          <p:spPr>
            <a:xfrm>
              <a:off x="7066471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" name="Полілінія: фігура 61">
              <a:extLst>
                <a:ext uri="{FF2B5EF4-FFF2-40B4-BE49-F238E27FC236}">
                  <a16:creationId xmlns:a16="http://schemas.microsoft.com/office/drawing/2014/main" id="{996BD563-F208-DADD-FCBF-E94AF81B1613}"/>
                </a:ext>
              </a:extLst>
            </p:cNvPr>
            <p:cNvSpPr/>
            <p:nvPr/>
          </p:nvSpPr>
          <p:spPr>
            <a:xfrm>
              <a:off x="7195867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" name="Полілінія: фігура 62">
              <a:extLst>
                <a:ext uri="{FF2B5EF4-FFF2-40B4-BE49-F238E27FC236}">
                  <a16:creationId xmlns:a16="http://schemas.microsoft.com/office/drawing/2014/main" id="{A742A5CD-E52A-75E7-FB54-EF2A8D84CAD0}"/>
                </a:ext>
              </a:extLst>
            </p:cNvPr>
            <p:cNvSpPr/>
            <p:nvPr/>
          </p:nvSpPr>
          <p:spPr>
            <a:xfrm>
              <a:off x="7713452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" name="Полілінія: фігура 63">
              <a:extLst>
                <a:ext uri="{FF2B5EF4-FFF2-40B4-BE49-F238E27FC236}">
                  <a16:creationId xmlns:a16="http://schemas.microsoft.com/office/drawing/2014/main" id="{4855AE31-B01B-B15C-5042-1BF7C39A706C}"/>
                </a:ext>
              </a:extLst>
            </p:cNvPr>
            <p:cNvSpPr/>
            <p:nvPr/>
          </p:nvSpPr>
          <p:spPr>
            <a:xfrm>
              <a:off x="8101641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" name="Полілінія: фігура 64">
              <a:extLst>
                <a:ext uri="{FF2B5EF4-FFF2-40B4-BE49-F238E27FC236}">
                  <a16:creationId xmlns:a16="http://schemas.microsoft.com/office/drawing/2014/main" id="{1C3D20C9-4346-B965-206F-38D59E820883}"/>
                </a:ext>
              </a:extLst>
            </p:cNvPr>
            <p:cNvSpPr/>
            <p:nvPr/>
          </p:nvSpPr>
          <p:spPr>
            <a:xfrm>
              <a:off x="8360433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" name="Полілінія: фігура 65">
              <a:extLst>
                <a:ext uri="{FF2B5EF4-FFF2-40B4-BE49-F238E27FC236}">
                  <a16:creationId xmlns:a16="http://schemas.microsoft.com/office/drawing/2014/main" id="{33E7768A-F6D2-A125-68BD-2C58A1100861}"/>
                </a:ext>
              </a:extLst>
            </p:cNvPr>
            <p:cNvSpPr/>
            <p:nvPr/>
          </p:nvSpPr>
          <p:spPr>
            <a:xfrm>
              <a:off x="8489830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" name="Полілінія: фігура 66">
              <a:extLst>
                <a:ext uri="{FF2B5EF4-FFF2-40B4-BE49-F238E27FC236}">
                  <a16:creationId xmlns:a16="http://schemas.microsoft.com/office/drawing/2014/main" id="{80E5C68A-D8A3-F290-B074-F95ABC4598BD}"/>
                </a:ext>
              </a:extLst>
            </p:cNvPr>
            <p:cNvSpPr/>
            <p:nvPr/>
          </p:nvSpPr>
          <p:spPr>
            <a:xfrm>
              <a:off x="8619226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" name="Полілінія: фігура 67">
              <a:extLst>
                <a:ext uri="{FF2B5EF4-FFF2-40B4-BE49-F238E27FC236}">
                  <a16:creationId xmlns:a16="http://schemas.microsoft.com/office/drawing/2014/main" id="{AC33A64D-4312-2E3A-6ACD-ADAD97BE9594}"/>
                </a:ext>
              </a:extLst>
            </p:cNvPr>
            <p:cNvSpPr/>
            <p:nvPr/>
          </p:nvSpPr>
          <p:spPr>
            <a:xfrm>
              <a:off x="8748622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" name="Полілінія: фігура 68">
              <a:extLst>
                <a:ext uri="{FF2B5EF4-FFF2-40B4-BE49-F238E27FC236}">
                  <a16:creationId xmlns:a16="http://schemas.microsoft.com/office/drawing/2014/main" id="{E53CD1CA-EE04-EC37-200D-F372462CC7F0}"/>
                </a:ext>
              </a:extLst>
            </p:cNvPr>
            <p:cNvSpPr/>
            <p:nvPr/>
          </p:nvSpPr>
          <p:spPr>
            <a:xfrm>
              <a:off x="8878018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" name="Полілінія: фігура 69">
              <a:extLst>
                <a:ext uri="{FF2B5EF4-FFF2-40B4-BE49-F238E27FC236}">
                  <a16:creationId xmlns:a16="http://schemas.microsoft.com/office/drawing/2014/main" id="{9DC309E2-2EA4-205B-B743-27EC1E2EA6A7}"/>
                </a:ext>
              </a:extLst>
            </p:cNvPr>
            <p:cNvSpPr/>
            <p:nvPr/>
          </p:nvSpPr>
          <p:spPr>
            <a:xfrm>
              <a:off x="9007415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" name="Полілінія: фігура 70">
              <a:extLst>
                <a:ext uri="{FF2B5EF4-FFF2-40B4-BE49-F238E27FC236}">
                  <a16:creationId xmlns:a16="http://schemas.microsoft.com/office/drawing/2014/main" id="{CEC40005-A62C-BE9E-969D-0539CE46E188}"/>
                </a:ext>
              </a:extLst>
            </p:cNvPr>
            <p:cNvSpPr/>
            <p:nvPr/>
          </p:nvSpPr>
          <p:spPr>
            <a:xfrm>
              <a:off x="9136811" y="25879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" name="Полілінія: фігура 71">
              <a:extLst>
                <a:ext uri="{FF2B5EF4-FFF2-40B4-BE49-F238E27FC236}">
                  <a16:creationId xmlns:a16="http://schemas.microsoft.com/office/drawing/2014/main" id="{9AB37FB8-DC9F-4A8E-EF9D-2F6F3549D3B9}"/>
                </a:ext>
              </a:extLst>
            </p:cNvPr>
            <p:cNvSpPr/>
            <p:nvPr/>
          </p:nvSpPr>
          <p:spPr>
            <a:xfrm>
              <a:off x="2925792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" name="Полілінія: фігура 72">
              <a:extLst>
                <a:ext uri="{FF2B5EF4-FFF2-40B4-BE49-F238E27FC236}">
                  <a16:creationId xmlns:a16="http://schemas.microsoft.com/office/drawing/2014/main" id="{A0ABDFA3-7502-9547-5FF5-48C5A9A5925F}"/>
                </a:ext>
              </a:extLst>
            </p:cNvPr>
            <p:cNvSpPr/>
            <p:nvPr/>
          </p:nvSpPr>
          <p:spPr>
            <a:xfrm>
              <a:off x="3702169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" name="Полілінія: фігура 73">
              <a:extLst>
                <a:ext uri="{FF2B5EF4-FFF2-40B4-BE49-F238E27FC236}">
                  <a16:creationId xmlns:a16="http://schemas.microsoft.com/office/drawing/2014/main" id="{592B90C2-857F-6BB3-6CF9-9A520E4C7F92}"/>
                </a:ext>
              </a:extLst>
            </p:cNvPr>
            <p:cNvSpPr/>
            <p:nvPr/>
          </p:nvSpPr>
          <p:spPr>
            <a:xfrm>
              <a:off x="3960962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" name="Полілінія: фігура 74">
              <a:extLst>
                <a:ext uri="{FF2B5EF4-FFF2-40B4-BE49-F238E27FC236}">
                  <a16:creationId xmlns:a16="http://schemas.microsoft.com/office/drawing/2014/main" id="{3B7B1646-BED5-E66C-1600-8234B43ED252}"/>
                </a:ext>
              </a:extLst>
            </p:cNvPr>
            <p:cNvSpPr/>
            <p:nvPr/>
          </p:nvSpPr>
          <p:spPr>
            <a:xfrm>
              <a:off x="4090358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" name="Полілінія: фігура 75">
              <a:extLst>
                <a:ext uri="{FF2B5EF4-FFF2-40B4-BE49-F238E27FC236}">
                  <a16:creationId xmlns:a16="http://schemas.microsoft.com/office/drawing/2014/main" id="{C30712E8-B46F-F43C-5D7C-AE82C237E24E}"/>
                </a:ext>
              </a:extLst>
            </p:cNvPr>
            <p:cNvSpPr/>
            <p:nvPr/>
          </p:nvSpPr>
          <p:spPr>
            <a:xfrm>
              <a:off x="4219754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" name="Полілінія: фігура 76">
              <a:extLst>
                <a:ext uri="{FF2B5EF4-FFF2-40B4-BE49-F238E27FC236}">
                  <a16:creationId xmlns:a16="http://schemas.microsoft.com/office/drawing/2014/main" id="{4A97DBE1-F851-E6BC-D330-636C6016576E}"/>
                </a:ext>
              </a:extLst>
            </p:cNvPr>
            <p:cNvSpPr/>
            <p:nvPr/>
          </p:nvSpPr>
          <p:spPr>
            <a:xfrm>
              <a:off x="4478547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" name="Полілінія: фігура 77">
              <a:extLst>
                <a:ext uri="{FF2B5EF4-FFF2-40B4-BE49-F238E27FC236}">
                  <a16:creationId xmlns:a16="http://schemas.microsoft.com/office/drawing/2014/main" id="{DCEC5744-6A32-3901-0BD1-C2E4EF634C56}"/>
                </a:ext>
              </a:extLst>
            </p:cNvPr>
            <p:cNvSpPr/>
            <p:nvPr/>
          </p:nvSpPr>
          <p:spPr>
            <a:xfrm>
              <a:off x="4607943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" name="Полілінія: фігура 78">
              <a:extLst>
                <a:ext uri="{FF2B5EF4-FFF2-40B4-BE49-F238E27FC236}">
                  <a16:creationId xmlns:a16="http://schemas.microsoft.com/office/drawing/2014/main" id="{CEA509D1-47E8-FA66-013C-147524B9B5E9}"/>
                </a:ext>
              </a:extLst>
            </p:cNvPr>
            <p:cNvSpPr/>
            <p:nvPr/>
          </p:nvSpPr>
          <p:spPr>
            <a:xfrm>
              <a:off x="4737339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" name="Полілінія: фігура 79">
              <a:extLst>
                <a:ext uri="{FF2B5EF4-FFF2-40B4-BE49-F238E27FC236}">
                  <a16:creationId xmlns:a16="http://schemas.microsoft.com/office/drawing/2014/main" id="{BFB26FD3-5B2F-6FBC-872C-E4E4BC2A7FB2}"/>
                </a:ext>
              </a:extLst>
            </p:cNvPr>
            <p:cNvSpPr/>
            <p:nvPr/>
          </p:nvSpPr>
          <p:spPr>
            <a:xfrm>
              <a:off x="4996132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" name="Полілінія: фігура 80">
              <a:extLst>
                <a:ext uri="{FF2B5EF4-FFF2-40B4-BE49-F238E27FC236}">
                  <a16:creationId xmlns:a16="http://schemas.microsoft.com/office/drawing/2014/main" id="{28D10A8B-0EE1-EB7E-1E06-67ADCB5EE6F3}"/>
                </a:ext>
              </a:extLst>
            </p:cNvPr>
            <p:cNvSpPr/>
            <p:nvPr/>
          </p:nvSpPr>
          <p:spPr>
            <a:xfrm>
              <a:off x="5384320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" name="Полілінія: фігура 81">
              <a:extLst>
                <a:ext uri="{FF2B5EF4-FFF2-40B4-BE49-F238E27FC236}">
                  <a16:creationId xmlns:a16="http://schemas.microsoft.com/office/drawing/2014/main" id="{7D2411CE-BEA2-E0CE-6851-502A437D0D92}"/>
                </a:ext>
              </a:extLst>
            </p:cNvPr>
            <p:cNvSpPr/>
            <p:nvPr/>
          </p:nvSpPr>
          <p:spPr>
            <a:xfrm>
              <a:off x="5643113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" name="Полілінія: фігура 82">
              <a:extLst>
                <a:ext uri="{FF2B5EF4-FFF2-40B4-BE49-F238E27FC236}">
                  <a16:creationId xmlns:a16="http://schemas.microsoft.com/office/drawing/2014/main" id="{ED214899-3DF1-8BF6-BD77-6432057E675F}"/>
                </a:ext>
              </a:extLst>
            </p:cNvPr>
            <p:cNvSpPr/>
            <p:nvPr/>
          </p:nvSpPr>
          <p:spPr>
            <a:xfrm>
              <a:off x="5901905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" name="Полілінія: фігура 83">
              <a:extLst>
                <a:ext uri="{FF2B5EF4-FFF2-40B4-BE49-F238E27FC236}">
                  <a16:creationId xmlns:a16="http://schemas.microsoft.com/office/drawing/2014/main" id="{B5144917-354D-824F-3F5F-328DA796DD38}"/>
                </a:ext>
              </a:extLst>
            </p:cNvPr>
            <p:cNvSpPr/>
            <p:nvPr/>
          </p:nvSpPr>
          <p:spPr>
            <a:xfrm>
              <a:off x="6160698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" name="Полілінія: фігура 84">
              <a:extLst>
                <a:ext uri="{FF2B5EF4-FFF2-40B4-BE49-F238E27FC236}">
                  <a16:creationId xmlns:a16="http://schemas.microsoft.com/office/drawing/2014/main" id="{7E3DE95D-59B5-FE31-05E7-920676B14EF2}"/>
                </a:ext>
              </a:extLst>
            </p:cNvPr>
            <p:cNvSpPr/>
            <p:nvPr/>
          </p:nvSpPr>
          <p:spPr>
            <a:xfrm>
              <a:off x="6290094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" name="Полілінія: фігура 85">
              <a:extLst>
                <a:ext uri="{FF2B5EF4-FFF2-40B4-BE49-F238E27FC236}">
                  <a16:creationId xmlns:a16="http://schemas.microsoft.com/office/drawing/2014/main" id="{86C42DC9-AC75-7AE9-1AD4-124780A5161E}"/>
                </a:ext>
              </a:extLst>
            </p:cNvPr>
            <p:cNvSpPr/>
            <p:nvPr/>
          </p:nvSpPr>
          <p:spPr>
            <a:xfrm>
              <a:off x="7325264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" name="Полілінія: фігура 86">
              <a:extLst>
                <a:ext uri="{FF2B5EF4-FFF2-40B4-BE49-F238E27FC236}">
                  <a16:creationId xmlns:a16="http://schemas.microsoft.com/office/drawing/2014/main" id="{975CB4A1-6BDE-56B6-13C0-E7CD126B2A55}"/>
                </a:ext>
              </a:extLst>
            </p:cNvPr>
            <p:cNvSpPr/>
            <p:nvPr/>
          </p:nvSpPr>
          <p:spPr>
            <a:xfrm>
              <a:off x="7842849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" name="Полілінія: фігура 87">
              <a:extLst>
                <a:ext uri="{FF2B5EF4-FFF2-40B4-BE49-F238E27FC236}">
                  <a16:creationId xmlns:a16="http://schemas.microsoft.com/office/drawing/2014/main" id="{18993548-38AF-F272-D652-AEC9760C5008}"/>
                </a:ext>
              </a:extLst>
            </p:cNvPr>
            <p:cNvSpPr/>
            <p:nvPr/>
          </p:nvSpPr>
          <p:spPr>
            <a:xfrm>
              <a:off x="7972245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" name="Полілінія: фігура 88">
              <a:extLst>
                <a:ext uri="{FF2B5EF4-FFF2-40B4-BE49-F238E27FC236}">
                  <a16:creationId xmlns:a16="http://schemas.microsoft.com/office/drawing/2014/main" id="{06DC50EE-0F32-2572-10A1-491BC56E83E2}"/>
                </a:ext>
              </a:extLst>
            </p:cNvPr>
            <p:cNvSpPr/>
            <p:nvPr/>
          </p:nvSpPr>
          <p:spPr>
            <a:xfrm>
              <a:off x="8101641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" name="Полілінія: фігура 89">
              <a:extLst>
                <a:ext uri="{FF2B5EF4-FFF2-40B4-BE49-F238E27FC236}">
                  <a16:creationId xmlns:a16="http://schemas.microsoft.com/office/drawing/2014/main" id="{D84DEF50-682D-1BDB-B117-21B62342AB38}"/>
                </a:ext>
              </a:extLst>
            </p:cNvPr>
            <p:cNvSpPr/>
            <p:nvPr/>
          </p:nvSpPr>
          <p:spPr>
            <a:xfrm>
              <a:off x="8360433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" name="Полілінія: фігура 90">
              <a:extLst>
                <a:ext uri="{FF2B5EF4-FFF2-40B4-BE49-F238E27FC236}">
                  <a16:creationId xmlns:a16="http://schemas.microsoft.com/office/drawing/2014/main" id="{9FC5A67F-35FB-77B0-EDBC-CF1A8426EC77}"/>
                </a:ext>
              </a:extLst>
            </p:cNvPr>
            <p:cNvSpPr/>
            <p:nvPr/>
          </p:nvSpPr>
          <p:spPr>
            <a:xfrm>
              <a:off x="9136811" y="38818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" name="Полілінія: фігура 91">
              <a:extLst>
                <a:ext uri="{FF2B5EF4-FFF2-40B4-BE49-F238E27FC236}">
                  <a16:creationId xmlns:a16="http://schemas.microsoft.com/office/drawing/2014/main" id="{799CB493-34A7-05FA-D7AE-BBF626C8510B}"/>
                </a:ext>
              </a:extLst>
            </p:cNvPr>
            <p:cNvSpPr/>
            <p:nvPr/>
          </p:nvSpPr>
          <p:spPr>
            <a:xfrm>
              <a:off x="2925792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" name="Полілінія: фігура 92">
              <a:extLst>
                <a:ext uri="{FF2B5EF4-FFF2-40B4-BE49-F238E27FC236}">
                  <a16:creationId xmlns:a16="http://schemas.microsoft.com/office/drawing/2014/main" id="{76420B41-29A9-B3E3-300F-1CCCBF0399E6}"/>
                </a:ext>
              </a:extLst>
            </p:cNvPr>
            <p:cNvSpPr/>
            <p:nvPr/>
          </p:nvSpPr>
          <p:spPr>
            <a:xfrm>
              <a:off x="3184584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" name="Полілінія: фігура 93">
              <a:extLst>
                <a:ext uri="{FF2B5EF4-FFF2-40B4-BE49-F238E27FC236}">
                  <a16:creationId xmlns:a16="http://schemas.microsoft.com/office/drawing/2014/main" id="{E131C478-71E7-B6BC-7F53-47CBF9AF0BC9}"/>
                </a:ext>
              </a:extLst>
            </p:cNvPr>
            <p:cNvSpPr/>
            <p:nvPr/>
          </p:nvSpPr>
          <p:spPr>
            <a:xfrm>
              <a:off x="3313981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" name="Полілінія: фігура 94">
              <a:extLst>
                <a:ext uri="{FF2B5EF4-FFF2-40B4-BE49-F238E27FC236}">
                  <a16:creationId xmlns:a16="http://schemas.microsoft.com/office/drawing/2014/main" id="{2B949516-A721-3F39-2DBC-A9F46379A357}"/>
                </a:ext>
              </a:extLst>
            </p:cNvPr>
            <p:cNvSpPr/>
            <p:nvPr/>
          </p:nvSpPr>
          <p:spPr>
            <a:xfrm>
              <a:off x="3443377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" name="Полілінія: фігура 95">
              <a:extLst>
                <a:ext uri="{FF2B5EF4-FFF2-40B4-BE49-F238E27FC236}">
                  <a16:creationId xmlns:a16="http://schemas.microsoft.com/office/drawing/2014/main" id="{A03B8716-1268-F102-0116-C71B839F0833}"/>
                </a:ext>
              </a:extLst>
            </p:cNvPr>
            <p:cNvSpPr/>
            <p:nvPr/>
          </p:nvSpPr>
          <p:spPr>
            <a:xfrm>
              <a:off x="3702169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" name="Полілінія: фігура 96">
              <a:extLst>
                <a:ext uri="{FF2B5EF4-FFF2-40B4-BE49-F238E27FC236}">
                  <a16:creationId xmlns:a16="http://schemas.microsoft.com/office/drawing/2014/main" id="{06A8C483-991F-D492-4A19-42D4112CDBE6}"/>
                </a:ext>
              </a:extLst>
            </p:cNvPr>
            <p:cNvSpPr/>
            <p:nvPr/>
          </p:nvSpPr>
          <p:spPr>
            <a:xfrm>
              <a:off x="4090358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" name="Полілінія: фігура 97">
              <a:extLst>
                <a:ext uri="{FF2B5EF4-FFF2-40B4-BE49-F238E27FC236}">
                  <a16:creationId xmlns:a16="http://schemas.microsoft.com/office/drawing/2014/main" id="{E99D4A91-9EA8-5342-8202-7925C2B22B87}"/>
                </a:ext>
              </a:extLst>
            </p:cNvPr>
            <p:cNvSpPr/>
            <p:nvPr/>
          </p:nvSpPr>
          <p:spPr>
            <a:xfrm>
              <a:off x="4478547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" name="Полілінія: фігура 98">
              <a:extLst>
                <a:ext uri="{FF2B5EF4-FFF2-40B4-BE49-F238E27FC236}">
                  <a16:creationId xmlns:a16="http://schemas.microsoft.com/office/drawing/2014/main" id="{F337A94A-9E91-D089-B751-C1FA1819E18A}"/>
                </a:ext>
              </a:extLst>
            </p:cNvPr>
            <p:cNvSpPr/>
            <p:nvPr/>
          </p:nvSpPr>
          <p:spPr>
            <a:xfrm>
              <a:off x="4607943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" name="Полілінія: фігура 99">
              <a:extLst>
                <a:ext uri="{FF2B5EF4-FFF2-40B4-BE49-F238E27FC236}">
                  <a16:creationId xmlns:a16="http://schemas.microsoft.com/office/drawing/2014/main" id="{92064DC5-E375-8627-75FE-38769EBAA120}"/>
                </a:ext>
              </a:extLst>
            </p:cNvPr>
            <p:cNvSpPr/>
            <p:nvPr/>
          </p:nvSpPr>
          <p:spPr>
            <a:xfrm>
              <a:off x="4996132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" name="Полілінія: фігура 100">
              <a:extLst>
                <a:ext uri="{FF2B5EF4-FFF2-40B4-BE49-F238E27FC236}">
                  <a16:creationId xmlns:a16="http://schemas.microsoft.com/office/drawing/2014/main" id="{4CD86B3E-8209-85FE-EC37-7EEEEA4E9CE6}"/>
                </a:ext>
              </a:extLst>
            </p:cNvPr>
            <p:cNvSpPr/>
            <p:nvPr/>
          </p:nvSpPr>
          <p:spPr>
            <a:xfrm>
              <a:off x="5125528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" name="Полілінія: фігура 101">
              <a:extLst>
                <a:ext uri="{FF2B5EF4-FFF2-40B4-BE49-F238E27FC236}">
                  <a16:creationId xmlns:a16="http://schemas.microsoft.com/office/drawing/2014/main" id="{18083139-AF37-EA7E-D50E-50FD01D78134}"/>
                </a:ext>
              </a:extLst>
            </p:cNvPr>
            <p:cNvSpPr/>
            <p:nvPr/>
          </p:nvSpPr>
          <p:spPr>
            <a:xfrm>
              <a:off x="5513716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" name="Полілінія: фігура 102">
              <a:extLst>
                <a:ext uri="{FF2B5EF4-FFF2-40B4-BE49-F238E27FC236}">
                  <a16:creationId xmlns:a16="http://schemas.microsoft.com/office/drawing/2014/main" id="{711E49A7-9FAE-0CB2-640B-3FAD45D07904}"/>
                </a:ext>
              </a:extLst>
            </p:cNvPr>
            <p:cNvSpPr/>
            <p:nvPr/>
          </p:nvSpPr>
          <p:spPr>
            <a:xfrm>
              <a:off x="5772509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" name="Полілінія: фігура 103">
              <a:extLst>
                <a:ext uri="{FF2B5EF4-FFF2-40B4-BE49-F238E27FC236}">
                  <a16:creationId xmlns:a16="http://schemas.microsoft.com/office/drawing/2014/main" id="{EF4162E0-3CFC-EB69-3D39-195CC1A7AA3B}"/>
                </a:ext>
              </a:extLst>
            </p:cNvPr>
            <p:cNvSpPr/>
            <p:nvPr/>
          </p:nvSpPr>
          <p:spPr>
            <a:xfrm>
              <a:off x="5901905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" name="Полілінія: фігура 104">
              <a:extLst>
                <a:ext uri="{FF2B5EF4-FFF2-40B4-BE49-F238E27FC236}">
                  <a16:creationId xmlns:a16="http://schemas.microsoft.com/office/drawing/2014/main" id="{7E789016-F56C-FB18-3C27-6934A828F171}"/>
                </a:ext>
              </a:extLst>
            </p:cNvPr>
            <p:cNvSpPr/>
            <p:nvPr/>
          </p:nvSpPr>
          <p:spPr>
            <a:xfrm>
              <a:off x="6419490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" name="Полілінія: фігура 105">
              <a:extLst>
                <a:ext uri="{FF2B5EF4-FFF2-40B4-BE49-F238E27FC236}">
                  <a16:creationId xmlns:a16="http://schemas.microsoft.com/office/drawing/2014/main" id="{B5AC8771-2FA1-B038-CC71-4DDE1023CFFF}"/>
                </a:ext>
              </a:extLst>
            </p:cNvPr>
            <p:cNvSpPr/>
            <p:nvPr/>
          </p:nvSpPr>
          <p:spPr>
            <a:xfrm>
              <a:off x="6807679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" name="Полілінія: фігура 106">
              <a:extLst>
                <a:ext uri="{FF2B5EF4-FFF2-40B4-BE49-F238E27FC236}">
                  <a16:creationId xmlns:a16="http://schemas.microsoft.com/office/drawing/2014/main" id="{25A39B12-04D8-CF86-BF2E-B24C74E1E6F2}"/>
                </a:ext>
              </a:extLst>
            </p:cNvPr>
            <p:cNvSpPr/>
            <p:nvPr/>
          </p:nvSpPr>
          <p:spPr>
            <a:xfrm>
              <a:off x="6937075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" name="Полілінія: фігура 107">
              <a:extLst>
                <a:ext uri="{FF2B5EF4-FFF2-40B4-BE49-F238E27FC236}">
                  <a16:creationId xmlns:a16="http://schemas.microsoft.com/office/drawing/2014/main" id="{CD90D604-E7EB-F062-19BF-C5FBCB701205}"/>
                </a:ext>
              </a:extLst>
            </p:cNvPr>
            <p:cNvSpPr/>
            <p:nvPr/>
          </p:nvSpPr>
          <p:spPr>
            <a:xfrm>
              <a:off x="7195867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" name="Полілінія: фігура 108">
              <a:extLst>
                <a:ext uri="{FF2B5EF4-FFF2-40B4-BE49-F238E27FC236}">
                  <a16:creationId xmlns:a16="http://schemas.microsoft.com/office/drawing/2014/main" id="{6CEF5016-66F0-4825-AB7A-91A1A4D4E84A}"/>
                </a:ext>
              </a:extLst>
            </p:cNvPr>
            <p:cNvSpPr/>
            <p:nvPr/>
          </p:nvSpPr>
          <p:spPr>
            <a:xfrm>
              <a:off x="7325264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" name="Полілінія: фігура 109">
              <a:extLst>
                <a:ext uri="{FF2B5EF4-FFF2-40B4-BE49-F238E27FC236}">
                  <a16:creationId xmlns:a16="http://schemas.microsoft.com/office/drawing/2014/main" id="{34DC36A6-9C83-3801-59A7-164E3A67FD47}"/>
                </a:ext>
              </a:extLst>
            </p:cNvPr>
            <p:cNvSpPr/>
            <p:nvPr/>
          </p:nvSpPr>
          <p:spPr>
            <a:xfrm>
              <a:off x="7713452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" name="Полілінія: фігура 110">
              <a:extLst>
                <a:ext uri="{FF2B5EF4-FFF2-40B4-BE49-F238E27FC236}">
                  <a16:creationId xmlns:a16="http://schemas.microsoft.com/office/drawing/2014/main" id="{75CC14C2-E3F7-1D0E-DD6E-94A5D3DAE74B}"/>
                </a:ext>
              </a:extLst>
            </p:cNvPr>
            <p:cNvSpPr/>
            <p:nvPr/>
          </p:nvSpPr>
          <p:spPr>
            <a:xfrm>
              <a:off x="7972245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" name="Полілінія: фігура 111">
              <a:extLst>
                <a:ext uri="{FF2B5EF4-FFF2-40B4-BE49-F238E27FC236}">
                  <a16:creationId xmlns:a16="http://schemas.microsoft.com/office/drawing/2014/main" id="{8AEF6D9E-E09D-F11E-DBC0-FE53DB538F00}"/>
                </a:ext>
              </a:extLst>
            </p:cNvPr>
            <p:cNvSpPr/>
            <p:nvPr/>
          </p:nvSpPr>
          <p:spPr>
            <a:xfrm>
              <a:off x="8101641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" name="Полілінія: фігура 112">
              <a:extLst>
                <a:ext uri="{FF2B5EF4-FFF2-40B4-BE49-F238E27FC236}">
                  <a16:creationId xmlns:a16="http://schemas.microsoft.com/office/drawing/2014/main" id="{77713A3A-636D-D47F-5E0B-F019BA5FABFE}"/>
                </a:ext>
              </a:extLst>
            </p:cNvPr>
            <p:cNvSpPr/>
            <p:nvPr/>
          </p:nvSpPr>
          <p:spPr>
            <a:xfrm>
              <a:off x="8360433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" name="Полілінія: фігура 113">
              <a:extLst>
                <a:ext uri="{FF2B5EF4-FFF2-40B4-BE49-F238E27FC236}">
                  <a16:creationId xmlns:a16="http://schemas.microsoft.com/office/drawing/2014/main" id="{00409D39-A0C9-A27F-C928-A6E829A7D40F}"/>
                </a:ext>
              </a:extLst>
            </p:cNvPr>
            <p:cNvSpPr/>
            <p:nvPr/>
          </p:nvSpPr>
          <p:spPr>
            <a:xfrm>
              <a:off x="8619226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" name="Полілінія: фігура 114">
              <a:extLst>
                <a:ext uri="{FF2B5EF4-FFF2-40B4-BE49-F238E27FC236}">
                  <a16:creationId xmlns:a16="http://schemas.microsoft.com/office/drawing/2014/main" id="{ED6ABE13-C519-CA42-4EAB-B93145916565}"/>
                </a:ext>
              </a:extLst>
            </p:cNvPr>
            <p:cNvSpPr/>
            <p:nvPr/>
          </p:nvSpPr>
          <p:spPr>
            <a:xfrm>
              <a:off x="8748622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" name="Полілінія: фігура 115">
              <a:extLst>
                <a:ext uri="{FF2B5EF4-FFF2-40B4-BE49-F238E27FC236}">
                  <a16:creationId xmlns:a16="http://schemas.microsoft.com/office/drawing/2014/main" id="{5D4CF3DB-78FE-2E5E-96B6-7AEE614AE608}"/>
                </a:ext>
              </a:extLst>
            </p:cNvPr>
            <p:cNvSpPr/>
            <p:nvPr/>
          </p:nvSpPr>
          <p:spPr>
            <a:xfrm>
              <a:off x="8878018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" name="Полілінія: фігура 116">
              <a:extLst>
                <a:ext uri="{FF2B5EF4-FFF2-40B4-BE49-F238E27FC236}">
                  <a16:creationId xmlns:a16="http://schemas.microsoft.com/office/drawing/2014/main" id="{184A854C-A2C5-2BE5-E1FE-41745C46E3A8}"/>
                </a:ext>
              </a:extLst>
            </p:cNvPr>
            <p:cNvSpPr/>
            <p:nvPr/>
          </p:nvSpPr>
          <p:spPr>
            <a:xfrm>
              <a:off x="9136811" y="51758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" name="Полілінія: фігура 117">
              <a:extLst>
                <a:ext uri="{FF2B5EF4-FFF2-40B4-BE49-F238E27FC236}">
                  <a16:creationId xmlns:a16="http://schemas.microsoft.com/office/drawing/2014/main" id="{16D881E2-5788-C5C9-47D6-5B1932A5D821}"/>
                </a:ext>
              </a:extLst>
            </p:cNvPr>
            <p:cNvSpPr/>
            <p:nvPr/>
          </p:nvSpPr>
          <p:spPr>
            <a:xfrm>
              <a:off x="2925792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" name="Полілінія: фігура 118">
              <a:extLst>
                <a:ext uri="{FF2B5EF4-FFF2-40B4-BE49-F238E27FC236}">
                  <a16:creationId xmlns:a16="http://schemas.microsoft.com/office/drawing/2014/main" id="{EEEA9C70-C454-7D28-950B-663E216E6F56}"/>
                </a:ext>
              </a:extLst>
            </p:cNvPr>
            <p:cNvSpPr/>
            <p:nvPr/>
          </p:nvSpPr>
          <p:spPr>
            <a:xfrm>
              <a:off x="3184584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" name="Полілінія: фігура 119">
              <a:extLst>
                <a:ext uri="{FF2B5EF4-FFF2-40B4-BE49-F238E27FC236}">
                  <a16:creationId xmlns:a16="http://schemas.microsoft.com/office/drawing/2014/main" id="{F3ECB285-FD6D-2DFA-4D26-DA45388D3D8D}"/>
                </a:ext>
              </a:extLst>
            </p:cNvPr>
            <p:cNvSpPr/>
            <p:nvPr/>
          </p:nvSpPr>
          <p:spPr>
            <a:xfrm>
              <a:off x="3313981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" name="Полілінія: фігура 120">
              <a:extLst>
                <a:ext uri="{FF2B5EF4-FFF2-40B4-BE49-F238E27FC236}">
                  <a16:creationId xmlns:a16="http://schemas.microsoft.com/office/drawing/2014/main" id="{CCFDBEA5-DE7E-BE9F-9494-01E96236C716}"/>
                </a:ext>
              </a:extLst>
            </p:cNvPr>
            <p:cNvSpPr/>
            <p:nvPr/>
          </p:nvSpPr>
          <p:spPr>
            <a:xfrm>
              <a:off x="3443377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" name="Полілінія: фігура 121">
              <a:extLst>
                <a:ext uri="{FF2B5EF4-FFF2-40B4-BE49-F238E27FC236}">
                  <a16:creationId xmlns:a16="http://schemas.microsoft.com/office/drawing/2014/main" id="{007A97C7-3463-789B-F3F8-D4EA227476F9}"/>
                </a:ext>
              </a:extLst>
            </p:cNvPr>
            <p:cNvSpPr/>
            <p:nvPr/>
          </p:nvSpPr>
          <p:spPr>
            <a:xfrm>
              <a:off x="3702169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" name="Полілінія: фігура 122">
              <a:extLst>
                <a:ext uri="{FF2B5EF4-FFF2-40B4-BE49-F238E27FC236}">
                  <a16:creationId xmlns:a16="http://schemas.microsoft.com/office/drawing/2014/main" id="{096486C1-EA44-B108-1C82-CEEAB8660D47}"/>
                </a:ext>
              </a:extLst>
            </p:cNvPr>
            <p:cNvSpPr/>
            <p:nvPr/>
          </p:nvSpPr>
          <p:spPr>
            <a:xfrm>
              <a:off x="3960962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4" name="Полілінія: фігура 123">
              <a:extLst>
                <a:ext uri="{FF2B5EF4-FFF2-40B4-BE49-F238E27FC236}">
                  <a16:creationId xmlns:a16="http://schemas.microsoft.com/office/drawing/2014/main" id="{92262DBF-41AA-3287-0588-C8801A2B2778}"/>
                </a:ext>
              </a:extLst>
            </p:cNvPr>
            <p:cNvSpPr/>
            <p:nvPr/>
          </p:nvSpPr>
          <p:spPr>
            <a:xfrm>
              <a:off x="4090358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5" name="Полілінія: фігура 124">
              <a:extLst>
                <a:ext uri="{FF2B5EF4-FFF2-40B4-BE49-F238E27FC236}">
                  <a16:creationId xmlns:a16="http://schemas.microsoft.com/office/drawing/2014/main" id="{F1FC1A74-D683-B38E-9D03-25ABA52F024B}"/>
                </a:ext>
              </a:extLst>
            </p:cNvPr>
            <p:cNvSpPr/>
            <p:nvPr/>
          </p:nvSpPr>
          <p:spPr>
            <a:xfrm>
              <a:off x="4219754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6" name="Полілінія: фігура 125">
              <a:extLst>
                <a:ext uri="{FF2B5EF4-FFF2-40B4-BE49-F238E27FC236}">
                  <a16:creationId xmlns:a16="http://schemas.microsoft.com/office/drawing/2014/main" id="{F00134ED-2CCF-DA73-7685-46093943BB4B}"/>
                </a:ext>
              </a:extLst>
            </p:cNvPr>
            <p:cNvSpPr/>
            <p:nvPr/>
          </p:nvSpPr>
          <p:spPr>
            <a:xfrm>
              <a:off x="4478547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7" name="Полілінія: фігура 126">
              <a:extLst>
                <a:ext uri="{FF2B5EF4-FFF2-40B4-BE49-F238E27FC236}">
                  <a16:creationId xmlns:a16="http://schemas.microsoft.com/office/drawing/2014/main" id="{07C29C05-8316-A163-DF30-62CF38BE769C}"/>
                </a:ext>
              </a:extLst>
            </p:cNvPr>
            <p:cNvSpPr/>
            <p:nvPr/>
          </p:nvSpPr>
          <p:spPr>
            <a:xfrm>
              <a:off x="4607943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8" name="Полілінія: фігура 127">
              <a:extLst>
                <a:ext uri="{FF2B5EF4-FFF2-40B4-BE49-F238E27FC236}">
                  <a16:creationId xmlns:a16="http://schemas.microsoft.com/office/drawing/2014/main" id="{67198D5C-B17C-5A78-BF82-FC7F6DE714C2}"/>
                </a:ext>
              </a:extLst>
            </p:cNvPr>
            <p:cNvSpPr/>
            <p:nvPr/>
          </p:nvSpPr>
          <p:spPr>
            <a:xfrm>
              <a:off x="4866735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9" name="Полілінія: фігура 128">
              <a:extLst>
                <a:ext uri="{FF2B5EF4-FFF2-40B4-BE49-F238E27FC236}">
                  <a16:creationId xmlns:a16="http://schemas.microsoft.com/office/drawing/2014/main" id="{2A53A1FE-CA09-F9DE-9109-E3DD1F331F10}"/>
                </a:ext>
              </a:extLst>
            </p:cNvPr>
            <p:cNvSpPr/>
            <p:nvPr/>
          </p:nvSpPr>
          <p:spPr>
            <a:xfrm>
              <a:off x="5125528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0" name="Полілінія: фігура 129">
              <a:extLst>
                <a:ext uri="{FF2B5EF4-FFF2-40B4-BE49-F238E27FC236}">
                  <a16:creationId xmlns:a16="http://schemas.microsoft.com/office/drawing/2014/main" id="{027850DE-DFE3-3859-5DD9-204D8696A930}"/>
                </a:ext>
              </a:extLst>
            </p:cNvPr>
            <p:cNvSpPr/>
            <p:nvPr/>
          </p:nvSpPr>
          <p:spPr>
            <a:xfrm>
              <a:off x="5254924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1" name="Полілінія: фігура 130">
              <a:extLst>
                <a:ext uri="{FF2B5EF4-FFF2-40B4-BE49-F238E27FC236}">
                  <a16:creationId xmlns:a16="http://schemas.microsoft.com/office/drawing/2014/main" id="{04323C19-6F1C-D8FB-57FB-EC2321F406FB}"/>
                </a:ext>
              </a:extLst>
            </p:cNvPr>
            <p:cNvSpPr/>
            <p:nvPr/>
          </p:nvSpPr>
          <p:spPr>
            <a:xfrm>
              <a:off x="5384320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2" name="Полілінія: фігура 131">
              <a:extLst>
                <a:ext uri="{FF2B5EF4-FFF2-40B4-BE49-F238E27FC236}">
                  <a16:creationId xmlns:a16="http://schemas.microsoft.com/office/drawing/2014/main" id="{AE07B742-EC06-48F7-E07E-8E1C69CA2F10}"/>
                </a:ext>
              </a:extLst>
            </p:cNvPr>
            <p:cNvSpPr/>
            <p:nvPr/>
          </p:nvSpPr>
          <p:spPr>
            <a:xfrm>
              <a:off x="6031301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3" name="Полілінія: фігура 132">
              <a:extLst>
                <a:ext uri="{FF2B5EF4-FFF2-40B4-BE49-F238E27FC236}">
                  <a16:creationId xmlns:a16="http://schemas.microsoft.com/office/drawing/2014/main" id="{91B478B2-4912-DC9F-B547-D5E7631147E4}"/>
                </a:ext>
              </a:extLst>
            </p:cNvPr>
            <p:cNvSpPr/>
            <p:nvPr/>
          </p:nvSpPr>
          <p:spPr>
            <a:xfrm>
              <a:off x="6419490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4" name="Полілінія: фігура 133">
              <a:extLst>
                <a:ext uri="{FF2B5EF4-FFF2-40B4-BE49-F238E27FC236}">
                  <a16:creationId xmlns:a16="http://schemas.microsoft.com/office/drawing/2014/main" id="{7AF97B34-B1B1-6D3A-1DC2-33D909ACC934}"/>
                </a:ext>
              </a:extLst>
            </p:cNvPr>
            <p:cNvSpPr/>
            <p:nvPr/>
          </p:nvSpPr>
          <p:spPr>
            <a:xfrm>
              <a:off x="6548886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5" name="Полілінія: фігура 134">
              <a:extLst>
                <a:ext uri="{FF2B5EF4-FFF2-40B4-BE49-F238E27FC236}">
                  <a16:creationId xmlns:a16="http://schemas.microsoft.com/office/drawing/2014/main" id="{ADDEA8E5-535F-8E80-0FCD-BE7B1C9421FF}"/>
                </a:ext>
              </a:extLst>
            </p:cNvPr>
            <p:cNvSpPr/>
            <p:nvPr/>
          </p:nvSpPr>
          <p:spPr>
            <a:xfrm>
              <a:off x="6678283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6" name="Полілінія: фігура 135">
              <a:extLst>
                <a:ext uri="{FF2B5EF4-FFF2-40B4-BE49-F238E27FC236}">
                  <a16:creationId xmlns:a16="http://schemas.microsoft.com/office/drawing/2014/main" id="{08191DBF-279B-CA5A-D946-550A77DD792F}"/>
                </a:ext>
              </a:extLst>
            </p:cNvPr>
            <p:cNvSpPr/>
            <p:nvPr/>
          </p:nvSpPr>
          <p:spPr>
            <a:xfrm>
              <a:off x="6937075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7" name="Полілінія: фігура 136">
              <a:extLst>
                <a:ext uri="{FF2B5EF4-FFF2-40B4-BE49-F238E27FC236}">
                  <a16:creationId xmlns:a16="http://schemas.microsoft.com/office/drawing/2014/main" id="{2B725D1A-AF4C-995C-85F6-9A07852EA524}"/>
                </a:ext>
              </a:extLst>
            </p:cNvPr>
            <p:cNvSpPr/>
            <p:nvPr/>
          </p:nvSpPr>
          <p:spPr>
            <a:xfrm>
              <a:off x="7066471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8" name="Полілінія: фігура 137">
              <a:extLst>
                <a:ext uri="{FF2B5EF4-FFF2-40B4-BE49-F238E27FC236}">
                  <a16:creationId xmlns:a16="http://schemas.microsoft.com/office/drawing/2014/main" id="{6C474363-F050-41A6-BE1C-45CEA2A9E28F}"/>
                </a:ext>
              </a:extLst>
            </p:cNvPr>
            <p:cNvSpPr/>
            <p:nvPr/>
          </p:nvSpPr>
          <p:spPr>
            <a:xfrm>
              <a:off x="7325264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9" name="Полілінія: фігура 138">
              <a:extLst>
                <a:ext uri="{FF2B5EF4-FFF2-40B4-BE49-F238E27FC236}">
                  <a16:creationId xmlns:a16="http://schemas.microsoft.com/office/drawing/2014/main" id="{238F6F55-9C79-3E3A-8B31-65F281815144}"/>
                </a:ext>
              </a:extLst>
            </p:cNvPr>
            <p:cNvSpPr/>
            <p:nvPr/>
          </p:nvSpPr>
          <p:spPr>
            <a:xfrm>
              <a:off x="7972245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0" name="Полілінія: фігура 139">
              <a:extLst>
                <a:ext uri="{FF2B5EF4-FFF2-40B4-BE49-F238E27FC236}">
                  <a16:creationId xmlns:a16="http://schemas.microsoft.com/office/drawing/2014/main" id="{0708E338-A97A-7A5B-5226-FA4034C8EA31}"/>
                </a:ext>
              </a:extLst>
            </p:cNvPr>
            <p:cNvSpPr/>
            <p:nvPr/>
          </p:nvSpPr>
          <p:spPr>
            <a:xfrm>
              <a:off x="8360433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1" name="Полілінія: фігура 140">
              <a:extLst>
                <a:ext uri="{FF2B5EF4-FFF2-40B4-BE49-F238E27FC236}">
                  <a16:creationId xmlns:a16="http://schemas.microsoft.com/office/drawing/2014/main" id="{0A4C7487-1651-0D16-C559-F3D684E9E342}"/>
                </a:ext>
              </a:extLst>
            </p:cNvPr>
            <p:cNvSpPr/>
            <p:nvPr/>
          </p:nvSpPr>
          <p:spPr>
            <a:xfrm>
              <a:off x="8619226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2" name="Полілінія: фігура 141">
              <a:extLst>
                <a:ext uri="{FF2B5EF4-FFF2-40B4-BE49-F238E27FC236}">
                  <a16:creationId xmlns:a16="http://schemas.microsoft.com/office/drawing/2014/main" id="{DD33CFBB-F62A-C8AE-1CE4-007AB5343971}"/>
                </a:ext>
              </a:extLst>
            </p:cNvPr>
            <p:cNvSpPr/>
            <p:nvPr/>
          </p:nvSpPr>
          <p:spPr>
            <a:xfrm>
              <a:off x="8748622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3" name="Полілінія: фігура 142">
              <a:extLst>
                <a:ext uri="{FF2B5EF4-FFF2-40B4-BE49-F238E27FC236}">
                  <a16:creationId xmlns:a16="http://schemas.microsoft.com/office/drawing/2014/main" id="{732123C0-4206-CF2D-0A2D-78DCB68F6C4F}"/>
                </a:ext>
              </a:extLst>
            </p:cNvPr>
            <p:cNvSpPr/>
            <p:nvPr/>
          </p:nvSpPr>
          <p:spPr>
            <a:xfrm>
              <a:off x="8878018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4" name="Полілінія: фігура 143">
              <a:extLst>
                <a:ext uri="{FF2B5EF4-FFF2-40B4-BE49-F238E27FC236}">
                  <a16:creationId xmlns:a16="http://schemas.microsoft.com/office/drawing/2014/main" id="{8C9F384D-473E-A130-E848-FDCA725AB9E4}"/>
                </a:ext>
              </a:extLst>
            </p:cNvPr>
            <p:cNvSpPr/>
            <p:nvPr/>
          </p:nvSpPr>
          <p:spPr>
            <a:xfrm>
              <a:off x="9136811" y="64698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5" name="Полілінія: фігура 144">
              <a:extLst>
                <a:ext uri="{FF2B5EF4-FFF2-40B4-BE49-F238E27FC236}">
                  <a16:creationId xmlns:a16="http://schemas.microsoft.com/office/drawing/2014/main" id="{832CB01C-1D0A-DD12-FC60-FC9191517FA1}"/>
                </a:ext>
              </a:extLst>
            </p:cNvPr>
            <p:cNvSpPr/>
            <p:nvPr/>
          </p:nvSpPr>
          <p:spPr>
            <a:xfrm>
              <a:off x="2925792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6" name="Полілінія: фігура 145">
              <a:extLst>
                <a:ext uri="{FF2B5EF4-FFF2-40B4-BE49-F238E27FC236}">
                  <a16:creationId xmlns:a16="http://schemas.microsoft.com/office/drawing/2014/main" id="{0EBB1B9E-476B-4D39-8D29-BCA43663AA61}"/>
                </a:ext>
              </a:extLst>
            </p:cNvPr>
            <p:cNvSpPr/>
            <p:nvPr/>
          </p:nvSpPr>
          <p:spPr>
            <a:xfrm>
              <a:off x="3184584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7" name="Полілінія: фігура 146">
              <a:extLst>
                <a:ext uri="{FF2B5EF4-FFF2-40B4-BE49-F238E27FC236}">
                  <a16:creationId xmlns:a16="http://schemas.microsoft.com/office/drawing/2014/main" id="{5B1EAD8A-25DE-3848-CA01-0D873669191B}"/>
                </a:ext>
              </a:extLst>
            </p:cNvPr>
            <p:cNvSpPr/>
            <p:nvPr/>
          </p:nvSpPr>
          <p:spPr>
            <a:xfrm>
              <a:off x="3313981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8" name="Полілінія: фігура 147">
              <a:extLst>
                <a:ext uri="{FF2B5EF4-FFF2-40B4-BE49-F238E27FC236}">
                  <a16:creationId xmlns:a16="http://schemas.microsoft.com/office/drawing/2014/main" id="{A15B643F-4F4C-44CC-C061-28F739F93E45}"/>
                </a:ext>
              </a:extLst>
            </p:cNvPr>
            <p:cNvSpPr/>
            <p:nvPr/>
          </p:nvSpPr>
          <p:spPr>
            <a:xfrm>
              <a:off x="3443377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49" name="Полілінія: фігура 148">
              <a:extLst>
                <a:ext uri="{FF2B5EF4-FFF2-40B4-BE49-F238E27FC236}">
                  <a16:creationId xmlns:a16="http://schemas.microsoft.com/office/drawing/2014/main" id="{5F1C16EC-A938-3C8B-7F7B-050C78DC2319}"/>
                </a:ext>
              </a:extLst>
            </p:cNvPr>
            <p:cNvSpPr/>
            <p:nvPr/>
          </p:nvSpPr>
          <p:spPr>
            <a:xfrm>
              <a:off x="3702169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0" name="Полілінія: фігура 149">
              <a:extLst>
                <a:ext uri="{FF2B5EF4-FFF2-40B4-BE49-F238E27FC236}">
                  <a16:creationId xmlns:a16="http://schemas.microsoft.com/office/drawing/2014/main" id="{4C6C9739-0DF2-B054-2220-8D17C0604BB1}"/>
                </a:ext>
              </a:extLst>
            </p:cNvPr>
            <p:cNvSpPr/>
            <p:nvPr/>
          </p:nvSpPr>
          <p:spPr>
            <a:xfrm>
              <a:off x="3960962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1" name="Полілінія: фігура 150">
              <a:extLst>
                <a:ext uri="{FF2B5EF4-FFF2-40B4-BE49-F238E27FC236}">
                  <a16:creationId xmlns:a16="http://schemas.microsoft.com/office/drawing/2014/main" id="{1B99FA79-F74F-CDAE-FF46-B244FF275D73}"/>
                </a:ext>
              </a:extLst>
            </p:cNvPr>
            <p:cNvSpPr/>
            <p:nvPr/>
          </p:nvSpPr>
          <p:spPr>
            <a:xfrm>
              <a:off x="4478547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2" name="Полілінія: фігура 151">
              <a:extLst>
                <a:ext uri="{FF2B5EF4-FFF2-40B4-BE49-F238E27FC236}">
                  <a16:creationId xmlns:a16="http://schemas.microsoft.com/office/drawing/2014/main" id="{EA42E055-9943-7B39-450A-E2F39CF0674C}"/>
                </a:ext>
              </a:extLst>
            </p:cNvPr>
            <p:cNvSpPr/>
            <p:nvPr/>
          </p:nvSpPr>
          <p:spPr>
            <a:xfrm>
              <a:off x="4737339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3" name="Полілінія: фігура 152">
              <a:extLst>
                <a:ext uri="{FF2B5EF4-FFF2-40B4-BE49-F238E27FC236}">
                  <a16:creationId xmlns:a16="http://schemas.microsoft.com/office/drawing/2014/main" id="{1280E7A4-4AA6-061A-3A0B-28246EFEA229}"/>
                </a:ext>
              </a:extLst>
            </p:cNvPr>
            <p:cNvSpPr/>
            <p:nvPr/>
          </p:nvSpPr>
          <p:spPr>
            <a:xfrm>
              <a:off x="4866735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4" name="Полілінія: фігура 153">
              <a:extLst>
                <a:ext uri="{FF2B5EF4-FFF2-40B4-BE49-F238E27FC236}">
                  <a16:creationId xmlns:a16="http://schemas.microsoft.com/office/drawing/2014/main" id="{5BF41A11-244C-FBBC-D913-0410AD65AD41}"/>
                </a:ext>
              </a:extLst>
            </p:cNvPr>
            <p:cNvSpPr/>
            <p:nvPr/>
          </p:nvSpPr>
          <p:spPr>
            <a:xfrm>
              <a:off x="5254924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5" name="Полілінія: фігура 154">
              <a:extLst>
                <a:ext uri="{FF2B5EF4-FFF2-40B4-BE49-F238E27FC236}">
                  <a16:creationId xmlns:a16="http://schemas.microsoft.com/office/drawing/2014/main" id="{716AB5E3-3860-B31B-5899-3A68978BF7BA}"/>
                </a:ext>
              </a:extLst>
            </p:cNvPr>
            <p:cNvSpPr/>
            <p:nvPr/>
          </p:nvSpPr>
          <p:spPr>
            <a:xfrm>
              <a:off x="5384320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6" name="Полілінія: фігура 155">
              <a:extLst>
                <a:ext uri="{FF2B5EF4-FFF2-40B4-BE49-F238E27FC236}">
                  <a16:creationId xmlns:a16="http://schemas.microsoft.com/office/drawing/2014/main" id="{D3FE9F2D-7788-393E-7AE0-5028ECBCAE89}"/>
                </a:ext>
              </a:extLst>
            </p:cNvPr>
            <p:cNvSpPr/>
            <p:nvPr/>
          </p:nvSpPr>
          <p:spPr>
            <a:xfrm>
              <a:off x="5643113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7" name="Полілінія: фігура 156">
              <a:extLst>
                <a:ext uri="{FF2B5EF4-FFF2-40B4-BE49-F238E27FC236}">
                  <a16:creationId xmlns:a16="http://schemas.microsoft.com/office/drawing/2014/main" id="{F5827273-2D1F-9308-AE31-655F5FC99B82}"/>
                </a:ext>
              </a:extLst>
            </p:cNvPr>
            <p:cNvSpPr/>
            <p:nvPr/>
          </p:nvSpPr>
          <p:spPr>
            <a:xfrm>
              <a:off x="5772509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8" name="Полілінія: фігура 157">
              <a:extLst>
                <a:ext uri="{FF2B5EF4-FFF2-40B4-BE49-F238E27FC236}">
                  <a16:creationId xmlns:a16="http://schemas.microsoft.com/office/drawing/2014/main" id="{9689781E-502E-601E-4522-9AC2167B40FB}"/>
                </a:ext>
              </a:extLst>
            </p:cNvPr>
            <p:cNvSpPr/>
            <p:nvPr/>
          </p:nvSpPr>
          <p:spPr>
            <a:xfrm>
              <a:off x="5901905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59" name="Полілінія: фігура 158">
              <a:extLst>
                <a:ext uri="{FF2B5EF4-FFF2-40B4-BE49-F238E27FC236}">
                  <a16:creationId xmlns:a16="http://schemas.microsoft.com/office/drawing/2014/main" id="{07750FA4-EE08-1BC8-E313-72C91A747115}"/>
                </a:ext>
              </a:extLst>
            </p:cNvPr>
            <p:cNvSpPr/>
            <p:nvPr/>
          </p:nvSpPr>
          <p:spPr>
            <a:xfrm>
              <a:off x="6031301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0" name="Полілінія: фігура 159">
              <a:extLst>
                <a:ext uri="{FF2B5EF4-FFF2-40B4-BE49-F238E27FC236}">
                  <a16:creationId xmlns:a16="http://schemas.microsoft.com/office/drawing/2014/main" id="{1875A85A-1CFB-9C02-7099-510A49084D84}"/>
                </a:ext>
              </a:extLst>
            </p:cNvPr>
            <p:cNvSpPr/>
            <p:nvPr/>
          </p:nvSpPr>
          <p:spPr>
            <a:xfrm>
              <a:off x="6160698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1" name="Полілінія: фігура 160">
              <a:extLst>
                <a:ext uri="{FF2B5EF4-FFF2-40B4-BE49-F238E27FC236}">
                  <a16:creationId xmlns:a16="http://schemas.microsoft.com/office/drawing/2014/main" id="{0F6B3BA7-877D-B153-68D9-58C8A692B82A}"/>
                </a:ext>
              </a:extLst>
            </p:cNvPr>
            <p:cNvSpPr/>
            <p:nvPr/>
          </p:nvSpPr>
          <p:spPr>
            <a:xfrm>
              <a:off x="6290094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2" name="Полілінія: фігура 161">
              <a:extLst>
                <a:ext uri="{FF2B5EF4-FFF2-40B4-BE49-F238E27FC236}">
                  <a16:creationId xmlns:a16="http://schemas.microsoft.com/office/drawing/2014/main" id="{8BE1B084-7C8C-70B5-A265-6635978EC03A}"/>
                </a:ext>
              </a:extLst>
            </p:cNvPr>
            <p:cNvSpPr/>
            <p:nvPr/>
          </p:nvSpPr>
          <p:spPr>
            <a:xfrm>
              <a:off x="6548886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3" name="Полілінія: фігура 162">
              <a:extLst>
                <a:ext uri="{FF2B5EF4-FFF2-40B4-BE49-F238E27FC236}">
                  <a16:creationId xmlns:a16="http://schemas.microsoft.com/office/drawing/2014/main" id="{C5DB2D3C-551B-3B03-01E9-B104CB0FC114}"/>
                </a:ext>
              </a:extLst>
            </p:cNvPr>
            <p:cNvSpPr/>
            <p:nvPr/>
          </p:nvSpPr>
          <p:spPr>
            <a:xfrm>
              <a:off x="6678283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4" name="Полілінія: фігура 163">
              <a:extLst>
                <a:ext uri="{FF2B5EF4-FFF2-40B4-BE49-F238E27FC236}">
                  <a16:creationId xmlns:a16="http://schemas.microsoft.com/office/drawing/2014/main" id="{6C6A0528-10CF-EFAF-78CC-7714479C7C40}"/>
                </a:ext>
              </a:extLst>
            </p:cNvPr>
            <p:cNvSpPr/>
            <p:nvPr/>
          </p:nvSpPr>
          <p:spPr>
            <a:xfrm>
              <a:off x="7454660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5" name="Полілінія: фігура 164">
              <a:extLst>
                <a:ext uri="{FF2B5EF4-FFF2-40B4-BE49-F238E27FC236}">
                  <a16:creationId xmlns:a16="http://schemas.microsoft.com/office/drawing/2014/main" id="{516FA7B4-EB71-E2B9-47A4-B56AC735A9BC}"/>
                </a:ext>
              </a:extLst>
            </p:cNvPr>
            <p:cNvSpPr/>
            <p:nvPr/>
          </p:nvSpPr>
          <p:spPr>
            <a:xfrm>
              <a:off x="8360433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6" name="Полілінія: фігура 165">
              <a:extLst>
                <a:ext uri="{FF2B5EF4-FFF2-40B4-BE49-F238E27FC236}">
                  <a16:creationId xmlns:a16="http://schemas.microsoft.com/office/drawing/2014/main" id="{4412EC96-F69B-FCC2-37C4-034C1BEBD998}"/>
                </a:ext>
              </a:extLst>
            </p:cNvPr>
            <p:cNvSpPr/>
            <p:nvPr/>
          </p:nvSpPr>
          <p:spPr>
            <a:xfrm>
              <a:off x="8619226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7" name="Полілінія: фігура 166">
              <a:extLst>
                <a:ext uri="{FF2B5EF4-FFF2-40B4-BE49-F238E27FC236}">
                  <a16:creationId xmlns:a16="http://schemas.microsoft.com/office/drawing/2014/main" id="{251A57B4-7A18-4826-F654-A88145AE7C47}"/>
                </a:ext>
              </a:extLst>
            </p:cNvPr>
            <p:cNvSpPr/>
            <p:nvPr/>
          </p:nvSpPr>
          <p:spPr>
            <a:xfrm>
              <a:off x="8748622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8" name="Полілінія: фігура 167">
              <a:extLst>
                <a:ext uri="{FF2B5EF4-FFF2-40B4-BE49-F238E27FC236}">
                  <a16:creationId xmlns:a16="http://schemas.microsoft.com/office/drawing/2014/main" id="{EA307D6B-7007-B062-295A-A5B6EB787982}"/>
                </a:ext>
              </a:extLst>
            </p:cNvPr>
            <p:cNvSpPr/>
            <p:nvPr/>
          </p:nvSpPr>
          <p:spPr>
            <a:xfrm>
              <a:off x="8878018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69" name="Полілінія: фігура 168">
              <a:extLst>
                <a:ext uri="{FF2B5EF4-FFF2-40B4-BE49-F238E27FC236}">
                  <a16:creationId xmlns:a16="http://schemas.microsoft.com/office/drawing/2014/main" id="{0E562B87-0AEB-837C-B377-103B6ADADF86}"/>
                </a:ext>
              </a:extLst>
            </p:cNvPr>
            <p:cNvSpPr/>
            <p:nvPr/>
          </p:nvSpPr>
          <p:spPr>
            <a:xfrm>
              <a:off x="9136811" y="77637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0" name="Полілінія: фігура 169">
              <a:extLst>
                <a:ext uri="{FF2B5EF4-FFF2-40B4-BE49-F238E27FC236}">
                  <a16:creationId xmlns:a16="http://schemas.microsoft.com/office/drawing/2014/main" id="{9FAF5E72-0766-97E7-D002-B156A12EB681}"/>
                </a:ext>
              </a:extLst>
            </p:cNvPr>
            <p:cNvSpPr/>
            <p:nvPr/>
          </p:nvSpPr>
          <p:spPr>
            <a:xfrm>
              <a:off x="2925792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1" name="Полілінія: фігура 170">
              <a:extLst>
                <a:ext uri="{FF2B5EF4-FFF2-40B4-BE49-F238E27FC236}">
                  <a16:creationId xmlns:a16="http://schemas.microsoft.com/office/drawing/2014/main" id="{1C9EF5AB-1F9D-9DDF-9F27-8778CC019329}"/>
                </a:ext>
              </a:extLst>
            </p:cNvPr>
            <p:cNvSpPr/>
            <p:nvPr/>
          </p:nvSpPr>
          <p:spPr>
            <a:xfrm>
              <a:off x="3702169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2" name="Полілінія: фігура 171">
              <a:extLst>
                <a:ext uri="{FF2B5EF4-FFF2-40B4-BE49-F238E27FC236}">
                  <a16:creationId xmlns:a16="http://schemas.microsoft.com/office/drawing/2014/main" id="{FC65C84A-23E9-EC2C-8DF6-C5439D424FBC}"/>
                </a:ext>
              </a:extLst>
            </p:cNvPr>
            <p:cNvSpPr/>
            <p:nvPr/>
          </p:nvSpPr>
          <p:spPr>
            <a:xfrm>
              <a:off x="3960962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3" name="Полілінія: фігура 172">
              <a:extLst>
                <a:ext uri="{FF2B5EF4-FFF2-40B4-BE49-F238E27FC236}">
                  <a16:creationId xmlns:a16="http://schemas.microsoft.com/office/drawing/2014/main" id="{1F679723-18F2-F970-EA18-CCC5B3E7DE83}"/>
                </a:ext>
              </a:extLst>
            </p:cNvPr>
            <p:cNvSpPr/>
            <p:nvPr/>
          </p:nvSpPr>
          <p:spPr>
            <a:xfrm>
              <a:off x="4090358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4" name="Полілінія: фігура 173">
              <a:extLst>
                <a:ext uri="{FF2B5EF4-FFF2-40B4-BE49-F238E27FC236}">
                  <a16:creationId xmlns:a16="http://schemas.microsoft.com/office/drawing/2014/main" id="{727E2C5C-55A3-2BC0-36AE-C54CEEF1BD6F}"/>
                </a:ext>
              </a:extLst>
            </p:cNvPr>
            <p:cNvSpPr/>
            <p:nvPr/>
          </p:nvSpPr>
          <p:spPr>
            <a:xfrm>
              <a:off x="4737339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5" name="Полілінія: фігура 174">
              <a:extLst>
                <a:ext uri="{FF2B5EF4-FFF2-40B4-BE49-F238E27FC236}">
                  <a16:creationId xmlns:a16="http://schemas.microsoft.com/office/drawing/2014/main" id="{25E6555C-19DC-6789-D4CF-93466ACEC396}"/>
                </a:ext>
              </a:extLst>
            </p:cNvPr>
            <p:cNvSpPr/>
            <p:nvPr/>
          </p:nvSpPr>
          <p:spPr>
            <a:xfrm>
              <a:off x="5125528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6" name="Полілінія: фігура 175">
              <a:extLst>
                <a:ext uri="{FF2B5EF4-FFF2-40B4-BE49-F238E27FC236}">
                  <a16:creationId xmlns:a16="http://schemas.microsoft.com/office/drawing/2014/main" id="{14BAF3CE-5CCC-AB09-6E83-143EB8A1B514}"/>
                </a:ext>
              </a:extLst>
            </p:cNvPr>
            <p:cNvSpPr/>
            <p:nvPr/>
          </p:nvSpPr>
          <p:spPr>
            <a:xfrm>
              <a:off x="5513716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7" name="Полілінія: фігура 176">
              <a:extLst>
                <a:ext uri="{FF2B5EF4-FFF2-40B4-BE49-F238E27FC236}">
                  <a16:creationId xmlns:a16="http://schemas.microsoft.com/office/drawing/2014/main" id="{A4441E6E-2900-84CE-4E51-2C748DC50C29}"/>
                </a:ext>
              </a:extLst>
            </p:cNvPr>
            <p:cNvSpPr/>
            <p:nvPr/>
          </p:nvSpPr>
          <p:spPr>
            <a:xfrm>
              <a:off x="5643113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8" name="Полілінія: фігура 177">
              <a:extLst>
                <a:ext uri="{FF2B5EF4-FFF2-40B4-BE49-F238E27FC236}">
                  <a16:creationId xmlns:a16="http://schemas.microsoft.com/office/drawing/2014/main" id="{2B84D12E-E8EA-B6C0-DCEA-7B51A98EB1E2}"/>
                </a:ext>
              </a:extLst>
            </p:cNvPr>
            <p:cNvSpPr/>
            <p:nvPr/>
          </p:nvSpPr>
          <p:spPr>
            <a:xfrm>
              <a:off x="5772509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79" name="Полілінія: фігура 178">
              <a:extLst>
                <a:ext uri="{FF2B5EF4-FFF2-40B4-BE49-F238E27FC236}">
                  <a16:creationId xmlns:a16="http://schemas.microsoft.com/office/drawing/2014/main" id="{AB380169-989B-AA79-5FB7-D71E8E08A736}"/>
                </a:ext>
              </a:extLst>
            </p:cNvPr>
            <p:cNvSpPr/>
            <p:nvPr/>
          </p:nvSpPr>
          <p:spPr>
            <a:xfrm>
              <a:off x="6290094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0" name="Полілінія: фігура 179">
              <a:extLst>
                <a:ext uri="{FF2B5EF4-FFF2-40B4-BE49-F238E27FC236}">
                  <a16:creationId xmlns:a16="http://schemas.microsoft.com/office/drawing/2014/main" id="{A9CD9435-86BC-3F6D-4922-CDAEE68F61DB}"/>
                </a:ext>
              </a:extLst>
            </p:cNvPr>
            <p:cNvSpPr/>
            <p:nvPr/>
          </p:nvSpPr>
          <p:spPr>
            <a:xfrm>
              <a:off x="6807679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1" name="Полілінія: фігура 180">
              <a:extLst>
                <a:ext uri="{FF2B5EF4-FFF2-40B4-BE49-F238E27FC236}">
                  <a16:creationId xmlns:a16="http://schemas.microsoft.com/office/drawing/2014/main" id="{12E3FB1D-7546-F3A3-54B2-0C6A1443AC71}"/>
                </a:ext>
              </a:extLst>
            </p:cNvPr>
            <p:cNvSpPr/>
            <p:nvPr/>
          </p:nvSpPr>
          <p:spPr>
            <a:xfrm>
              <a:off x="7066471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2" name="Полілінія: фігура 181">
              <a:extLst>
                <a:ext uri="{FF2B5EF4-FFF2-40B4-BE49-F238E27FC236}">
                  <a16:creationId xmlns:a16="http://schemas.microsoft.com/office/drawing/2014/main" id="{2E5D6FAE-7B13-6D3E-280A-EAEDE5377688}"/>
                </a:ext>
              </a:extLst>
            </p:cNvPr>
            <p:cNvSpPr/>
            <p:nvPr/>
          </p:nvSpPr>
          <p:spPr>
            <a:xfrm>
              <a:off x="7325264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3" name="Полілінія: фігура 182">
              <a:extLst>
                <a:ext uri="{FF2B5EF4-FFF2-40B4-BE49-F238E27FC236}">
                  <a16:creationId xmlns:a16="http://schemas.microsoft.com/office/drawing/2014/main" id="{ADCE6B9C-BD03-8631-9361-89AD91478FA2}"/>
                </a:ext>
              </a:extLst>
            </p:cNvPr>
            <p:cNvSpPr/>
            <p:nvPr/>
          </p:nvSpPr>
          <p:spPr>
            <a:xfrm>
              <a:off x="7454660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4" name="Полілінія: фігура 183">
              <a:extLst>
                <a:ext uri="{FF2B5EF4-FFF2-40B4-BE49-F238E27FC236}">
                  <a16:creationId xmlns:a16="http://schemas.microsoft.com/office/drawing/2014/main" id="{C7530280-2614-8A63-A8F9-296DE12CCF7D}"/>
                </a:ext>
              </a:extLst>
            </p:cNvPr>
            <p:cNvSpPr/>
            <p:nvPr/>
          </p:nvSpPr>
          <p:spPr>
            <a:xfrm>
              <a:off x="7842849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5" name="Полілінія: фігура 184">
              <a:extLst>
                <a:ext uri="{FF2B5EF4-FFF2-40B4-BE49-F238E27FC236}">
                  <a16:creationId xmlns:a16="http://schemas.microsoft.com/office/drawing/2014/main" id="{901F7B81-E4CA-5488-61D5-F810C0622AD1}"/>
                </a:ext>
              </a:extLst>
            </p:cNvPr>
            <p:cNvSpPr/>
            <p:nvPr/>
          </p:nvSpPr>
          <p:spPr>
            <a:xfrm>
              <a:off x="8360433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6" name="Полілінія: фігура 185">
              <a:extLst>
                <a:ext uri="{FF2B5EF4-FFF2-40B4-BE49-F238E27FC236}">
                  <a16:creationId xmlns:a16="http://schemas.microsoft.com/office/drawing/2014/main" id="{930938A6-58F1-838E-3D2E-0406A6387212}"/>
                </a:ext>
              </a:extLst>
            </p:cNvPr>
            <p:cNvSpPr/>
            <p:nvPr/>
          </p:nvSpPr>
          <p:spPr>
            <a:xfrm>
              <a:off x="9136811" y="90577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7" name="Полілінія: фігура 186">
              <a:extLst>
                <a:ext uri="{FF2B5EF4-FFF2-40B4-BE49-F238E27FC236}">
                  <a16:creationId xmlns:a16="http://schemas.microsoft.com/office/drawing/2014/main" id="{796233CF-B900-64EF-3F2E-F17048FA486F}"/>
                </a:ext>
              </a:extLst>
            </p:cNvPr>
            <p:cNvSpPr/>
            <p:nvPr/>
          </p:nvSpPr>
          <p:spPr>
            <a:xfrm>
              <a:off x="2925792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8" name="Полілінія: фігура 187">
              <a:extLst>
                <a:ext uri="{FF2B5EF4-FFF2-40B4-BE49-F238E27FC236}">
                  <a16:creationId xmlns:a16="http://schemas.microsoft.com/office/drawing/2014/main" id="{D1CEA927-5A6F-EF12-2927-84C0E94E2102}"/>
                </a:ext>
              </a:extLst>
            </p:cNvPr>
            <p:cNvSpPr/>
            <p:nvPr/>
          </p:nvSpPr>
          <p:spPr>
            <a:xfrm>
              <a:off x="3055188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89" name="Полілінія: фігура 188">
              <a:extLst>
                <a:ext uri="{FF2B5EF4-FFF2-40B4-BE49-F238E27FC236}">
                  <a16:creationId xmlns:a16="http://schemas.microsoft.com/office/drawing/2014/main" id="{E920D9E5-9785-7479-922A-CC71E35FA3C3}"/>
                </a:ext>
              </a:extLst>
            </p:cNvPr>
            <p:cNvSpPr/>
            <p:nvPr/>
          </p:nvSpPr>
          <p:spPr>
            <a:xfrm>
              <a:off x="3184584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0" name="Полілінія: фігура 189">
              <a:extLst>
                <a:ext uri="{FF2B5EF4-FFF2-40B4-BE49-F238E27FC236}">
                  <a16:creationId xmlns:a16="http://schemas.microsoft.com/office/drawing/2014/main" id="{3C0FDD3E-E073-61A6-D351-52068BEBD807}"/>
                </a:ext>
              </a:extLst>
            </p:cNvPr>
            <p:cNvSpPr/>
            <p:nvPr/>
          </p:nvSpPr>
          <p:spPr>
            <a:xfrm>
              <a:off x="3313981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1" name="Полілінія: фігура 190">
              <a:extLst>
                <a:ext uri="{FF2B5EF4-FFF2-40B4-BE49-F238E27FC236}">
                  <a16:creationId xmlns:a16="http://schemas.microsoft.com/office/drawing/2014/main" id="{41B7D23A-813D-A3EE-C7BC-E83726BA97A8}"/>
                </a:ext>
              </a:extLst>
            </p:cNvPr>
            <p:cNvSpPr/>
            <p:nvPr/>
          </p:nvSpPr>
          <p:spPr>
            <a:xfrm>
              <a:off x="3443377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2" name="Полілінія: фігура 191">
              <a:extLst>
                <a:ext uri="{FF2B5EF4-FFF2-40B4-BE49-F238E27FC236}">
                  <a16:creationId xmlns:a16="http://schemas.microsoft.com/office/drawing/2014/main" id="{7F25BE23-E4CB-053D-1794-0190DC4A27EB}"/>
                </a:ext>
              </a:extLst>
            </p:cNvPr>
            <p:cNvSpPr/>
            <p:nvPr/>
          </p:nvSpPr>
          <p:spPr>
            <a:xfrm>
              <a:off x="3572773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3" name="Полілінія: фігура 192">
              <a:extLst>
                <a:ext uri="{FF2B5EF4-FFF2-40B4-BE49-F238E27FC236}">
                  <a16:creationId xmlns:a16="http://schemas.microsoft.com/office/drawing/2014/main" id="{C6249217-C258-B91E-DABB-62FA2AE49412}"/>
                </a:ext>
              </a:extLst>
            </p:cNvPr>
            <p:cNvSpPr/>
            <p:nvPr/>
          </p:nvSpPr>
          <p:spPr>
            <a:xfrm>
              <a:off x="3702169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4" name="Полілінія: фігура 193">
              <a:extLst>
                <a:ext uri="{FF2B5EF4-FFF2-40B4-BE49-F238E27FC236}">
                  <a16:creationId xmlns:a16="http://schemas.microsoft.com/office/drawing/2014/main" id="{A9E483A2-4A14-8F34-904E-0C532B5625B5}"/>
                </a:ext>
              </a:extLst>
            </p:cNvPr>
            <p:cNvSpPr/>
            <p:nvPr/>
          </p:nvSpPr>
          <p:spPr>
            <a:xfrm>
              <a:off x="3960962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5" name="Полілінія: фігура 194">
              <a:extLst>
                <a:ext uri="{FF2B5EF4-FFF2-40B4-BE49-F238E27FC236}">
                  <a16:creationId xmlns:a16="http://schemas.microsoft.com/office/drawing/2014/main" id="{07884347-7838-D904-0426-FFE41B04163A}"/>
                </a:ext>
              </a:extLst>
            </p:cNvPr>
            <p:cNvSpPr/>
            <p:nvPr/>
          </p:nvSpPr>
          <p:spPr>
            <a:xfrm>
              <a:off x="4219754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6" name="Полілінія: фігура 195">
              <a:extLst>
                <a:ext uri="{FF2B5EF4-FFF2-40B4-BE49-F238E27FC236}">
                  <a16:creationId xmlns:a16="http://schemas.microsoft.com/office/drawing/2014/main" id="{67EDA54F-B24A-4111-9D1B-585A0A805672}"/>
                </a:ext>
              </a:extLst>
            </p:cNvPr>
            <p:cNvSpPr/>
            <p:nvPr/>
          </p:nvSpPr>
          <p:spPr>
            <a:xfrm>
              <a:off x="4478547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7" name="Полілінія: фігура 196">
              <a:extLst>
                <a:ext uri="{FF2B5EF4-FFF2-40B4-BE49-F238E27FC236}">
                  <a16:creationId xmlns:a16="http://schemas.microsoft.com/office/drawing/2014/main" id="{83D45059-7AEA-D4C4-CE29-B21875AFED2F}"/>
                </a:ext>
              </a:extLst>
            </p:cNvPr>
            <p:cNvSpPr/>
            <p:nvPr/>
          </p:nvSpPr>
          <p:spPr>
            <a:xfrm>
              <a:off x="4737339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8" name="Полілінія: фігура 197">
              <a:extLst>
                <a:ext uri="{FF2B5EF4-FFF2-40B4-BE49-F238E27FC236}">
                  <a16:creationId xmlns:a16="http://schemas.microsoft.com/office/drawing/2014/main" id="{F221EA25-C016-052D-45B0-A9E9850C7915}"/>
                </a:ext>
              </a:extLst>
            </p:cNvPr>
            <p:cNvSpPr/>
            <p:nvPr/>
          </p:nvSpPr>
          <p:spPr>
            <a:xfrm>
              <a:off x="4996132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99" name="Полілінія: фігура 198">
              <a:extLst>
                <a:ext uri="{FF2B5EF4-FFF2-40B4-BE49-F238E27FC236}">
                  <a16:creationId xmlns:a16="http://schemas.microsoft.com/office/drawing/2014/main" id="{6AA752BC-A524-B313-A533-46C767E7A569}"/>
                </a:ext>
              </a:extLst>
            </p:cNvPr>
            <p:cNvSpPr/>
            <p:nvPr/>
          </p:nvSpPr>
          <p:spPr>
            <a:xfrm>
              <a:off x="5254924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0" name="Полілінія: фігура 199">
              <a:extLst>
                <a:ext uri="{FF2B5EF4-FFF2-40B4-BE49-F238E27FC236}">
                  <a16:creationId xmlns:a16="http://schemas.microsoft.com/office/drawing/2014/main" id="{97D33704-2AF2-6D5A-2476-18CAD2FB594A}"/>
                </a:ext>
              </a:extLst>
            </p:cNvPr>
            <p:cNvSpPr/>
            <p:nvPr/>
          </p:nvSpPr>
          <p:spPr>
            <a:xfrm>
              <a:off x="5513716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1" name="Полілінія: фігура 200">
              <a:extLst>
                <a:ext uri="{FF2B5EF4-FFF2-40B4-BE49-F238E27FC236}">
                  <a16:creationId xmlns:a16="http://schemas.microsoft.com/office/drawing/2014/main" id="{C15F386F-68A0-21A9-BCF8-882508C83DFE}"/>
                </a:ext>
              </a:extLst>
            </p:cNvPr>
            <p:cNvSpPr/>
            <p:nvPr/>
          </p:nvSpPr>
          <p:spPr>
            <a:xfrm>
              <a:off x="5772509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2" name="Полілінія: фігура 201">
              <a:extLst>
                <a:ext uri="{FF2B5EF4-FFF2-40B4-BE49-F238E27FC236}">
                  <a16:creationId xmlns:a16="http://schemas.microsoft.com/office/drawing/2014/main" id="{D06216C0-6DC5-EF07-C556-555998076156}"/>
                </a:ext>
              </a:extLst>
            </p:cNvPr>
            <p:cNvSpPr/>
            <p:nvPr/>
          </p:nvSpPr>
          <p:spPr>
            <a:xfrm>
              <a:off x="6031301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3" name="Полілінія: фігура 202">
              <a:extLst>
                <a:ext uri="{FF2B5EF4-FFF2-40B4-BE49-F238E27FC236}">
                  <a16:creationId xmlns:a16="http://schemas.microsoft.com/office/drawing/2014/main" id="{6F26A47D-363A-B5F2-09A8-61E2CBA1DB68}"/>
                </a:ext>
              </a:extLst>
            </p:cNvPr>
            <p:cNvSpPr/>
            <p:nvPr/>
          </p:nvSpPr>
          <p:spPr>
            <a:xfrm>
              <a:off x="6290094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4" name="Полілінія: фігура 203">
              <a:extLst>
                <a:ext uri="{FF2B5EF4-FFF2-40B4-BE49-F238E27FC236}">
                  <a16:creationId xmlns:a16="http://schemas.microsoft.com/office/drawing/2014/main" id="{ABC57574-CDE2-5386-9194-72D956DFC68B}"/>
                </a:ext>
              </a:extLst>
            </p:cNvPr>
            <p:cNvSpPr/>
            <p:nvPr/>
          </p:nvSpPr>
          <p:spPr>
            <a:xfrm>
              <a:off x="6548886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5" name="Полілінія: фігура 204">
              <a:extLst>
                <a:ext uri="{FF2B5EF4-FFF2-40B4-BE49-F238E27FC236}">
                  <a16:creationId xmlns:a16="http://schemas.microsoft.com/office/drawing/2014/main" id="{4C1D6929-F9F1-55CD-960F-7350A3989DFA}"/>
                </a:ext>
              </a:extLst>
            </p:cNvPr>
            <p:cNvSpPr/>
            <p:nvPr/>
          </p:nvSpPr>
          <p:spPr>
            <a:xfrm>
              <a:off x="6807679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6" name="Полілінія: фігура 205">
              <a:extLst>
                <a:ext uri="{FF2B5EF4-FFF2-40B4-BE49-F238E27FC236}">
                  <a16:creationId xmlns:a16="http://schemas.microsoft.com/office/drawing/2014/main" id="{A3806D4E-EA53-B0F2-14AC-22C9BA7F0F1A}"/>
                </a:ext>
              </a:extLst>
            </p:cNvPr>
            <p:cNvSpPr/>
            <p:nvPr/>
          </p:nvSpPr>
          <p:spPr>
            <a:xfrm>
              <a:off x="7066471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7" name="Полілінія: фігура 206">
              <a:extLst>
                <a:ext uri="{FF2B5EF4-FFF2-40B4-BE49-F238E27FC236}">
                  <a16:creationId xmlns:a16="http://schemas.microsoft.com/office/drawing/2014/main" id="{C95A41E3-15AF-D500-57AC-7B9642E17049}"/>
                </a:ext>
              </a:extLst>
            </p:cNvPr>
            <p:cNvSpPr/>
            <p:nvPr/>
          </p:nvSpPr>
          <p:spPr>
            <a:xfrm>
              <a:off x="7325264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8" name="Полілінія: фігура 207">
              <a:extLst>
                <a:ext uri="{FF2B5EF4-FFF2-40B4-BE49-F238E27FC236}">
                  <a16:creationId xmlns:a16="http://schemas.microsoft.com/office/drawing/2014/main" id="{4875D52B-1AF3-0A35-9C1B-22DDBE59035B}"/>
                </a:ext>
              </a:extLst>
            </p:cNvPr>
            <p:cNvSpPr/>
            <p:nvPr/>
          </p:nvSpPr>
          <p:spPr>
            <a:xfrm>
              <a:off x="7584056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09" name="Полілінія: фігура 208">
              <a:extLst>
                <a:ext uri="{FF2B5EF4-FFF2-40B4-BE49-F238E27FC236}">
                  <a16:creationId xmlns:a16="http://schemas.microsoft.com/office/drawing/2014/main" id="{24294D4C-A689-0974-63B8-BF2DA018ADC9}"/>
                </a:ext>
              </a:extLst>
            </p:cNvPr>
            <p:cNvSpPr/>
            <p:nvPr/>
          </p:nvSpPr>
          <p:spPr>
            <a:xfrm>
              <a:off x="7842849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0" name="Полілінія: фігура 209">
              <a:extLst>
                <a:ext uri="{FF2B5EF4-FFF2-40B4-BE49-F238E27FC236}">
                  <a16:creationId xmlns:a16="http://schemas.microsoft.com/office/drawing/2014/main" id="{5F930F8A-3A4C-EA50-E113-78AFBB257207}"/>
                </a:ext>
              </a:extLst>
            </p:cNvPr>
            <p:cNvSpPr/>
            <p:nvPr/>
          </p:nvSpPr>
          <p:spPr>
            <a:xfrm>
              <a:off x="8101641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1" name="Полілінія: фігура 210">
              <a:extLst>
                <a:ext uri="{FF2B5EF4-FFF2-40B4-BE49-F238E27FC236}">
                  <a16:creationId xmlns:a16="http://schemas.microsoft.com/office/drawing/2014/main" id="{BB480B2D-2E67-345A-2D3A-E88D73A3E72B}"/>
                </a:ext>
              </a:extLst>
            </p:cNvPr>
            <p:cNvSpPr/>
            <p:nvPr/>
          </p:nvSpPr>
          <p:spPr>
            <a:xfrm>
              <a:off x="8360433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2" name="Полілінія: фігура 211">
              <a:extLst>
                <a:ext uri="{FF2B5EF4-FFF2-40B4-BE49-F238E27FC236}">
                  <a16:creationId xmlns:a16="http://schemas.microsoft.com/office/drawing/2014/main" id="{8F56DA9F-6A9B-CD90-B860-CAEB467BD46E}"/>
                </a:ext>
              </a:extLst>
            </p:cNvPr>
            <p:cNvSpPr/>
            <p:nvPr/>
          </p:nvSpPr>
          <p:spPr>
            <a:xfrm>
              <a:off x="8489830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3" name="Полілінія: фігура 212">
              <a:extLst>
                <a:ext uri="{FF2B5EF4-FFF2-40B4-BE49-F238E27FC236}">
                  <a16:creationId xmlns:a16="http://schemas.microsoft.com/office/drawing/2014/main" id="{C55D6052-3DAB-82B6-ECE8-B1CB69011B60}"/>
                </a:ext>
              </a:extLst>
            </p:cNvPr>
            <p:cNvSpPr/>
            <p:nvPr/>
          </p:nvSpPr>
          <p:spPr>
            <a:xfrm>
              <a:off x="8619226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4" name="Полілінія: фігура 213">
              <a:extLst>
                <a:ext uri="{FF2B5EF4-FFF2-40B4-BE49-F238E27FC236}">
                  <a16:creationId xmlns:a16="http://schemas.microsoft.com/office/drawing/2014/main" id="{CB88E439-3087-44C1-957A-F8D21F349D73}"/>
                </a:ext>
              </a:extLst>
            </p:cNvPr>
            <p:cNvSpPr/>
            <p:nvPr/>
          </p:nvSpPr>
          <p:spPr>
            <a:xfrm>
              <a:off x="8748622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5" name="Полілінія: фігура 214">
              <a:extLst>
                <a:ext uri="{FF2B5EF4-FFF2-40B4-BE49-F238E27FC236}">
                  <a16:creationId xmlns:a16="http://schemas.microsoft.com/office/drawing/2014/main" id="{1DEC928C-4255-FB7F-08EC-488BD4EBFCC4}"/>
                </a:ext>
              </a:extLst>
            </p:cNvPr>
            <p:cNvSpPr/>
            <p:nvPr/>
          </p:nvSpPr>
          <p:spPr>
            <a:xfrm>
              <a:off x="8878018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6" name="Полілінія: фігура 215">
              <a:extLst>
                <a:ext uri="{FF2B5EF4-FFF2-40B4-BE49-F238E27FC236}">
                  <a16:creationId xmlns:a16="http://schemas.microsoft.com/office/drawing/2014/main" id="{8C370937-C622-73FD-F9B5-7BD251FDE440}"/>
                </a:ext>
              </a:extLst>
            </p:cNvPr>
            <p:cNvSpPr/>
            <p:nvPr/>
          </p:nvSpPr>
          <p:spPr>
            <a:xfrm>
              <a:off x="9007415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7" name="Полілінія: фігура 216">
              <a:extLst>
                <a:ext uri="{FF2B5EF4-FFF2-40B4-BE49-F238E27FC236}">
                  <a16:creationId xmlns:a16="http://schemas.microsoft.com/office/drawing/2014/main" id="{290183AD-80E4-538E-0166-4AAAFD081B6F}"/>
                </a:ext>
              </a:extLst>
            </p:cNvPr>
            <p:cNvSpPr/>
            <p:nvPr/>
          </p:nvSpPr>
          <p:spPr>
            <a:xfrm>
              <a:off x="9136811" y="103516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8" name="Полілінія: фігура 217">
              <a:extLst>
                <a:ext uri="{FF2B5EF4-FFF2-40B4-BE49-F238E27FC236}">
                  <a16:creationId xmlns:a16="http://schemas.microsoft.com/office/drawing/2014/main" id="{34DD197D-26AD-473B-E7A6-A4B8B58E5CF8}"/>
                </a:ext>
              </a:extLst>
            </p:cNvPr>
            <p:cNvSpPr/>
            <p:nvPr/>
          </p:nvSpPr>
          <p:spPr>
            <a:xfrm>
              <a:off x="4090358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19" name="Полілінія: фігура 218">
              <a:extLst>
                <a:ext uri="{FF2B5EF4-FFF2-40B4-BE49-F238E27FC236}">
                  <a16:creationId xmlns:a16="http://schemas.microsoft.com/office/drawing/2014/main" id="{687B1FC3-4DBF-9E03-1A8F-8864F4B12B38}"/>
                </a:ext>
              </a:extLst>
            </p:cNvPr>
            <p:cNvSpPr/>
            <p:nvPr/>
          </p:nvSpPr>
          <p:spPr>
            <a:xfrm>
              <a:off x="4219754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0" name="Полілінія: фігура 219">
              <a:extLst>
                <a:ext uri="{FF2B5EF4-FFF2-40B4-BE49-F238E27FC236}">
                  <a16:creationId xmlns:a16="http://schemas.microsoft.com/office/drawing/2014/main" id="{D9479AB7-79CC-1582-C6BF-04B28037100A}"/>
                </a:ext>
              </a:extLst>
            </p:cNvPr>
            <p:cNvSpPr/>
            <p:nvPr/>
          </p:nvSpPr>
          <p:spPr>
            <a:xfrm>
              <a:off x="4349150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1" name="Полілінія: фігура 220">
              <a:extLst>
                <a:ext uri="{FF2B5EF4-FFF2-40B4-BE49-F238E27FC236}">
                  <a16:creationId xmlns:a16="http://schemas.microsoft.com/office/drawing/2014/main" id="{382155E5-ADC2-B268-70AE-DC9CCB3D30AF}"/>
                </a:ext>
              </a:extLst>
            </p:cNvPr>
            <p:cNvSpPr/>
            <p:nvPr/>
          </p:nvSpPr>
          <p:spPr>
            <a:xfrm>
              <a:off x="4607943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2" name="Полілінія: фігура 221">
              <a:extLst>
                <a:ext uri="{FF2B5EF4-FFF2-40B4-BE49-F238E27FC236}">
                  <a16:creationId xmlns:a16="http://schemas.microsoft.com/office/drawing/2014/main" id="{36B1F97F-2565-32A4-20C3-20C97BFEB7B5}"/>
                </a:ext>
              </a:extLst>
            </p:cNvPr>
            <p:cNvSpPr/>
            <p:nvPr/>
          </p:nvSpPr>
          <p:spPr>
            <a:xfrm>
              <a:off x="4996132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3" name="Полілінія: фігура 222">
              <a:extLst>
                <a:ext uri="{FF2B5EF4-FFF2-40B4-BE49-F238E27FC236}">
                  <a16:creationId xmlns:a16="http://schemas.microsoft.com/office/drawing/2014/main" id="{47BD3E36-7861-EC6F-71B8-1310A1E89F79}"/>
                </a:ext>
              </a:extLst>
            </p:cNvPr>
            <p:cNvSpPr/>
            <p:nvPr/>
          </p:nvSpPr>
          <p:spPr>
            <a:xfrm>
              <a:off x="5254924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4" name="Полілінія: фігура 223">
              <a:extLst>
                <a:ext uri="{FF2B5EF4-FFF2-40B4-BE49-F238E27FC236}">
                  <a16:creationId xmlns:a16="http://schemas.microsoft.com/office/drawing/2014/main" id="{8B8326D1-A0B3-D9D7-5760-78C7C34B0E5A}"/>
                </a:ext>
              </a:extLst>
            </p:cNvPr>
            <p:cNvSpPr/>
            <p:nvPr/>
          </p:nvSpPr>
          <p:spPr>
            <a:xfrm>
              <a:off x="5384320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5" name="Полілінія: фігура 224">
              <a:extLst>
                <a:ext uri="{FF2B5EF4-FFF2-40B4-BE49-F238E27FC236}">
                  <a16:creationId xmlns:a16="http://schemas.microsoft.com/office/drawing/2014/main" id="{55DB3D1D-D9F4-9888-FE51-B0EAA3E72915}"/>
                </a:ext>
              </a:extLst>
            </p:cNvPr>
            <p:cNvSpPr/>
            <p:nvPr/>
          </p:nvSpPr>
          <p:spPr>
            <a:xfrm>
              <a:off x="5513716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6" name="Полілінія: фігура 225">
              <a:extLst>
                <a:ext uri="{FF2B5EF4-FFF2-40B4-BE49-F238E27FC236}">
                  <a16:creationId xmlns:a16="http://schemas.microsoft.com/office/drawing/2014/main" id="{B4080922-B0C7-9BC8-77BE-59246FCD6B35}"/>
                </a:ext>
              </a:extLst>
            </p:cNvPr>
            <p:cNvSpPr/>
            <p:nvPr/>
          </p:nvSpPr>
          <p:spPr>
            <a:xfrm>
              <a:off x="5643113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7" name="Полілінія: фігура 226">
              <a:extLst>
                <a:ext uri="{FF2B5EF4-FFF2-40B4-BE49-F238E27FC236}">
                  <a16:creationId xmlns:a16="http://schemas.microsoft.com/office/drawing/2014/main" id="{389FF445-05A6-7B6E-13F1-25126469DC1A}"/>
                </a:ext>
              </a:extLst>
            </p:cNvPr>
            <p:cNvSpPr/>
            <p:nvPr/>
          </p:nvSpPr>
          <p:spPr>
            <a:xfrm>
              <a:off x="5772509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8" name="Полілінія: фігура 227">
              <a:extLst>
                <a:ext uri="{FF2B5EF4-FFF2-40B4-BE49-F238E27FC236}">
                  <a16:creationId xmlns:a16="http://schemas.microsoft.com/office/drawing/2014/main" id="{CD92A113-B4CC-D5C6-9A3E-BF530B9E32B0}"/>
                </a:ext>
              </a:extLst>
            </p:cNvPr>
            <p:cNvSpPr/>
            <p:nvPr/>
          </p:nvSpPr>
          <p:spPr>
            <a:xfrm>
              <a:off x="6290094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29" name="Полілінія: фігура 228">
              <a:extLst>
                <a:ext uri="{FF2B5EF4-FFF2-40B4-BE49-F238E27FC236}">
                  <a16:creationId xmlns:a16="http://schemas.microsoft.com/office/drawing/2014/main" id="{E92AAA12-E159-D5AE-D2BF-8BD32187EC7A}"/>
                </a:ext>
              </a:extLst>
            </p:cNvPr>
            <p:cNvSpPr/>
            <p:nvPr/>
          </p:nvSpPr>
          <p:spPr>
            <a:xfrm>
              <a:off x="6419490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0" name="Полілінія: фігура 229">
              <a:extLst>
                <a:ext uri="{FF2B5EF4-FFF2-40B4-BE49-F238E27FC236}">
                  <a16:creationId xmlns:a16="http://schemas.microsoft.com/office/drawing/2014/main" id="{A6E2DA14-F829-37D5-3E54-62AA90DE31FF}"/>
                </a:ext>
              </a:extLst>
            </p:cNvPr>
            <p:cNvSpPr/>
            <p:nvPr/>
          </p:nvSpPr>
          <p:spPr>
            <a:xfrm>
              <a:off x="6548886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1" name="Полілінія: фігура 230">
              <a:extLst>
                <a:ext uri="{FF2B5EF4-FFF2-40B4-BE49-F238E27FC236}">
                  <a16:creationId xmlns:a16="http://schemas.microsoft.com/office/drawing/2014/main" id="{3FEE3B20-062B-3F54-FBFC-19A889AE7543}"/>
                </a:ext>
              </a:extLst>
            </p:cNvPr>
            <p:cNvSpPr/>
            <p:nvPr/>
          </p:nvSpPr>
          <p:spPr>
            <a:xfrm>
              <a:off x="6678283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2" name="Полілінія: фігура 231">
              <a:extLst>
                <a:ext uri="{FF2B5EF4-FFF2-40B4-BE49-F238E27FC236}">
                  <a16:creationId xmlns:a16="http://schemas.microsoft.com/office/drawing/2014/main" id="{6B66630F-00A7-7F89-050D-4506185B1AA4}"/>
                </a:ext>
              </a:extLst>
            </p:cNvPr>
            <p:cNvSpPr/>
            <p:nvPr/>
          </p:nvSpPr>
          <p:spPr>
            <a:xfrm>
              <a:off x="6937075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3" name="Полілінія: фігура 232">
              <a:extLst>
                <a:ext uri="{FF2B5EF4-FFF2-40B4-BE49-F238E27FC236}">
                  <a16:creationId xmlns:a16="http://schemas.microsoft.com/office/drawing/2014/main" id="{853A7C02-33D9-B594-C22F-D1D6FB4AAB04}"/>
                </a:ext>
              </a:extLst>
            </p:cNvPr>
            <p:cNvSpPr/>
            <p:nvPr/>
          </p:nvSpPr>
          <p:spPr>
            <a:xfrm>
              <a:off x="7325264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4" name="Полілінія: фігура 233">
              <a:extLst>
                <a:ext uri="{FF2B5EF4-FFF2-40B4-BE49-F238E27FC236}">
                  <a16:creationId xmlns:a16="http://schemas.microsoft.com/office/drawing/2014/main" id="{BDC3E79C-F766-DBC0-74A7-0F90A7568A70}"/>
                </a:ext>
              </a:extLst>
            </p:cNvPr>
            <p:cNvSpPr/>
            <p:nvPr/>
          </p:nvSpPr>
          <p:spPr>
            <a:xfrm>
              <a:off x="7713452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5" name="Полілінія: фігура 234">
              <a:extLst>
                <a:ext uri="{FF2B5EF4-FFF2-40B4-BE49-F238E27FC236}">
                  <a16:creationId xmlns:a16="http://schemas.microsoft.com/office/drawing/2014/main" id="{5C708423-6D96-CDCF-D1A5-5F227A0D1E97}"/>
                </a:ext>
              </a:extLst>
            </p:cNvPr>
            <p:cNvSpPr/>
            <p:nvPr/>
          </p:nvSpPr>
          <p:spPr>
            <a:xfrm>
              <a:off x="7972245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6" name="Полілінія: фігура 235">
              <a:extLst>
                <a:ext uri="{FF2B5EF4-FFF2-40B4-BE49-F238E27FC236}">
                  <a16:creationId xmlns:a16="http://schemas.microsoft.com/office/drawing/2014/main" id="{F78B74D6-2D34-568D-A69C-3C47AC8F6E59}"/>
                </a:ext>
              </a:extLst>
            </p:cNvPr>
            <p:cNvSpPr/>
            <p:nvPr/>
          </p:nvSpPr>
          <p:spPr>
            <a:xfrm>
              <a:off x="8101641" y="116456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7" name="Полілінія: фігура 236">
              <a:extLst>
                <a:ext uri="{FF2B5EF4-FFF2-40B4-BE49-F238E27FC236}">
                  <a16:creationId xmlns:a16="http://schemas.microsoft.com/office/drawing/2014/main" id="{00D994C3-C2BC-904C-44F4-77B433DA63DA}"/>
                </a:ext>
              </a:extLst>
            </p:cNvPr>
            <p:cNvSpPr/>
            <p:nvPr/>
          </p:nvSpPr>
          <p:spPr>
            <a:xfrm>
              <a:off x="3313981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8" name="Полілінія: фігура 237">
              <a:extLst>
                <a:ext uri="{FF2B5EF4-FFF2-40B4-BE49-F238E27FC236}">
                  <a16:creationId xmlns:a16="http://schemas.microsoft.com/office/drawing/2014/main" id="{42D4B9FE-B7B1-570A-D400-9A00BFACD973}"/>
                </a:ext>
              </a:extLst>
            </p:cNvPr>
            <p:cNvSpPr/>
            <p:nvPr/>
          </p:nvSpPr>
          <p:spPr>
            <a:xfrm>
              <a:off x="3702169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39" name="Полілінія: фігура 238">
              <a:extLst>
                <a:ext uri="{FF2B5EF4-FFF2-40B4-BE49-F238E27FC236}">
                  <a16:creationId xmlns:a16="http://schemas.microsoft.com/office/drawing/2014/main" id="{B9538935-8F82-9008-D1E4-EB4188FAC6E0}"/>
                </a:ext>
              </a:extLst>
            </p:cNvPr>
            <p:cNvSpPr/>
            <p:nvPr/>
          </p:nvSpPr>
          <p:spPr>
            <a:xfrm>
              <a:off x="4090358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0" name="Полілінія: фігура 239">
              <a:extLst>
                <a:ext uri="{FF2B5EF4-FFF2-40B4-BE49-F238E27FC236}">
                  <a16:creationId xmlns:a16="http://schemas.microsoft.com/office/drawing/2014/main" id="{C8D69FD8-0914-BE9E-BB0B-F389FD3D458F}"/>
                </a:ext>
              </a:extLst>
            </p:cNvPr>
            <p:cNvSpPr/>
            <p:nvPr/>
          </p:nvSpPr>
          <p:spPr>
            <a:xfrm>
              <a:off x="4607943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1" name="Полілінія: фігура 240">
              <a:extLst>
                <a:ext uri="{FF2B5EF4-FFF2-40B4-BE49-F238E27FC236}">
                  <a16:creationId xmlns:a16="http://schemas.microsoft.com/office/drawing/2014/main" id="{BDBF96A0-59BB-0E59-25A4-42343DD37426}"/>
                </a:ext>
              </a:extLst>
            </p:cNvPr>
            <p:cNvSpPr/>
            <p:nvPr/>
          </p:nvSpPr>
          <p:spPr>
            <a:xfrm>
              <a:off x="4866735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2" name="Полілінія: фігура 241">
              <a:extLst>
                <a:ext uri="{FF2B5EF4-FFF2-40B4-BE49-F238E27FC236}">
                  <a16:creationId xmlns:a16="http://schemas.microsoft.com/office/drawing/2014/main" id="{FA2D7DEE-60AE-2A8F-BCD0-9E0B12E75CCD}"/>
                </a:ext>
              </a:extLst>
            </p:cNvPr>
            <p:cNvSpPr/>
            <p:nvPr/>
          </p:nvSpPr>
          <p:spPr>
            <a:xfrm>
              <a:off x="5125528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3" name="Полілінія: фігура 242">
              <a:extLst>
                <a:ext uri="{FF2B5EF4-FFF2-40B4-BE49-F238E27FC236}">
                  <a16:creationId xmlns:a16="http://schemas.microsoft.com/office/drawing/2014/main" id="{BDB17036-5099-B6AD-CAB6-9215CA977624}"/>
                </a:ext>
              </a:extLst>
            </p:cNvPr>
            <p:cNvSpPr/>
            <p:nvPr/>
          </p:nvSpPr>
          <p:spPr>
            <a:xfrm>
              <a:off x="5384320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4" name="Полілінія: фігура 243">
              <a:extLst>
                <a:ext uri="{FF2B5EF4-FFF2-40B4-BE49-F238E27FC236}">
                  <a16:creationId xmlns:a16="http://schemas.microsoft.com/office/drawing/2014/main" id="{E47F450F-1CAA-2753-341B-D84F7DA69D66}"/>
                </a:ext>
              </a:extLst>
            </p:cNvPr>
            <p:cNvSpPr/>
            <p:nvPr/>
          </p:nvSpPr>
          <p:spPr>
            <a:xfrm>
              <a:off x="5643113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5" name="Полілінія: фігура 244">
              <a:extLst>
                <a:ext uri="{FF2B5EF4-FFF2-40B4-BE49-F238E27FC236}">
                  <a16:creationId xmlns:a16="http://schemas.microsoft.com/office/drawing/2014/main" id="{9030F7C2-7D08-5B29-5BDA-774B7F105156}"/>
                </a:ext>
              </a:extLst>
            </p:cNvPr>
            <p:cNvSpPr/>
            <p:nvPr/>
          </p:nvSpPr>
          <p:spPr>
            <a:xfrm>
              <a:off x="5772509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6" name="Полілінія: фігура 245">
              <a:extLst>
                <a:ext uri="{FF2B5EF4-FFF2-40B4-BE49-F238E27FC236}">
                  <a16:creationId xmlns:a16="http://schemas.microsoft.com/office/drawing/2014/main" id="{33BCF289-C97F-4925-620A-06165A085A86}"/>
                </a:ext>
              </a:extLst>
            </p:cNvPr>
            <p:cNvSpPr/>
            <p:nvPr/>
          </p:nvSpPr>
          <p:spPr>
            <a:xfrm>
              <a:off x="5901905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7" name="Полілінія: фігура 246">
              <a:extLst>
                <a:ext uri="{FF2B5EF4-FFF2-40B4-BE49-F238E27FC236}">
                  <a16:creationId xmlns:a16="http://schemas.microsoft.com/office/drawing/2014/main" id="{920F68A4-EF79-882F-8C6E-E3CE59A63CE3}"/>
                </a:ext>
              </a:extLst>
            </p:cNvPr>
            <p:cNvSpPr/>
            <p:nvPr/>
          </p:nvSpPr>
          <p:spPr>
            <a:xfrm>
              <a:off x="6031301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8" name="Полілінія: фігура 247">
              <a:extLst>
                <a:ext uri="{FF2B5EF4-FFF2-40B4-BE49-F238E27FC236}">
                  <a16:creationId xmlns:a16="http://schemas.microsoft.com/office/drawing/2014/main" id="{072C22A9-EBD2-E8CD-5769-6ABAB8F548BD}"/>
                </a:ext>
              </a:extLst>
            </p:cNvPr>
            <p:cNvSpPr/>
            <p:nvPr/>
          </p:nvSpPr>
          <p:spPr>
            <a:xfrm>
              <a:off x="6160698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49" name="Полілінія: фігура 248">
              <a:extLst>
                <a:ext uri="{FF2B5EF4-FFF2-40B4-BE49-F238E27FC236}">
                  <a16:creationId xmlns:a16="http://schemas.microsoft.com/office/drawing/2014/main" id="{364ADCB7-AE05-1C85-9C01-C04F0D5A71D4}"/>
                </a:ext>
              </a:extLst>
            </p:cNvPr>
            <p:cNvSpPr/>
            <p:nvPr/>
          </p:nvSpPr>
          <p:spPr>
            <a:xfrm>
              <a:off x="6290094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0" name="Полілінія: фігура 249">
              <a:extLst>
                <a:ext uri="{FF2B5EF4-FFF2-40B4-BE49-F238E27FC236}">
                  <a16:creationId xmlns:a16="http://schemas.microsoft.com/office/drawing/2014/main" id="{F0974BFF-48A9-F327-6C4D-7FB24E8023DF}"/>
                </a:ext>
              </a:extLst>
            </p:cNvPr>
            <p:cNvSpPr/>
            <p:nvPr/>
          </p:nvSpPr>
          <p:spPr>
            <a:xfrm>
              <a:off x="6419490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1" name="Полілінія: фігура 250">
              <a:extLst>
                <a:ext uri="{FF2B5EF4-FFF2-40B4-BE49-F238E27FC236}">
                  <a16:creationId xmlns:a16="http://schemas.microsoft.com/office/drawing/2014/main" id="{51FC2088-1376-8BD3-B677-E828709A3C8F}"/>
                </a:ext>
              </a:extLst>
            </p:cNvPr>
            <p:cNvSpPr/>
            <p:nvPr/>
          </p:nvSpPr>
          <p:spPr>
            <a:xfrm>
              <a:off x="6678283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2" name="Полілінія: фігура 251">
              <a:extLst>
                <a:ext uri="{FF2B5EF4-FFF2-40B4-BE49-F238E27FC236}">
                  <a16:creationId xmlns:a16="http://schemas.microsoft.com/office/drawing/2014/main" id="{1BF3AB71-1D64-B63C-6BB1-F9A2E5FA21C3}"/>
                </a:ext>
              </a:extLst>
            </p:cNvPr>
            <p:cNvSpPr/>
            <p:nvPr/>
          </p:nvSpPr>
          <p:spPr>
            <a:xfrm>
              <a:off x="7454660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3" name="Полілінія: фігура 252">
              <a:extLst>
                <a:ext uri="{FF2B5EF4-FFF2-40B4-BE49-F238E27FC236}">
                  <a16:creationId xmlns:a16="http://schemas.microsoft.com/office/drawing/2014/main" id="{FB498F5D-D421-EC81-B56B-D388DFC2424F}"/>
                </a:ext>
              </a:extLst>
            </p:cNvPr>
            <p:cNvSpPr/>
            <p:nvPr/>
          </p:nvSpPr>
          <p:spPr>
            <a:xfrm>
              <a:off x="7584056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4" name="Полілінія: фігура 253">
              <a:extLst>
                <a:ext uri="{FF2B5EF4-FFF2-40B4-BE49-F238E27FC236}">
                  <a16:creationId xmlns:a16="http://schemas.microsoft.com/office/drawing/2014/main" id="{662A3B78-D72F-FEAC-6622-B99A007A0E03}"/>
                </a:ext>
              </a:extLst>
            </p:cNvPr>
            <p:cNvSpPr/>
            <p:nvPr/>
          </p:nvSpPr>
          <p:spPr>
            <a:xfrm>
              <a:off x="7842849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5" name="Полілінія: фігура 254">
              <a:extLst>
                <a:ext uri="{FF2B5EF4-FFF2-40B4-BE49-F238E27FC236}">
                  <a16:creationId xmlns:a16="http://schemas.microsoft.com/office/drawing/2014/main" id="{BD5B141B-C544-C867-A8D2-1E2116280673}"/>
                </a:ext>
              </a:extLst>
            </p:cNvPr>
            <p:cNvSpPr/>
            <p:nvPr/>
          </p:nvSpPr>
          <p:spPr>
            <a:xfrm>
              <a:off x="7972245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6" name="Полілінія: фігура 255">
              <a:extLst>
                <a:ext uri="{FF2B5EF4-FFF2-40B4-BE49-F238E27FC236}">
                  <a16:creationId xmlns:a16="http://schemas.microsoft.com/office/drawing/2014/main" id="{3EE82DDF-F715-D13A-5786-14E9DD5CDA71}"/>
                </a:ext>
              </a:extLst>
            </p:cNvPr>
            <p:cNvSpPr/>
            <p:nvPr/>
          </p:nvSpPr>
          <p:spPr>
            <a:xfrm>
              <a:off x="8101641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7" name="Полілінія: фігура 256">
              <a:extLst>
                <a:ext uri="{FF2B5EF4-FFF2-40B4-BE49-F238E27FC236}">
                  <a16:creationId xmlns:a16="http://schemas.microsoft.com/office/drawing/2014/main" id="{74D9093D-D0D4-2B84-4D0B-6AB50684E104}"/>
                </a:ext>
              </a:extLst>
            </p:cNvPr>
            <p:cNvSpPr/>
            <p:nvPr/>
          </p:nvSpPr>
          <p:spPr>
            <a:xfrm>
              <a:off x="8489830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8" name="Полілінія: фігура 257">
              <a:extLst>
                <a:ext uri="{FF2B5EF4-FFF2-40B4-BE49-F238E27FC236}">
                  <a16:creationId xmlns:a16="http://schemas.microsoft.com/office/drawing/2014/main" id="{7ABE3BC5-E117-4314-BFBB-5C70AC90655C}"/>
                </a:ext>
              </a:extLst>
            </p:cNvPr>
            <p:cNvSpPr/>
            <p:nvPr/>
          </p:nvSpPr>
          <p:spPr>
            <a:xfrm>
              <a:off x="8619226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59" name="Полілінія: фігура 258">
              <a:extLst>
                <a:ext uri="{FF2B5EF4-FFF2-40B4-BE49-F238E27FC236}">
                  <a16:creationId xmlns:a16="http://schemas.microsoft.com/office/drawing/2014/main" id="{863A7963-1E89-D273-641D-087E6F2E4F7D}"/>
                </a:ext>
              </a:extLst>
            </p:cNvPr>
            <p:cNvSpPr/>
            <p:nvPr/>
          </p:nvSpPr>
          <p:spPr>
            <a:xfrm>
              <a:off x="8748622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0" name="Полілінія: фігура 259">
              <a:extLst>
                <a:ext uri="{FF2B5EF4-FFF2-40B4-BE49-F238E27FC236}">
                  <a16:creationId xmlns:a16="http://schemas.microsoft.com/office/drawing/2014/main" id="{4B2BC265-E56D-9172-1BDF-07314CF85ABF}"/>
                </a:ext>
              </a:extLst>
            </p:cNvPr>
            <p:cNvSpPr/>
            <p:nvPr/>
          </p:nvSpPr>
          <p:spPr>
            <a:xfrm>
              <a:off x="9007415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1" name="Полілінія: фігура 260">
              <a:extLst>
                <a:ext uri="{FF2B5EF4-FFF2-40B4-BE49-F238E27FC236}">
                  <a16:creationId xmlns:a16="http://schemas.microsoft.com/office/drawing/2014/main" id="{1D9EB8C0-1C25-FB49-3EAD-3015060A3C15}"/>
                </a:ext>
              </a:extLst>
            </p:cNvPr>
            <p:cNvSpPr/>
            <p:nvPr/>
          </p:nvSpPr>
          <p:spPr>
            <a:xfrm>
              <a:off x="9136811" y="129396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2" name="Полілінія: фігура 261">
              <a:extLst>
                <a:ext uri="{FF2B5EF4-FFF2-40B4-BE49-F238E27FC236}">
                  <a16:creationId xmlns:a16="http://schemas.microsoft.com/office/drawing/2014/main" id="{4EB572B7-54D0-57EF-7CAD-5C47D7FA0A69}"/>
                </a:ext>
              </a:extLst>
            </p:cNvPr>
            <p:cNvSpPr/>
            <p:nvPr/>
          </p:nvSpPr>
          <p:spPr>
            <a:xfrm>
              <a:off x="3055188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3" name="Полілінія: фігура 262">
              <a:extLst>
                <a:ext uri="{FF2B5EF4-FFF2-40B4-BE49-F238E27FC236}">
                  <a16:creationId xmlns:a16="http://schemas.microsoft.com/office/drawing/2014/main" id="{CD00D539-6DED-6E4D-D5EB-178551C3CC06}"/>
                </a:ext>
              </a:extLst>
            </p:cNvPr>
            <p:cNvSpPr/>
            <p:nvPr/>
          </p:nvSpPr>
          <p:spPr>
            <a:xfrm>
              <a:off x="3184584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4" name="Полілінія: фігура 263">
              <a:extLst>
                <a:ext uri="{FF2B5EF4-FFF2-40B4-BE49-F238E27FC236}">
                  <a16:creationId xmlns:a16="http://schemas.microsoft.com/office/drawing/2014/main" id="{F365F997-E1B0-5FA5-E0F2-7BDFC2A50A15}"/>
                </a:ext>
              </a:extLst>
            </p:cNvPr>
            <p:cNvSpPr/>
            <p:nvPr/>
          </p:nvSpPr>
          <p:spPr>
            <a:xfrm>
              <a:off x="3313981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5" name="Полілінія: фігура 264">
              <a:extLst>
                <a:ext uri="{FF2B5EF4-FFF2-40B4-BE49-F238E27FC236}">
                  <a16:creationId xmlns:a16="http://schemas.microsoft.com/office/drawing/2014/main" id="{C176C1C8-E58B-A904-CFC1-DE9B2773B49F}"/>
                </a:ext>
              </a:extLst>
            </p:cNvPr>
            <p:cNvSpPr/>
            <p:nvPr/>
          </p:nvSpPr>
          <p:spPr>
            <a:xfrm>
              <a:off x="3831566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6" name="Полілінія: фігура 265">
              <a:extLst>
                <a:ext uri="{FF2B5EF4-FFF2-40B4-BE49-F238E27FC236}">
                  <a16:creationId xmlns:a16="http://schemas.microsoft.com/office/drawing/2014/main" id="{43F67956-7ECD-E6D1-C413-5FB02E1A7FEE}"/>
                </a:ext>
              </a:extLst>
            </p:cNvPr>
            <p:cNvSpPr/>
            <p:nvPr/>
          </p:nvSpPr>
          <p:spPr>
            <a:xfrm>
              <a:off x="3960962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7" name="Полілінія: фігура 266">
              <a:extLst>
                <a:ext uri="{FF2B5EF4-FFF2-40B4-BE49-F238E27FC236}">
                  <a16:creationId xmlns:a16="http://schemas.microsoft.com/office/drawing/2014/main" id="{FB49B271-2216-2C19-5B1E-1D6789A3D297}"/>
                </a:ext>
              </a:extLst>
            </p:cNvPr>
            <p:cNvSpPr/>
            <p:nvPr/>
          </p:nvSpPr>
          <p:spPr>
            <a:xfrm>
              <a:off x="4219754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8" name="Полілінія: фігура 267">
              <a:extLst>
                <a:ext uri="{FF2B5EF4-FFF2-40B4-BE49-F238E27FC236}">
                  <a16:creationId xmlns:a16="http://schemas.microsoft.com/office/drawing/2014/main" id="{AAB8A469-FB00-011E-8A9F-1ABFCD7CEDED}"/>
                </a:ext>
              </a:extLst>
            </p:cNvPr>
            <p:cNvSpPr/>
            <p:nvPr/>
          </p:nvSpPr>
          <p:spPr>
            <a:xfrm>
              <a:off x="4349150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69" name="Полілінія: фігура 268">
              <a:extLst>
                <a:ext uri="{FF2B5EF4-FFF2-40B4-BE49-F238E27FC236}">
                  <a16:creationId xmlns:a16="http://schemas.microsoft.com/office/drawing/2014/main" id="{CA306FA1-2853-FC1D-474E-D8C91F7650C3}"/>
                </a:ext>
              </a:extLst>
            </p:cNvPr>
            <p:cNvSpPr/>
            <p:nvPr/>
          </p:nvSpPr>
          <p:spPr>
            <a:xfrm>
              <a:off x="5125528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0" name="Полілінія: фігура 269">
              <a:extLst>
                <a:ext uri="{FF2B5EF4-FFF2-40B4-BE49-F238E27FC236}">
                  <a16:creationId xmlns:a16="http://schemas.microsoft.com/office/drawing/2014/main" id="{282B0A65-7C7B-58BE-8590-AEF3AD7BE1D1}"/>
                </a:ext>
              </a:extLst>
            </p:cNvPr>
            <p:cNvSpPr/>
            <p:nvPr/>
          </p:nvSpPr>
          <p:spPr>
            <a:xfrm>
              <a:off x="5254924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1" name="Полілінія: фігура 270">
              <a:extLst>
                <a:ext uri="{FF2B5EF4-FFF2-40B4-BE49-F238E27FC236}">
                  <a16:creationId xmlns:a16="http://schemas.microsoft.com/office/drawing/2014/main" id="{2236ABDA-0721-CE35-0A42-2993A07C83D7}"/>
                </a:ext>
              </a:extLst>
            </p:cNvPr>
            <p:cNvSpPr/>
            <p:nvPr/>
          </p:nvSpPr>
          <p:spPr>
            <a:xfrm>
              <a:off x="5384320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2" name="Полілінія: фігура 271">
              <a:extLst>
                <a:ext uri="{FF2B5EF4-FFF2-40B4-BE49-F238E27FC236}">
                  <a16:creationId xmlns:a16="http://schemas.microsoft.com/office/drawing/2014/main" id="{109FFA40-0752-989A-E53E-9C7166B7009C}"/>
                </a:ext>
              </a:extLst>
            </p:cNvPr>
            <p:cNvSpPr/>
            <p:nvPr/>
          </p:nvSpPr>
          <p:spPr>
            <a:xfrm>
              <a:off x="5772509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3" name="Полілінія: фігура 272">
              <a:extLst>
                <a:ext uri="{FF2B5EF4-FFF2-40B4-BE49-F238E27FC236}">
                  <a16:creationId xmlns:a16="http://schemas.microsoft.com/office/drawing/2014/main" id="{742F65AB-183A-6B3D-94BC-53F3A81D561D}"/>
                </a:ext>
              </a:extLst>
            </p:cNvPr>
            <p:cNvSpPr/>
            <p:nvPr/>
          </p:nvSpPr>
          <p:spPr>
            <a:xfrm>
              <a:off x="5901905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4" name="Полілінія: фігура 273">
              <a:extLst>
                <a:ext uri="{FF2B5EF4-FFF2-40B4-BE49-F238E27FC236}">
                  <a16:creationId xmlns:a16="http://schemas.microsoft.com/office/drawing/2014/main" id="{DA4C1FFE-087A-AA2B-EC66-8C87DB1D4542}"/>
                </a:ext>
              </a:extLst>
            </p:cNvPr>
            <p:cNvSpPr/>
            <p:nvPr/>
          </p:nvSpPr>
          <p:spPr>
            <a:xfrm>
              <a:off x="6031301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5" name="Полілінія: фігура 274">
              <a:extLst>
                <a:ext uri="{FF2B5EF4-FFF2-40B4-BE49-F238E27FC236}">
                  <a16:creationId xmlns:a16="http://schemas.microsoft.com/office/drawing/2014/main" id="{80951270-E154-B04D-36C6-8FBEB9E9BB6A}"/>
                </a:ext>
              </a:extLst>
            </p:cNvPr>
            <p:cNvSpPr/>
            <p:nvPr/>
          </p:nvSpPr>
          <p:spPr>
            <a:xfrm>
              <a:off x="6419490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6" name="Полілінія: фігура 275">
              <a:extLst>
                <a:ext uri="{FF2B5EF4-FFF2-40B4-BE49-F238E27FC236}">
                  <a16:creationId xmlns:a16="http://schemas.microsoft.com/office/drawing/2014/main" id="{A8DE547D-5304-7579-E6CD-84F9FBF91754}"/>
                </a:ext>
              </a:extLst>
            </p:cNvPr>
            <p:cNvSpPr/>
            <p:nvPr/>
          </p:nvSpPr>
          <p:spPr>
            <a:xfrm>
              <a:off x="7066471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7" name="Полілінія: фігура 276">
              <a:extLst>
                <a:ext uri="{FF2B5EF4-FFF2-40B4-BE49-F238E27FC236}">
                  <a16:creationId xmlns:a16="http://schemas.microsoft.com/office/drawing/2014/main" id="{4DCD06DA-D3AF-AA5D-D6AE-CA03F1146B3F}"/>
                </a:ext>
              </a:extLst>
            </p:cNvPr>
            <p:cNvSpPr/>
            <p:nvPr/>
          </p:nvSpPr>
          <p:spPr>
            <a:xfrm>
              <a:off x="7325264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8" name="Полілінія: фігура 277">
              <a:extLst>
                <a:ext uri="{FF2B5EF4-FFF2-40B4-BE49-F238E27FC236}">
                  <a16:creationId xmlns:a16="http://schemas.microsoft.com/office/drawing/2014/main" id="{79C07B2E-56AA-FD05-09A8-2E4D630D9F86}"/>
                </a:ext>
              </a:extLst>
            </p:cNvPr>
            <p:cNvSpPr/>
            <p:nvPr/>
          </p:nvSpPr>
          <p:spPr>
            <a:xfrm>
              <a:off x="7842849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79" name="Полілінія: фігура 278">
              <a:extLst>
                <a:ext uri="{FF2B5EF4-FFF2-40B4-BE49-F238E27FC236}">
                  <a16:creationId xmlns:a16="http://schemas.microsoft.com/office/drawing/2014/main" id="{B91E3F67-3C6A-4DDF-6DD3-DC770F7F426E}"/>
                </a:ext>
              </a:extLst>
            </p:cNvPr>
            <p:cNvSpPr/>
            <p:nvPr/>
          </p:nvSpPr>
          <p:spPr>
            <a:xfrm>
              <a:off x="8101641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0" name="Полілінія: фігура 279">
              <a:extLst>
                <a:ext uri="{FF2B5EF4-FFF2-40B4-BE49-F238E27FC236}">
                  <a16:creationId xmlns:a16="http://schemas.microsoft.com/office/drawing/2014/main" id="{94B65EB4-9CDC-B970-BF4D-E1FA475F97F0}"/>
                </a:ext>
              </a:extLst>
            </p:cNvPr>
            <p:cNvSpPr/>
            <p:nvPr/>
          </p:nvSpPr>
          <p:spPr>
            <a:xfrm>
              <a:off x="8231037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1" name="Полілінія: фігура 280">
              <a:extLst>
                <a:ext uri="{FF2B5EF4-FFF2-40B4-BE49-F238E27FC236}">
                  <a16:creationId xmlns:a16="http://schemas.microsoft.com/office/drawing/2014/main" id="{8374A373-BC7E-4087-4474-3BF552DD47FC}"/>
                </a:ext>
              </a:extLst>
            </p:cNvPr>
            <p:cNvSpPr/>
            <p:nvPr/>
          </p:nvSpPr>
          <p:spPr>
            <a:xfrm>
              <a:off x="8360433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2" name="Полілінія: фігура 281">
              <a:extLst>
                <a:ext uri="{FF2B5EF4-FFF2-40B4-BE49-F238E27FC236}">
                  <a16:creationId xmlns:a16="http://schemas.microsoft.com/office/drawing/2014/main" id="{A9E9948B-9CF4-AAF2-EE6F-3A9A413B26B0}"/>
                </a:ext>
              </a:extLst>
            </p:cNvPr>
            <p:cNvSpPr/>
            <p:nvPr/>
          </p:nvSpPr>
          <p:spPr>
            <a:xfrm>
              <a:off x="8619226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3" name="Полілінія: фігура 282">
              <a:extLst>
                <a:ext uri="{FF2B5EF4-FFF2-40B4-BE49-F238E27FC236}">
                  <a16:creationId xmlns:a16="http://schemas.microsoft.com/office/drawing/2014/main" id="{E2DB23BF-327C-F182-E6CA-30A4EF3416A4}"/>
                </a:ext>
              </a:extLst>
            </p:cNvPr>
            <p:cNvSpPr/>
            <p:nvPr/>
          </p:nvSpPr>
          <p:spPr>
            <a:xfrm>
              <a:off x="8748622" y="142335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4" name="Полілінія: фігура 283">
              <a:extLst>
                <a:ext uri="{FF2B5EF4-FFF2-40B4-BE49-F238E27FC236}">
                  <a16:creationId xmlns:a16="http://schemas.microsoft.com/office/drawing/2014/main" id="{9A283B9A-B1D4-CD7F-7FB2-AC34F1CA28B0}"/>
                </a:ext>
              </a:extLst>
            </p:cNvPr>
            <p:cNvSpPr/>
            <p:nvPr/>
          </p:nvSpPr>
          <p:spPr>
            <a:xfrm>
              <a:off x="2925792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5" name="Полілінія: фігура 284">
              <a:extLst>
                <a:ext uri="{FF2B5EF4-FFF2-40B4-BE49-F238E27FC236}">
                  <a16:creationId xmlns:a16="http://schemas.microsoft.com/office/drawing/2014/main" id="{CE35DCCD-0849-8971-04FB-8C04E1CADD44}"/>
                </a:ext>
              </a:extLst>
            </p:cNvPr>
            <p:cNvSpPr/>
            <p:nvPr/>
          </p:nvSpPr>
          <p:spPr>
            <a:xfrm>
              <a:off x="3055188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6" name="Полілінія: фігура 285">
              <a:extLst>
                <a:ext uri="{FF2B5EF4-FFF2-40B4-BE49-F238E27FC236}">
                  <a16:creationId xmlns:a16="http://schemas.microsoft.com/office/drawing/2014/main" id="{343F8A2E-ABDC-E1E4-80C0-B08FB4BAE740}"/>
                </a:ext>
              </a:extLst>
            </p:cNvPr>
            <p:cNvSpPr/>
            <p:nvPr/>
          </p:nvSpPr>
          <p:spPr>
            <a:xfrm>
              <a:off x="3313981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7" name="Полілінія: фігура 286">
              <a:extLst>
                <a:ext uri="{FF2B5EF4-FFF2-40B4-BE49-F238E27FC236}">
                  <a16:creationId xmlns:a16="http://schemas.microsoft.com/office/drawing/2014/main" id="{2DB2E9B6-A1B5-3453-F982-D1AA55FC3C50}"/>
                </a:ext>
              </a:extLst>
            </p:cNvPr>
            <p:cNvSpPr/>
            <p:nvPr/>
          </p:nvSpPr>
          <p:spPr>
            <a:xfrm>
              <a:off x="3443377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8" name="Полілінія: фігура 287">
              <a:extLst>
                <a:ext uri="{FF2B5EF4-FFF2-40B4-BE49-F238E27FC236}">
                  <a16:creationId xmlns:a16="http://schemas.microsoft.com/office/drawing/2014/main" id="{9A232483-C153-BB97-0CDC-1DA481953219}"/>
                </a:ext>
              </a:extLst>
            </p:cNvPr>
            <p:cNvSpPr/>
            <p:nvPr/>
          </p:nvSpPr>
          <p:spPr>
            <a:xfrm>
              <a:off x="3572773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89" name="Полілінія: фігура 288">
              <a:extLst>
                <a:ext uri="{FF2B5EF4-FFF2-40B4-BE49-F238E27FC236}">
                  <a16:creationId xmlns:a16="http://schemas.microsoft.com/office/drawing/2014/main" id="{91999068-C514-F3A9-EB0C-412652263308}"/>
                </a:ext>
              </a:extLst>
            </p:cNvPr>
            <p:cNvSpPr/>
            <p:nvPr/>
          </p:nvSpPr>
          <p:spPr>
            <a:xfrm>
              <a:off x="3702169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0" name="Полілінія: фігура 289">
              <a:extLst>
                <a:ext uri="{FF2B5EF4-FFF2-40B4-BE49-F238E27FC236}">
                  <a16:creationId xmlns:a16="http://schemas.microsoft.com/office/drawing/2014/main" id="{59F55C82-881C-91D3-AB80-E9CFEDB6189B}"/>
                </a:ext>
              </a:extLst>
            </p:cNvPr>
            <p:cNvSpPr/>
            <p:nvPr/>
          </p:nvSpPr>
          <p:spPr>
            <a:xfrm>
              <a:off x="3831566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1" name="Полілінія: фігура 290">
              <a:extLst>
                <a:ext uri="{FF2B5EF4-FFF2-40B4-BE49-F238E27FC236}">
                  <a16:creationId xmlns:a16="http://schemas.microsoft.com/office/drawing/2014/main" id="{4B269A75-18E1-0114-1475-780E96488B18}"/>
                </a:ext>
              </a:extLst>
            </p:cNvPr>
            <p:cNvSpPr/>
            <p:nvPr/>
          </p:nvSpPr>
          <p:spPr>
            <a:xfrm>
              <a:off x="4090358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2" name="Полілінія: фігура 291">
              <a:extLst>
                <a:ext uri="{FF2B5EF4-FFF2-40B4-BE49-F238E27FC236}">
                  <a16:creationId xmlns:a16="http://schemas.microsoft.com/office/drawing/2014/main" id="{2ED7103C-C80D-DA2C-9540-7D8D2431EC62}"/>
                </a:ext>
              </a:extLst>
            </p:cNvPr>
            <p:cNvSpPr/>
            <p:nvPr/>
          </p:nvSpPr>
          <p:spPr>
            <a:xfrm>
              <a:off x="4478547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3" name="Полілінія: фігура 292">
              <a:extLst>
                <a:ext uri="{FF2B5EF4-FFF2-40B4-BE49-F238E27FC236}">
                  <a16:creationId xmlns:a16="http://schemas.microsoft.com/office/drawing/2014/main" id="{7753D4AE-3FD2-7C9E-CD46-E1D12D6C3031}"/>
                </a:ext>
              </a:extLst>
            </p:cNvPr>
            <p:cNvSpPr/>
            <p:nvPr/>
          </p:nvSpPr>
          <p:spPr>
            <a:xfrm>
              <a:off x="5125528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4" name="Полілінія: фігура 293">
              <a:extLst>
                <a:ext uri="{FF2B5EF4-FFF2-40B4-BE49-F238E27FC236}">
                  <a16:creationId xmlns:a16="http://schemas.microsoft.com/office/drawing/2014/main" id="{C26919A7-5A71-1271-6B02-B27911B40DD3}"/>
                </a:ext>
              </a:extLst>
            </p:cNvPr>
            <p:cNvSpPr/>
            <p:nvPr/>
          </p:nvSpPr>
          <p:spPr>
            <a:xfrm>
              <a:off x="5384320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5" name="Полілінія: фігура 294">
              <a:extLst>
                <a:ext uri="{FF2B5EF4-FFF2-40B4-BE49-F238E27FC236}">
                  <a16:creationId xmlns:a16="http://schemas.microsoft.com/office/drawing/2014/main" id="{07B48A68-7686-B703-CC7D-80AF76FAEC32}"/>
                </a:ext>
              </a:extLst>
            </p:cNvPr>
            <p:cNvSpPr/>
            <p:nvPr/>
          </p:nvSpPr>
          <p:spPr>
            <a:xfrm>
              <a:off x="5513716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6" name="Полілінія: фігура 295">
              <a:extLst>
                <a:ext uri="{FF2B5EF4-FFF2-40B4-BE49-F238E27FC236}">
                  <a16:creationId xmlns:a16="http://schemas.microsoft.com/office/drawing/2014/main" id="{631087C6-423C-0227-285A-0F46929CA0E3}"/>
                </a:ext>
              </a:extLst>
            </p:cNvPr>
            <p:cNvSpPr/>
            <p:nvPr/>
          </p:nvSpPr>
          <p:spPr>
            <a:xfrm>
              <a:off x="5901905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7" name="Полілінія: фігура 296">
              <a:extLst>
                <a:ext uri="{FF2B5EF4-FFF2-40B4-BE49-F238E27FC236}">
                  <a16:creationId xmlns:a16="http://schemas.microsoft.com/office/drawing/2014/main" id="{23CAA955-EFF4-098B-5AE2-5DC9563BD142}"/>
                </a:ext>
              </a:extLst>
            </p:cNvPr>
            <p:cNvSpPr/>
            <p:nvPr/>
          </p:nvSpPr>
          <p:spPr>
            <a:xfrm>
              <a:off x="6031301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8" name="Полілінія: фігура 297">
              <a:extLst>
                <a:ext uri="{FF2B5EF4-FFF2-40B4-BE49-F238E27FC236}">
                  <a16:creationId xmlns:a16="http://schemas.microsoft.com/office/drawing/2014/main" id="{91330EA7-325C-AA8F-DD64-9AC28A2D07B7}"/>
                </a:ext>
              </a:extLst>
            </p:cNvPr>
            <p:cNvSpPr/>
            <p:nvPr/>
          </p:nvSpPr>
          <p:spPr>
            <a:xfrm>
              <a:off x="6290094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299" name="Полілінія: фігура 298">
              <a:extLst>
                <a:ext uri="{FF2B5EF4-FFF2-40B4-BE49-F238E27FC236}">
                  <a16:creationId xmlns:a16="http://schemas.microsoft.com/office/drawing/2014/main" id="{41668F10-58E3-2D4E-92F8-1CBA98FF70F1}"/>
                </a:ext>
              </a:extLst>
            </p:cNvPr>
            <p:cNvSpPr/>
            <p:nvPr/>
          </p:nvSpPr>
          <p:spPr>
            <a:xfrm>
              <a:off x="6419490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0" name="Полілінія: фігура 299">
              <a:extLst>
                <a:ext uri="{FF2B5EF4-FFF2-40B4-BE49-F238E27FC236}">
                  <a16:creationId xmlns:a16="http://schemas.microsoft.com/office/drawing/2014/main" id="{A3971C5D-61F7-EDD9-E0E5-7991753A7099}"/>
                </a:ext>
              </a:extLst>
            </p:cNvPr>
            <p:cNvSpPr/>
            <p:nvPr/>
          </p:nvSpPr>
          <p:spPr>
            <a:xfrm>
              <a:off x="6548886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1" name="Полілінія: фігура 300">
              <a:extLst>
                <a:ext uri="{FF2B5EF4-FFF2-40B4-BE49-F238E27FC236}">
                  <a16:creationId xmlns:a16="http://schemas.microsoft.com/office/drawing/2014/main" id="{777DC846-CC66-5903-9461-1FB2667585A2}"/>
                </a:ext>
              </a:extLst>
            </p:cNvPr>
            <p:cNvSpPr/>
            <p:nvPr/>
          </p:nvSpPr>
          <p:spPr>
            <a:xfrm>
              <a:off x="6678283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2" name="Полілінія: фігура 301">
              <a:extLst>
                <a:ext uri="{FF2B5EF4-FFF2-40B4-BE49-F238E27FC236}">
                  <a16:creationId xmlns:a16="http://schemas.microsoft.com/office/drawing/2014/main" id="{0B0039F8-B0DD-E38D-80AB-6974C4535CED}"/>
                </a:ext>
              </a:extLst>
            </p:cNvPr>
            <p:cNvSpPr/>
            <p:nvPr/>
          </p:nvSpPr>
          <p:spPr>
            <a:xfrm>
              <a:off x="6807679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3" name="Полілінія: фігура 302">
              <a:extLst>
                <a:ext uri="{FF2B5EF4-FFF2-40B4-BE49-F238E27FC236}">
                  <a16:creationId xmlns:a16="http://schemas.microsoft.com/office/drawing/2014/main" id="{01F3950C-5E74-0986-828A-275B72F99423}"/>
                </a:ext>
              </a:extLst>
            </p:cNvPr>
            <p:cNvSpPr/>
            <p:nvPr/>
          </p:nvSpPr>
          <p:spPr>
            <a:xfrm>
              <a:off x="6937075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4" name="Полілінія: фігура 303">
              <a:extLst>
                <a:ext uri="{FF2B5EF4-FFF2-40B4-BE49-F238E27FC236}">
                  <a16:creationId xmlns:a16="http://schemas.microsoft.com/office/drawing/2014/main" id="{5915F51F-C056-359E-8515-A016E0945772}"/>
                </a:ext>
              </a:extLst>
            </p:cNvPr>
            <p:cNvSpPr/>
            <p:nvPr/>
          </p:nvSpPr>
          <p:spPr>
            <a:xfrm>
              <a:off x="7325264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5" name="Полілінія: фігура 304">
              <a:extLst>
                <a:ext uri="{FF2B5EF4-FFF2-40B4-BE49-F238E27FC236}">
                  <a16:creationId xmlns:a16="http://schemas.microsoft.com/office/drawing/2014/main" id="{A219575C-76F7-3BA6-02AA-B0DBDAB704CA}"/>
                </a:ext>
              </a:extLst>
            </p:cNvPr>
            <p:cNvSpPr/>
            <p:nvPr/>
          </p:nvSpPr>
          <p:spPr>
            <a:xfrm>
              <a:off x="7584056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6" name="Полілінія: фігура 305">
              <a:extLst>
                <a:ext uri="{FF2B5EF4-FFF2-40B4-BE49-F238E27FC236}">
                  <a16:creationId xmlns:a16="http://schemas.microsoft.com/office/drawing/2014/main" id="{DAA662A6-84FA-3636-3828-1920EE3DAAAA}"/>
                </a:ext>
              </a:extLst>
            </p:cNvPr>
            <p:cNvSpPr/>
            <p:nvPr/>
          </p:nvSpPr>
          <p:spPr>
            <a:xfrm>
              <a:off x="8101641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7" name="Полілінія: фігура 306">
              <a:extLst>
                <a:ext uri="{FF2B5EF4-FFF2-40B4-BE49-F238E27FC236}">
                  <a16:creationId xmlns:a16="http://schemas.microsoft.com/office/drawing/2014/main" id="{74ECE0C4-ADDB-06DD-F0CF-94FF0A4F1C19}"/>
                </a:ext>
              </a:extLst>
            </p:cNvPr>
            <p:cNvSpPr/>
            <p:nvPr/>
          </p:nvSpPr>
          <p:spPr>
            <a:xfrm>
              <a:off x="8231037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8" name="Полілінія: фігура 307">
              <a:extLst>
                <a:ext uri="{FF2B5EF4-FFF2-40B4-BE49-F238E27FC236}">
                  <a16:creationId xmlns:a16="http://schemas.microsoft.com/office/drawing/2014/main" id="{A1318A74-CEFA-9578-A401-141C1C7BC948}"/>
                </a:ext>
              </a:extLst>
            </p:cNvPr>
            <p:cNvSpPr/>
            <p:nvPr/>
          </p:nvSpPr>
          <p:spPr>
            <a:xfrm>
              <a:off x="8360433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09" name="Полілінія: фігура 308">
              <a:extLst>
                <a:ext uri="{FF2B5EF4-FFF2-40B4-BE49-F238E27FC236}">
                  <a16:creationId xmlns:a16="http://schemas.microsoft.com/office/drawing/2014/main" id="{8722A9B7-BB2A-EEF4-2B80-4C5A2207D06A}"/>
                </a:ext>
              </a:extLst>
            </p:cNvPr>
            <p:cNvSpPr/>
            <p:nvPr/>
          </p:nvSpPr>
          <p:spPr>
            <a:xfrm>
              <a:off x="8619226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0" name="Полілінія: фігура 309">
              <a:extLst>
                <a:ext uri="{FF2B5EF4-FFF2-40B4-BE49-F238E27FC236}">
                  <a16:creationId xmlns:a16="http://schemas.microsoft.com/office/drawing/2014/main" id="{04C850E8-97FE-BE2D-C941-96D534F0C38F}"/>
                </a:ext>
              </a:extLst>
            </p:cNvPr>
            <p:cNvSpPr/>
            <p:nvPr/>
          </p:nvSpPr>
          <p:spPr>
            <a:xfrm>
              <a:off x="8878018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1" name="Полілінія: фігура 310">
              <a:extLst>
                <a:ext uri="{FF2B5EF4-FFF2-40B4-BE49-F238E27FC236}">
                  <a16:creationId xmlns:a16="http://schemas.microsoft.com/office/drawing/2014/main" id="{ED609F10-B8F0-EC54-D832-04AD3097513B}"/>
                </a:ext>
              </a:extLst>
            </p:cNvPr>
            <p:cNvSpPr/>
            <p:nvPr/>
          </p:nvSpPr>
          <p:spPr>
            <a:xfrm>
              <a:off x="9007415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2" name="Полілінія: фігура 311">
              <a:extLst>
                <a:ext uri="{FF2B5EF4-FFF2-40B4-BE49-F238E27FC236}">
                  <a16:creationId xmlns:a16="http://schemas.microsoft.com/office/drawing/2014/main" id="{73736CB1-04F8-067B-D085-78E8C0D6CB2B}"/>
                </a:ext>
              </a:extLst>
            </p:cNvPr>
            <p:cNvSpPr/>
            <p:nvPr/>
          </p:nvSpPr>
          <p:spPr>
            <a:xfrm>
              <a:off x="9136811" y="155275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3" name="Полілінія: фігура 312">
              <a:extLst>
                <a:ext uri="{FF2B5EF4-FFF2-40B4-BE49-F238E27FC236}">
                  <a16:creationId xmlns:a16="http://schemas.microsoft.com/office/drawing/2014/main" id="{7BB5E687-9C4F-5E4C-DA46-E79CCB6EB087}"/>
                </a:ext>
              </a:extLst>
            </p:cNvPr>
            <p:cNvSpPr/>
            <p:nvPr/>
          </p:nvSpPr>
          <p:spPr>
            <a:xfrm>
              <a:off x="2925792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4" name="Полілінія: фігура 313">
              <a:extLst>
                <a:ext uri="{FF2B5EF4-FFF2-40B4-BE49-F238E27FC236}">
                  <a16:creationId xmlns:a16="http://schemas.microsoft.com/office/drawing/2014/main" id="{7670A5D6-AD21-EDE0-2DB6-DBE63C798022}"/>
                </a:ext>
              </a:extLst>
            </p:cNvPr>
            <p:cNvSpPr/>
            <p:nvPr/>
          </p:nvSpPr>
          <p:spPr>
            <a:xfrm>
              <a:off x="3184584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5" name="Полілінія: фігура 314">
              <a:extLst>
                <a:ext uri="{FF2B5EF4-FFF2-40B4-BE49-F238E27FC236}">
                  <a16:creationId xmlns:a16="http://schemas.microsoft.com/office/drawing/2014/main" id="{D8D8ABA9-A9C9-B7EC-9A29-C60D1A3E1E07}"/>
                </a:ext>
              </a:extLst>
            </p:cNvPr>
            <p:cNvSpPr/>
            <p:nvPr/>
          </p:nvSpPr>
          <p:spPr>
            <a:xfrm>
              <a:off x="3313981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6" name="Полілінія: фігура 315">
              <a:extLst>
                <a:ext uri="{FF2B5EF4-FFF2-40B4-BE49-F238E27FC236}">
                  <a16:creationId xmlns:a16="http://schemas.microsoft.com/office/drawing/2014/main" id="{CC54BFCB-9C1E-A534-0F7C-2F84BAC98975}"/>
                </a:ext>
              </a:extLst>
            </p:cNvPr>
            <p:cNvSpPr/>
            <p:nvPr/>
          </p:nvSpPr>
          <p:spPr>
            <a:xfrm>
              <a:off x="3443377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7" name="Полілінія: фігура 316">
              <a:extLst>
                <a:ext uri="{FF2B5EF4-FFF2-40B4-BE49-F238E27FC236}">
                  <a16:creationId xmlns:a16="http://schemas.microsoft.com/office/drawing/2014/main" id="{0CF3EA51-30CC-8187-579B-F8A65CF32523}"/>
                </a:ext>
              </a:extLst>
            </p:cNvPr>
            <p:cNvSpPr/>
            <p:nvPr/>
          </p:nvSpPr>
          <p:spPr>
            <a:xfrm>
              <a:off x="4478547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8" name="Полілінія: фігура 317">
              <a:extLst>
                <a:ext uri="{FF2B5EF4-FFF2-40B4-BE49-F238E27FC236}">
                  <a16:creationId xmlns:a16="http://schemas.microsoft.com/office/drawing/2014/main" id="{7C0D0EDB-0DB9-2FBD-B0F4-1F9A8889E8EC}"/>
                </a:ext>
              </a:extLst>
            </p:cNvPr>
            <p:cNvSpPr/>
            <p:nvPr/>
          </p:nvSpPr>
          <p:spPr>
            <a:xfrm>
              <a:off x="4866735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19" name="Полілінія: фігура 318">
              <a:extLst>
                <a:ext uri="{FF2B5EF4-FFF2-40B4-BE49-F238E27FC236}">
                  <a16:creationId xmlns:a16="http://schemas.microsoft.com/office/drawing/2014/main" id="{37E6C426-75CB-69C7-F61B-E570E79BAF07}"/>
                </a:ext>
              </a:extLst>
            </p:cNvPr>
            <p:cNvSpPr/>
            <p:nvPr/>
          </p:nvSpPr>
          <p:spPr>
            <a:xfrm>
              <a:off x="5384320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0" name="Полілінія: фігура 319">
              <a:extLst>
                <a:ext uri="{FF2B5EF4-FFF2-40B4-BE49-F238E27FC236}">
                  <a16:creationId xmlns:a16="http://schemas.microsoft.com/office/drawing/2014/main" id="{10AD45DE-C5FA-3178-F195-776B9D9867D0}"/>
                </a:ext>
              </a:extLst>
            </p:cNvPr>
            <p:cNvSpPr/>
            <p:nvPr/>
          </p:nvSpPr>
          <p:spPr>
            <a:xfrm>
              <a:off x="5643113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1" name="Полілінія: фігура 320">
              <a:extLst>
                <a:ext uri="{FF2B5EF4-FFF2-40B4-BE49-F238E27FC236}">
                  <a16:creationId xmlns:a16="http://schemas.microsoft.com/office/drawing/2014/main" id="{096D86AB-C4A4-DFE1-33F9-04C199AA0D7F}"/>
                </a:ext>
              </a:extLst>
            </p:cNvPr>
            <p:cNvSpPr/>
            <p:nvPr/>
          </p:nvSpPr>
          <p:spPr>
            <a:xfrm>
              <a:off x="5772509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2" name="Полілінія: фігура 321">
              <a:extLst>
                <a:ext uri="{FF2B5EF4-FFF2-40B4-BE49-F238E27FC236}">
                  <a16:creationId xmlns:a16="http://schemas.microsoft.com/office/drawing/2014/main" id="{A14CA2B1-A245-5A38-904C-06C52AFEEAD5}"/>
                </a:ext>
              </a:extLst>
            </p:cNvPr>
            <p:cNvSpPr/>
            <p:nvPr/>
          </p:nvSpPr>
          <p:spPr>
            <a:xfrm>
              <a:off x="6160698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3" name="Полілінія: фігура 322">
              <a:extLst>
                <a:ext uri="{FF2B5EF4-FFF2-40B4-BE49-F238E27FC236}">
                  <a16:creationId xmlns:a16="http://schemas.microsoft.com/office/drawing/2014/main" id="{60A48040-09D0-39CB-5DFF-B8DD6FA67F7D}"/>
                </a:ext>
              </a:extLst>
            </p:cNvPr>
            <p:cNvSpPr/>
            <p:nvPr/>
          </p:nvSpPr>
          <p:spPr>
            <a:xfrm>
              <a:off x="6419490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4" name="Полілінія: фігура 323">
              <a:extLst>
                <a:ext uri="{FF2B5EF4-FFF2-40B4-BE49-F238E27FC236}">
                  <a16:creationId xmlns:a16="http://schemas.microsoft.com/office/drawing/2014/main" id="{5C495CEB-41C0-4BFC-9F4C-946A392B5CA9}"/>
                </a:ext>
              </a:extLst>
            </p:cNvPr>
            <p:cNvSpPr/>
            <p:nvPr/>
          </p:nvSpPr>
          <p:spPr>
            <a:xfrm>
              <a:off x="6548886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5" name="Полілінія: фігура 324">
              <a:extLst>
                <a:ext uri="{FF2B5EF4-FFF2-40B4-BE49-F238E27FC236}">
                  <a16:creationId xmlns:a16="http://schemas.microsoft.com/office/drawing/2014/main" id="{4EFC1D28-4A3C-FE6D-928C-9F4747B3CD4D}"/>
                </a:ext>
              </a:extLst>
            </p:cNvPr>
            <p:cNvSpPr/>
            <p:nvPr/>
          </p:nvSpPr>
          <p:spPr>
            <a:xfrm>
              <a:off x="6678283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6" name="Полілінія: фігура 325">
              <a:extLst>
                <a:ext uri="{FF2B5EF4-FFF2-40B4-BE49-F238E27FC236}">
                  <a16:creationId xmlns:a16="http://schemas.microsoft.com/office/drawing/2014/main" id="{953F5A39-5C63-2B7C-CEF2-08F82F420681}"/>
                </a:ext>
              </a:extLst>
            </p:cNvPr>
            <p:cNvSpPr/>
            <p:nvPr/>
          </p:nvSpPr>
          <p:spPr>
            <a:xfrm>
              <a:off x="6807679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7" name="Полілінія: фігура 326">
              <a:extLst>
                <a:ext uri="{FF2B5EF4-FFF2-40B4-BE49-F238E27FC236}">
                  <a16:creationId xmlns:a16="http://schemas.microsoft.com/office/drawing/2014/main" id="{9A137F1A-90E9-E1D7-57D1-0E98FD14AF64}"/>
                </a:ext>
              </a:extLst>
            </p:cNvPr>
            <p:cNvSpPr/>
            <p:nvPr/>
          </p:nvSpPr>
          <p:spPr>
            <a:xfrm>
              <a:off x="6937075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8" name="Полілінія: фігура 327">
              <a:extLst>
                <a:ext uri="{FF2B5EF4-FFF2-40B4-BE49-F238E27FC236}">
                  <a16:creationId xmlns:a16="http://schemas.microsoft.com/office/drawing/2014/main" id="{8F7A74CB-3AF7-1129-9B66-CDCFFC4CE30C}"/>
                </a:ext>
              </a:extLst>
            </p:cNvPr>
            <p:cNvSpPr/>
            <p:nvPr/>
          </p:nvSpPr>
          <p:spPr>
            <a:xfrm>
              <a:off x="7195867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29" name="Полілінія: фігура 328">
              <a:extLst>
                <a:ext uri="{FF2B5EF4-FFF2-40B4-BE49-F238E27FC236}">
                  <a16:creationId xmlns:a16="http://schemas.microsoft.com/office/drawing/2014/main" id="{850038ED-C7BC-3A02-A5E9-60F16493BC59}"/>
                </a:ext>
              </a:extLst>
            </p:cNvPr>
            <p:cNvSpPr/>
            <p:nvPr/>
          </p:nvSpPr>
          <p:spPr>
            <a:xfrm>
              <a:off x="7713452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0" name="Полілінія: фігура 329">
              <a:extLst>
                <a:ext uri="{FF2B5EF4-FFF2-40B4-BE49-F238E27FC236}">
                  <a16:creationId xmlns:a16="http://schemas.microsoft.com/office/drawing/2014/main" id="{3DE119F3-8742-3BFF-1A10-9FD65FC8DC46}"/>
                </a:ext>
              </a:extLst>
            </p:cNvPr>
            <p:cNvSpPr/>
            <p:nvPr/>
          </p:nvSpPr>
          <p:spPr>
            <a:xfrm>
              <a:off x="7842849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1" name="Полілінія: фігура 330">
              <a:extLst>
                <a:ext uri="{FF2B5EF4-FFF2-40B4-BE49-F238E27FC236}">
                  <a16:creationId xmlns:a16="http://schemas.microsoft.com/office/drawing/2014/main" id="{544ED2DD-D4C9-1246-ED9F-CB21EBAAF5CA}"/>
                </a:ext>
              </a:extLst>
            </p:cNvPr>
            <p:cNvSpPr/>
            <p:nvPr/>
          </p:nvSpPr>
          <p:spPr>
            <a:xfrm>
              <a:off x="7972245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2" name="Полілінія: фігура 331">
              <a:extLst>
                <a:ext uri="{FF2B5EF4-FFF2-40B4-BE49-F238E27FC236}">
                  <a16:creationId xmlns:a16="http://schemas.microsoft.com/office/drawing/2014/main" id="{131F8695-59EA-265F-E719-45FB315AB382}"/>
                </a:ext>
              </a:extLst>
            </p:cNvPr>
            <p:cNvSpPr/>
            <p:nvPr/>
          </p:nvSpPr>
          <p:spPr>
            <a:xfrm>
              <a:off x="8231037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3" name="Полілінія: фігура 332">
              <a:extLst>
                <a:ext uri="{FF2B5EF4-FFF2-40B4-BE49-F238E27FC236}">
                  <a16:creationId xmlns:a16="http://schemas.microsoft.com/office/drawing/2014/main" id="{DB57DE64-CE00-02CA-03F7-3E2E9F521E1B}"/>
                </a:ext>
              </a:extLst>
            </p:cNvPr>
            <p:cNvSpPr/>
            <p:nvPr/>
          </p:nvSpPr>
          <p:spPr>
            <a:xfrm>
              <a:off x="8878018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4" name="Полілінія: фігура 333">
              <a:extLst>
                <a:ext uri="{FF2B5EF4-FFF2-40B4-BE49-F238E27FC236}">
                  <a16:creationId xmlns:a16="http://schemas.microsoft.com/office/drawing/2014/main" id="{C68D00A7-B36B-DC86-31A2-6F372372792B}"/>
                </a:ext>
              </a:extLst>
            </p:cNvPr>
            <p:cNvSpPr/>
            <p:nvPr/>
          </p:nvSpPr>
          <p:spPr>
            <a:xfrm>
              <a:off x="9136811" y="168215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5" name="Полілінія: фігура 334">
              <a:extLst>
                <a:ext uri="{FF2B5EF4-FFF2-40B4-BE49-F238E27FC236}">
                  <a16:creationId xmlns:a16="http://schemas.microsoft.com/office/drawing/2014/main" id="{51745546-4A16-A558-0DA2-66A1673B6DDF}"/>
                </a:ext>
              </a:extLst>
            </p:cNvPr>
            <p:cNvSpPr/>
            <p:nvPr/>
          </p:nvSpPr>
          <p:spPr>
            <a:xfrm>
              <a:off x="2925792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6" name="Полілінія: фігура 335">
              <a:extLst>
                <a:ext uri="{FF2B5EF4-FFF2-40B4-BE49-F238E27FC236}">
                  <a16:creationId xmlns:a16="http://schemas.microsoft.com/office/drawing/2014/main" id="{DD5FDA9C-D0CF-8414-3231-DF5ADF8F3726}"/>
                </a:ext>
              </a:extLst>
            </p:cNvPr>
            <p:cNvSpPr/>
            <p:nvPr/>
          </p:nvSpPr>
          <p:spPr>
            <a:xfrm>
              <a:off x="3055188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7" name="Полілінія: фігура 336">
              <a:extLst>
                <a:ext uri="{FF2B5EF4-FFF2-40B4-BE49-F238E27FC236}">
                  <a16:creationId xmlns:a16="http://schemas.microsoft.com/office/drawing/2014/main" id="{CDD79BD5-7C98-63AC-67FE-B92E58A86676}"/>
                </a:ext>
              </a:extLst>
            </p:cNvPr>
            <p:cNvSpPr/>
            <p:nvPr/>
          </p:nvSpPr>
          <p:spPr>
            <a:xfrm>
              <a:off x="3702169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8" name="Полілінія: фігура 337">
              <a:extLst>
                <a:ext uri="{FF2B5EF4-FFF2-40B4-BE49-F238E27FC236}">
                  <a16:creationId xmlns:a16="http://schemas.microsoft.com/office/drawing/2014/main" id="{49B82F83-B894-A820-8E43-425EA4739421}"/>
                </a:ext>
              </a:extLst>
            </p:cNvPr>
            <p:cNvSpPr/>
            <p:nvPr/>
          </p:nvSpPr>
          <p:spPr>
            <a:xfrm>
              <a:off x="3831566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39" name="Полілінія: фігура 338">
              <a:extLst>
                <a:ext uri="{FF2B5EF4-FFF2-40B4-BE49-F238E27FC236}">
                  <a16:creationId xmlns:a16="http://schemas.microsoft.com/office/drawing/2014/main" id="{CB7B83C0-D96A-56FB-2244-0C8BF04A1805}"/>
                </a:ext>
              </a:extLst>
            </p:cNvPr>
            <p:cNvSpPr/>
            <p:nvPr/>
          </p:nvSpPr>
          <p:spPr>
            <a:xfrm>
              <a:off x="3960962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0" name="Полілінія: фігура 339">
              <a:extLst>
                <a:ext uri="{FF2B5EF4-FFF2-40B4-BE49-F238E27FC236}">
                  <a16:creationId xmlns:a16="http://schemas.microsoft.com/office/drawing/2014/main" id="{BAA6FF12-E4FE-CA31-E0B3-92CD9BF22C80}"/>
                </a:ext>
              </a:extLst>
            </p:cNvPr>
            <p:cNvSpPr/>
            <p:nvPr/>
          </p:nvSpPr>
          <p:spPr>
            <a:xfrm>
              <a:off x="4090358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1" name="Полілінія: фігура 340">
              <a:extLst>
                <a:ext uri="{FF2B5EF4-FFF2-40B4-BE49-F238E27FC236}">
                  <a16:creationId xmlns:a16="http://schemas.microsoft.com/office/drawing/2014/main" id="{7240C638-C5C7-32BA-214B-DD4014593E02}"/>
                </a:ext>
              </a:extLst>
            </p:cNvPr>
            <p:cNvSpPr/>
            <p:nvPr/>
          </p:nvSpPr>
          <p:spPr>
            <a:xfrm>
              <a:off x="4219754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2" name="Полілінія: фігура 341">
              <a:extLst>
                <a:ext uri="{FF2B5EF4-FFF2-40B4-BE49-F238E27FC236}">
                  <a16:creationId xmlns:a16="http://schemas.microsoft.com/office/drawing/2014/main" id="{9240242C-7D07-2046-6192-78435088C211}"/>
                </a:ext>
              </a:extLst>
            </p:cNvPr>
            <p:cNvSpPr/>
            <p:nvPr/>
          </p:nvSpPr>
          <p:spPr>
            <a:xfrm>
              <a:off x="4349150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3" name="Полілінія: фігура 342">
              <a:extLst>
                <a:ext uri="{FF2B5EF4-FFF2-40B4-BE49-F238E27FC236}">
                  <a16:creationId xmlns:a16="http://schemas.microsoft.com/office/drawing/2014/main" id="{D9EC39B4-3F8A-CDFA-E91C-38EAFA3FABC3}"/>
                </a:ext>
              </a:extLst>
            </p:cNvPr>
            <p:cNvSpPr/>
            <p:nvPr/>
          </p:nvSpPr>
          <p:spPr>
            <a:xfrm>
              <a:off x="4737339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4" name="Полілінія: фігура 343">
              <a:extLst>
                <a:ext uri="{FF2B5EF4-FFF2-40B4-BE49-F238E27FC236}">
                  <a16:creationId xmlns:a16="http://schemas.microsoft.com/office/drawing/2014/main" id="{BA071198-FAF2-2044-B1D7-57762220E4F4}"/>
                </a:ext>
              </a:extLst>
            </p:cNvPr>
            <p:cNvSpPr/>
            <p:nvPr/>
          </p:nvSpPr>
          <p:spPr>
            <a:xfrm>
              <a:off x="4866735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5" name="Полілінія: фігура 344">
              <a:extLst>
                <a:ext uri="{FF2B5EF4-FFF2-40B4-BE49-F238E27FC236}">
                  <a16:creationId xmlns:a16="http://schemas.microsoft.com/office/drawing/2014/main" id="{B0600833-6346-B9DF-5F18-4E962D8D88C7}"/>
                </a:ext>
              </a:extLst>
            </p:cNvPr>
            <p:cNvSpPr/>
            <p:nvPr/>
          </p:nvSpPr>
          <p:spPr>
            <a:xfrm>
              <a:off x="4996132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6" name="Полілінія: фігура 345">
              <a:extLst>
                <a:ext uri="{FF2B5EF4-FFF2-40B4-BE49-F238E27FC236}">
                  <a16:creationId xmlns:a16="http://schemas.microsoft.com/office/drawing/2014/main" id="{97B871D3-EAF7-B78D-C4B0-2EA96EC84A76}"/>
                </a:ext>
              </a:extLst>
            </p:cNvPr>
            <p:cNvSpPr/>
            <p:nvPr/>
          </p:nvSpPr>
          <p:spPr>
            <a:xfrm>
              <a:off x="5901905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7" name="Полілінія: фігура 346">
              <a:extLst>
                <a:ext uri="{FF2B5EF4-FFF2-40B4-BE49-F238E27FC236}">
                  <a16:creationId xmlns:a16="http://schemas.microsoft.com/office/drawing/2014/main" id="{296FB595-098B-4A4C-D03E-13FA77FCBBA4}"/>
                </a:ext>
              </a:extLst>
            </p:cNvPr>
            <p:cNvSpPr/>
            <p:nvPr/>
          </p:nvSpPr>
          <p:spPr>
            <a:xfrm>
              <a:off x="6160698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8" name="Полілінія: фігура 347">
              <a:extLst>
                <a:ext uri="{FF2B5EF4-FFF2-40B4-BE49-F238E27FC236}">
                  <a16:creationId xmlns:a16="http://schemas.microsoft.com/office/drawing/2014/main" id="{F2F81B29-FCFD-0789-0609-E49DE79690FC}"/>
                </a:ext>
              </a:extLst>
            </p:cNvPr>
            <p:cNvSpPr/>
            <p:nvPr/>
          </p:nvSpPr>
          <p:spPr>
            <a:xfrm>
              <a:off x="6548886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49" name="Полілінія: фігура 348">
              <a:extLst>
                <a:ext uri="{FF2B5EF4-FFF2-40B4-BE49-F238E27FC236}">
                  <a16:creationId xmlns:a16="http://schemas.microsoft.com/office/drawing/2014/main" id="{A872488A-11A9-90F6-5A59-5C929B9577D6}"/>
                </a:ext>
              </a:extLst>
            </p:cNvPr>
            <p:cNvSpPr/>
            <p:nvPr/>
          </p:nvSpPr>
          <p:spPr>
            <a:xfrm>
              <a:off x="6807679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0" name="Полілінія: фігура 349">
              <a:extLst>
                <a:ext uri="{FF2B5EF4-FFF2-40B4-BE49-F238E27FC236}">
                  <a16:creationId xmlns:a16="http://schemas.microsoft.com/office/drawing/2014/main" id="{2CD5BC43-3C35-BF00-6A3E-B7A937098D42}"/>
                </a:ext>
              </a:extLst>
            </p:cNvPr>
            <p:cNvSpPr/>
            <p:nvPr/>
          </p:nvSpPr>
          <p:spPr>
            <a:xfrm>
              <a:off x="7454660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1" name="Полілінія: фігура 350">
              <a:extLst>
                <a:ext uri="{FF2B5EF4-FFF2-40B4-BE49-F238E27FC236}">
                  <a16:creationId xmlns:a16="http://schemas.microsoft.com/office/drawing/2014/main" id="{A8C4975D-EB10-DC15-E8C7-5AE6E57CC651}"/>
                </a:ext>
              </a:extLst>
            </p:cNvPr>
            <p:cNvSpPr/>
            <p:nvPr/>
          </p:nvSpPr>
          <p:spPr>
            <a:xfrm>
              <a:off x="7584056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2" name="Полілінія: фігура 351">
              <a:extLst>
                <a:ext uri="{FF2B5EF4-FFF2-40B4-BE49-F238E27FC236}">
                  <a16:creationId xmlns:a16="http://schemas.microsoft.com/office/drawing/2014/main" id="{358CFFAA-E867-9C62-1BCC-883B56922947}"/>
                </a:ext>
              </a:extLst>
            </p:cNvPr>
            <p:cNvSpPr/>
            <p:nvPr/>
          </p:nvSpPr>
          <p:spPr>
            <a:xfrm>
              <a:off x="7713452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3" name="Полілінія: фігура 352">
              <a:extLst>
                <a:ext uri="{FF2B5EF4-FFF2-40B4-BE49-F238E27FC236}">
                  <a16:creationId xmlns:a16="http://schemas.microsoft.com/office/drawing/2014/main" id="{6EE28989-2C59-1C67-A114-04344E125CBA}"/>
                </a:ext>
              </a:extLst>
            </p:cNvPr>
            <p:cNvSpPr/>
            <p:nvPr/>
          </p:nvSpPr>
          <p:spPr>
            <a:xfrm>
              <a:off x="7972245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4" name="Полілінія: фігура 353">
              <a:extLst>
                <a:ext uri="{FF2B5EF4-FFF2-40B4-BE49-F238E27FC236}">
                  <a16:creationId xmlns:a16="http://schemas.microsoft.com/office/drawing/2014/main" id="{DB2B742F-5254-BC7C-C5B7-92A613FFF9C4}"/>
                </a:ext>
              </a:extLst>
            </p:cNvPr>
            <p:cNvSpPr/>
            <p:nvPr/>
          </p:nvSpPr>
          <p:spPr>
            <a:xfrm>
              <a:off x="8231037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5" name="Полілінія: фігура 354">
              <a:extLst>
                <a:ext uri="{FF2B5EF4-FFF2-40B4-BE49-F238E27FC236}">
                  <a16:creationId xmlns:a16="http://schemas.microsoft.com/office/drawing/2014/main" id="{B6869803-4D22-B474-E9F4-3C39982C9432}"/>
                </a:ext>
              </a:extLst>
            </p:cNvPr>
            <p:cNvSpPr/>
            <p:nvPr/>
          </p:nvSpPr>
          <p:spPr>
            <a:xfrm>
              <a:off x="8489830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6" name="Полілінія: фігура 355">
              <a:extLst>
                <a:ext uri="{FF2B5EF4-FFF2-40B4-BE49-F238E27FC236}">
                  <a16:creationId xmlns:a16="http://schemas.microsoft.com/office/drawing/2014/main" id="{E05001C1-4D91-8BDD-FBED-D04C1D60B03A}"/>
                </a:ext>
              </a:extLst>
            </p:cNvPr>
            <p:cNvSpPr/>
            <p:nvPr/>
          </p:nvSpPr>
          <p:spPr>
            <a:xfrm>
              <a:off x="8748622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7" name="Полілінія: фігура 356">
              <a:extLst>
                <a:ext uri="{FF2B5EF4-FFF2-40B4-BE49-F238E27FC236}">
                  <a16:creationId xmlns:a16="http://schemas.microsoft.com/office/drawing/2014/main" id="{7402C961-C860-08FF-BFBB-79FA5C8FEC38}"/>
                </a:ext>
              </a:extLst>
            </p:cNvPr>
            <p:cNvSpPr/>
            <p:nvPr/>
          </p:nvSpPr>
          <p:spPr>
            <a:xfrm>
              <a:off x="8878018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8" name="Полілінія: фігура 357">
              <a:extLst>
                <a:ext uri="{FF2B5EF4-FFF2-40B4-BE49-F238E27FC236}">
                  <a16:creationId xmlns:a16="http://schemas.microsoft.com/office/drawing/2014/main" id="{19EDF39B-D5C0-4C8C-D5D0-D4992369E6B9}"/>
                </a:ext>
              </a:extLst>
            </p:cNvPr>
            <p:cNvSpPr/>
            <p:nvPr/>
          </p:nvSpPr>
          <p:spPr>
            <a:xfrm>
              <a:off x="9007415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59" name="Полілінія: фігура 358">
              <a:extLst>
                <a:ext uri="{FF2B5EF4-FFF2-40B4-BE49-F238E27FC236}">
                  <a16:creationId xmlns:a16="http://schemas.microsoft.com/office/drawing/2014/main" id="{E6542E2B-D6F2-FD06-CD81-92EB8D43937E}"/>
                </a:ext>
              </a:extLst>
            </p:cNvPr>
            <p:cNvSpPr/>
            <p:nvPr/>
          </p:nvSpPr>
          <p:spPr>
            <a:xfrm>
              <a:off x="9136811" y="181154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0" name="Полілінія: фігура 359">
              <a:extLst>
                <a:ext uri="{FF2B5EF4-FFF2-40B4-BE49-F238E27FC236}">
                  <a16:creationId xmlns:a16="http://schemas.microsoft.com/office/drawing/2014/main" id="{5F1219D8-D105-479B-C841-C4EE62B14C65}"/>
                </a:ext>
              </a:extLst>
            </p:cNvPr>
            <p:cNvSpPr/>
            <p:nvPr/>
          </p:nvSpPr>
          <p:spPr>
            <a:xfrm>
              <a:off x="2925792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1" name="Полілінія: фігура 360">
              <a:extLst>
                <a:ext uri="{FF2B5EF4-FFF2-40B4-BE49-F238E27FC236}">
                  <a16:creationId xmlns:a16="http://schemas.microsoft.com/office/drawing/2014/main" id="{BDDEC042-C945-E12E-632F-C43E894E5000}"/>
                </a:ext>
              </a:extLst>
            </p:cNvPr>
            <p:cNvSpPr/>
            <p:nvPr/>
          </p:nvSpPr>
          <p:spPr>
            <a:xfrm>
              <a:off x="3055188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2" name="Полілінія: фігура 361">
              <a:extLst>
                <a:ext uri="{FF2B5EF4-FFF2-40B4-BE49-F238E27FC236}">
                  <a16:creationId xmlns:a16="http://schemas.microsoft.com/office/drawing/2014/main" id="{90864F79-6AE8-8CE0-79B3-F049DB14B579}"/>
                </a:ext>
              </a:extLst>
            </p:cNvPr>
            <p:cNvSpPr/>
            <p:nvPr/>
          </p:nvSpPr>
          <p:spPr>
            <a:xfrm>
              <a:off x="3572773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3" name="Полілінія: фігура 362">
              <a:extLst>
                <a:ext uri="{FF2B5EF4-FFF2-40B4-BE49-F238E27FC236}">
                  <a16:creationId xmlns:a16="http://schemas.microsoft.com/office/drawing/2014/main" id="{72658FB8-BC4F-094F-85BF-26B92760BF50}"/>
                </a:ext>
              </a:extLst>
            </p:cNvPr>
            <p:cNvSpPr/>
            <p:nvPr/>
          </p:nvSpPr>
          <p:spPr>
            <a:xfrm>
              <a:off x="4090358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4" name="Полілінія: фігура 363">
              <a:extLst>
                <a:ext uri="{FF2B5EF4-FFF2-40B4-BE49-F238E27FC236}">
                  <a16:creationId xmlns:a16="http://schemas.microsoft.com/office/drawing/2014/main" id="{6F8184E4-F9E5-5651-D826-9AF586FF090E}"/>
                </a:ext>
              </a:extLst>
            </p:cNvPr>
            <p:cNvSpPr/>
            <p:nvPr/>
          </p:nvSpPr>
          <p:spPr>
            <a:xfrm>
              <a:off x="4219754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5" name="Полілінія: фігура 364">
              <a:extLst>
                <a:ext uri="{FF2B5EF4-FFF2-40B4-BE49-F238E27FC236}">
                  <a16:creationId xmlns:a16="http://schemas.microsoft.com/office/drawing/2014/main" id="{3BA397AE-D5D9-2E0C-E7BE-322F82499B24}"/>
                </a:ext>
              </a:extLst>
            </p:cNvPr>
            <p:cNvSpPr/>
            <p:nvPr/>
          </p:nvSpPr>
          <p:spPr>
            <a:xfrm>
              <a:off x="4349150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6" name="Полілінія: фігура 365">
              <a:extLst>
                <a:ext uri="{FF2B5EF4-FFF2-40B4-BE49-F238E27FC236}">
                  <a16:creationId xmlns:a16="http://schemas.microsoft.com/office/drawing/2014/main" id="{08120535-DC05-8DC5-CA84-8EB0998626A6}"/>
                </a:ext>
              </a:extLst>
            </p:cNvPr>
            <p:cNvSpPr/>
            <p:nvPr/>
          </p:nvSpPr>
          <p:spPr>
            <a:xfrm>
              <a:off x="4737339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7" name="Полілінія: фігура 366">
              <a:extLst>
                <a:ext uri="{FF2B5EF4-FFF2-40B4-BE49-F238E27FC236}">
                  <a16:creationId xmlns:a16="http://schemas.microsoft.com/office/drawing/2014/main" id="{827A0B0F-E102-245D-B9F5-86F24B4BB034}"/>
                </a:ext>
              </a:extLst>
            </p:cNvPr>
            <p:cNvSpPr/>
            <p:nvPr/>
          </p:nvSpPr>
          <p:spPr>
            <a:xfrm>
              <a:off x="4866735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8" name="Полілінія: фігура 367">
              <a:extLst>
                <a:ext uri="{FF2B5EF4-FFF2-40B4-BE49-F238E27FC236}">
                  <a16:creationId xmlns:a16="http://schemas.microsoft.com/office/drawing/2014/main" id="{62685C73-4259-2796-0B17-8E733A33F350}"/>
                </a:ext>
              </a:extLst>
            </p:cNvPr>
            <p:cNvSpPr/>
            <p:nvPr/>
          </p:nvSpPr>
          <p:spPr>
            <a:xfrm>
              <a:off x="5384320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69" name="Полілінія: фігура 368">
              <a:extLst>
                <a:ext uri="{FF2B5EF4-FFF2-40B4-BE49-F238E27FC236}">
                  <a16:creationId xmlns:a16="http://schemas.microsoft.com/office/drawing/2014/main" id="{06F5A056-2241-761E-6412-E0D3ED827E54}"/>
                </a:ext>
              </a:extLst>
            </p:cNvPr>
            <p:cNvSpPr/>
            <p:nvPr/>
          </p:nvSpPr>
          <p:spPr>
            <a:xfrm>
              <a:off x="5513716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0" name="Полілінія: фігура 369">
              <a:extLst>
                <a:ext uri="{FF2B5EF4-FFF2-40B4-BE49-F238E27FC236}">
                  <a16:creationId xmlns:a16="http://schemas.microsoft.com/office/drawing/2014/main" id="{8B6746FC-C307-3E54-1922-20D19D3D09D3}"/>
                </a:ext>
              </a:extLst>
            </p:cNvPr>
            <p:cNvSpPr/>
            <p:nvPr/>
          </p:nvSpPr>
          <p:spPr>
            <a:xfrm>
              <a:off x="5901905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1" name="Полілінія: фігура 370">
              <a:extLst>
                <a:ext uri="{FF2B5EF4-FFF2-40B4-BE49-F238E27FC236}">
                  <a16:creationId xmlns:a16="http://schemas.microsoft.com/office/drawing/2014/main" id="{FF768A98-4416-3B81-EFDC-04DD0CC21BFB}"/>
                </a:ext>
              </a:extLst>
            </p:cNvPr>
            <p:cNvSpPr/>
            <p:nvPr/>
          </p:nvSpPr>
          <p:spPr>
            <a:xfrm>
              <a:off x="6290094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2" name="Полілінія: фігура 371">
              <a:extLst>
                <a:ext uri="{FF2B5EF4-FFF2-40B4-BE49-F238E27FC236}">
                  <a16:creationId xmlns:a16="http://schemas.microsoft.com/office/drawing/2014/main" id="{40008353-17E0-CFB4-C9BF-BB23C23B5C8B}"/>
                </a:ext>
              </a:extLst>
            </p:cNvPr>
            <p:cNvSpPr/>
            <p:nvPr/>
          </p:nvSpPr>
          <p:spPr>
            <a:xfrm>
              <a:off x="6419490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3" name="Полілінія: фігура 372">
              <a:extLst>
                <a:ext uri="{FF2B5EF4-FFF2-40B4-BE49-F238E27FC236}">
                  <a16:creationId xmlns:a16="http://schemas.microsoft.com/office/drawing/2014/main" id="{33A5E447-7872-7DF2-37C6-E753559520DB}"/>
                </a:ext>
              </a:extLst>
            </p:cNvPr>
            <p:cNvSpPr/>
            <p:nvPr/>
          </p:nvSpPr>
          <p:spPr>
            <a:xfrm>
              <a:off x="6548886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4" name="Полілінія: фігура 373">
              <a:extLst>
                <a:ext uri="{FF2B5EF4-FFF2-40B4-BE49-F238E27FC236}">
                  <a16:creationId xmlns:a16="http://schemas.microsoft.com/office/drawing/2014/main" id="{11CF8528-B430-D95A-C7E3-AC1E716F3C5F}"/>
                </a:ext>
              </a:extLst>
            </p:cNvPr>
            <p:cNvSpPr/>
            <p:nvPr/>
          </p:nvSpPr>
          <p:spPr>
            <a:xfrm>
              <a:off x="6937075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5" name="Полілінія: фігура 374">
              <a:extLst>
                <a:ext uri="{FF2B5EF4-FFF2-40B4-BE49-F238E27FC236}">
                  <a16:creationId xmlns:a16="http://schemas.microsoft.com/office/drawing/2014/main" id="{7540AC80-4AA4-1D4E-2C5C-A0BF7F1566C3}"/>
                </a:ext>
              </a:extLst>
            </p:cNvPr>
            <p:cNvSpPr/>
            <p:nvPr/>
          </p:nvSpPr>
          <p:spPr>
            <a:xfrm>
              <a:off x="7584056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6" name="Полілінія: фігура 375">
              <a:extLst>
                <a:ext uri="{FF2B5EF4-FFF2-40B4-BE49-F238E27FC236}">
                  <a16:creationId xmlns:a16="http://schemas.microsoft.com/office/drawing/2014/main" id="{EB9AD657-0ADF-A691-15EA-1DFB1FAD0BEF}"/>
                </a:ext>
              </a:extLst>
            </p:cNvPr>
            <p:cNvSpPr/>
            <p:nvPr/>
          </p:nvSpPr>
          <p:spPr>
            <a:xfrm>
              <a:off x="7972245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7" name="Полілінія: фігура 376">
              <a:extLst>
                <a:ext uri="{FF2B5EF4-FFF2-40B4-BE49-F238E27FC236}">
                  <a16:creationId xmlns:a16="http://schemas.microsoft.com/office/drawing/2014/main" id="{82337588-2B01-C207-73A6-2576C7BB1CCA}"/>
                </a:ext>
              </a:extLst>
            </p:cNvPr>
            <p:cNvSpPr/>
            <p:nvPr/>
          </p:nvSpPr>
          <p:spPr>
            <a:xfrm>
              <a:off x="8101641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8" name="Полілінія: фігура 377">
              <a:extLst>
                <a:ext uri="{FF2B5EF4-FFF2-40B4-BE49-F238E27FC236}">
                  <a16:creationId xmlns:a16="http://schemas.microsoft.com/office/drawing/2014/main" id="{78C38EEC-997C-01AB-5B27-6F8004A9D615}"/>
                </a:ext>
              </a:extLst>
            </p:cNvPr>
            <p:cNvSpPr/>
            <p:nvPr/>
          </p:nvSpPr>
          <p:spPr>
            <a:xfrm>
              <a:off x="8619226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79" name="Полілінія: фігура 378">
              <a:extLst>
                <a:ext uri="{FF2B5EF4-FFF2-40B4-BE49-F238E27FC236}">
                  <a16:creationId xmlns:a16="http://schemas.microsoft.com/office/drawing/2014/main" id="{4AEBA4DB-F011-68A5-3BB7-88D0DEBCB790}"/>
                </a:ext>
              </a:extLst>
            </p:cNvPr>
            <p:cNvSpPr/>
            <p:nvPr/>
          </p:nvSpPr>
          <p:spPr>
            <a:xfrm>
              <a:off x="8748622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0" name="Полілінія: фігура 379">
              <a:extLst>
                <a:ext uri="{FF2B5EF4-FFF2-40B4-BE49-F238E27FC236}">
                  <a16:creationId xmlns:a16="http://schemas.microsoft.com/office/drawing/2014/main" id="{50507B60-5C1B-5138-2913-3A43D9D6ECFA}"/>
                </a:ext>
              </a:extLst>
            </p:cNvPr>
            <p:cNvSpPr/>
            <p:nvPr/>
          </p:nvSpPr>
          <p:spPr>
            <a:xfrm>
              <a:off x="8878018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1" name="Полілінія: фігура 380">
              <a:extLst>
                <a:ext uri="{FF2B5EF4-FFF2-40B4-BE49-F238E27FC236}">
                  <a16:creationId xmlns:a16="http://schemas.microsoft.com/office/drawing/2014/main" id="{23DB6F39-35AC-7521-C1F1-28C52832359A}"/>
                </a:ext>
              </a:extLst>
            </p:cNvPr>
            <p:cNvSpPr/>
            <p:nvPr/>
          </p:nvSpPr>
          <p:spPr>
            <a:xfrm>
              <a:off x="9007415" y="194094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2" name="Полілінія: фігура 381">
              <a:extLst>
                <a:ext uri="{FF2B5EF4-FFF2-40B4-BE49-F238E27FC236}">
                  <a16:creationId xmlns:a16="http://schemas.microsoft.com/office/drawing/2014/main" id="{F7864614-AB13-6D5F-D347-423BABB4FDF7}"/>
                </a:ext>
              </a:extLst>
            </p:cNvPr>
            <p:cNvSpPr/>
            <p:nvPr/>
          </p:nvSpPr>
          <p:spPr>
            <a:xfrm>
              <a:off x="2925792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3" name="Полілінія: фігура 382">
              <a:extLst>
                <a:ext uri="{FF2B5EF4-FFF2-40B4-BE49-F238E27FC236}">
                  <a16:creationId xmlns:a16="http://schemas.microsoft.com/office/drawing/2014/main" id="{F599D79F-4D63-8498-3F5D-FC280CD134C9}"/>
                </a:ext>
              </a:extLst>
            </p:cNvPr>
            <p:cNvSpPr/>
            <p:nvPr/>
          </p:nvSpPr>
          <p:spPr>
            <a:xfrm>
              <a:off x="3184584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4" name="Полілінія: фігура 383">
              <a:extLst>
                <a:ext uri="{FF2B5EF4-FFF2-40B4-BE49-F238E27FC236}">
                  <a16:creationId xmlns:a16="http://schemas.microsoft.com/office/drawing/2014/main" id="{D5F8DF63-C06D-E83E-D5EE-88ABFEEB95A2}"/>
                </a:ext>
              </a:extLst>
            </p:cNvPr>
            <p:cNvSpPr/>
            <p:nvPr/>
          </p:nvSpPr>
          <p:spPr>
            <a:xfrm>
              <a:off x="3443377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5" name="Полілінія: фігура 384">
              <a:extLst>
                <a:ext uri="{FF2B5EF4-FFF2-40B4-BE49-F238E27FC236}">
                  <a16:creationId xmlns:a16="http://schemas.microsoft.com/office/drawing/2014/main" id="{23C7ACED-94E9-5BDE-DE47-DBB07576BE57}"/>
                </a:ext>
              </a:extLst>
            </p:cNvPr>
            <p:cNvSpPr/>
            <p:nvPr/>
          </p:nvSpPr>
          <p:spPr>
            <a:xfrm>
              <a:off x="3702169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6" name="Полілінія: фігура 385">
              <a:extLst>
                <a:ext uri="{FF2B5EF4-FFF2-40B4-BE49-F238E27FC236}">
                  <a16:creationId xmlns:a16="http://schemas.microsoft.com/office/drawing/2014/main" id="{728A9D29-C068-5492-BA08-FC572EEA720F}"/>
                </a:ext>
              </a:extLst>
            </p:cNvPr>
            <p:cNvSpPr/>
            <p:nvPr/>
          </p:nvSpPr>
          <p:spPr>
            <a:xfrm>
              <a:off x="4349150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7" name="Полілінія: фігура 386">
              <a:extLst>
                <a:ext uri="{FF2B5EF4-FFF2-40B4-BE49-F238E27FC236}">
                  <a16:creationId xmlns:a16="http://schemas.microsoft.com/office/drawing/2014/main" id="{52EB06E7-1D53-C220-C8AF-CDEC8042254B}"/>
                </a:ext>
              </a:extLst>
            </p:cNvPr>
            <p:cNvSpPr/>
            <p:nvPr/>
          </p:nvSpPr>
          <p:spPr>
            <a:xfrm>
              <a:off x="4607943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8" name="Полілінія: фігура 387">
              <a:extLst>
                <a:ext uri="{FF2B5EF4-FFF2-40B4-BE49-F238E27FC236}">
                  <a16:creationId xmlns:a16="http://schemas.microsoft.com/office/drawing/2014/main" id="{E82359B0-0A61-E4F7-C7AA-EC387D0B86BF}"/>
                </a:ext>
              </a:extLst>
            </p:cNvPr>
            <p:cNvSpPr/>
            <p:nvPr/>
          </p:nvSpPr>
          <p:spPr>
            <a:xfrm>
              <a:off x="4996132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89" name="Полілінія: фігура 388">
              <a:extLst>
                <a:ext uri="{FF2B5EF4-FFF2-40B4-BE49-F238E27FC236}">
                  <a16:creationId xmlns:a16="http://schemas.microsoft.com/office/drawing/2014/main" id="{0CF19CD5-AE92-4F72-F57C-125FD81E53FB}"/>
                </a:ext>
              </a:extLst>
            </p:cNvPr>
            <p:cNvSpPr/>
            <p:nvPr/>
          </p:nvSpPr>
          <p:spPr>
            <a:xfrm>
              <a:off x="5384320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0" name="Полілінія: фігура 389">
              <a:extLst>
                <a:ext uri="{FF2B5EF4-FFF2-40B4-BE49-F238E27FC236}">
                  <a16:creationId xmlns:a16="http://schemas.microsoft.com/office/drawing/2014/main" id="{8F198CAC-4B94-6720-B3CA-BA3E85C34991}"/>
                </a:ext>
              </a:extLst>
            </p:cNvPr>
            <p:cNvSpPr/>
            <p:nvPr/>
          </p:nvSpPr>
          <p:spPr>
            <a:xfrm>
              <a:off x="5643113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1" name="Полілінія: фігура 390">
              <a:extLst>
                <a:ext uri="{FF2B5EF4-FFF2-40B4-BE49-F238E27FC236}">
                  <a16:creationId xmlns:a16="http://schemas.microsoft.com/office/drawing/2014/main" id="{C75A0245-58BB-AAD4-4A67-6AD96301E292}"/>
                </a:ext>
              </a:extLst>
            </p:cNvPr>
            <p:cNvSpPr/>
            <p:nvPr/>
          </p:nvSpPr>
          <p:spPr>
            <a:xfrm>
              <a:off x="6290094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2" name="Полілінія: фігура 391">
              <a:extLst>
                <a:ext uri="{FF2B5EF4-FFF2-40B4-BE49-F238E27FC236}">
                  <a16:creationId xmlns:a16="http://schemas.microsoft.com/office/drawing/2014/main" id="{56222ADB-7A22-0F55-9935-D1F97ACFBF1E}"/>
                </a:ext>
              </a:extLst>
            </p:cNvPr>
            <p:cNvSpPr/>
            <p:nvPr/>
          </p:nvSpPr>
          <p:spPr>
            <a:xfrm>
              <a:off x="6419490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3" name="Полілінія: фігура 392">
              <a:extLst>
                <a:ext uri="{FF2B5EF4-FFF2-40B4-BE49-F238E27FC236}">
                  <a16:creationId xmlns:a16="http://schemas.microsoft.com/office/drawing/2014/main" id="{7844EC26-7FE4-7FCB-4296-35548C9EC8FD}"/>
                </a:ext>
              </a:extLst>
            </p:cNvPr>
            <p:cNvSpPr/>
            <p:nvPr/>
          </p:nvSpPr>
          <p:spPr>
            <a:xfrm>
              <a:off x="6548886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4" name="Полілінія: фігура 393">
              <a:extLst>
                <a:ext uri="{FF2B5EF4-FFF2-40B4-BE49-F238E27FC236}">
                  <a16:creationId xmlns:a16="http://schemas.microsoft.com/office/drawing/2014/main" id="{3A07ECB0-FF84-1C91-4430-D07B450F37B4}"/>
                </a:ext>
              </a:extLst>
            </p:cNvPr>
            <p:cNvSpPr/>
            <p:nvPr/>
          </p:nvSpPr>
          <p:spPr>
            <a:xfrm>
              <a:off x="6678283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5" name="Полілінія: фігура 394">
              <a:extLst>
                <a:ext uri="{FF2B5EF4-FFF2-40B4-BE49-F238E27FC236}">
                  <a16:creationId xmlns:a16="http://schemas.microsoft.com/office/drawing/2014/main" id="{74BEE6AD-D354-DBC4-B7BD-9D6A7421DD56}"/>
                </a:ext>
              </a:extLst>
            </p:cNvPr>
            <p:cNvSpPr/>
            <p:nvPr/>
          </p:nvSpPr>
          <p:spPr>
            <a:xfrm>
              <a:off x="7195867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6" name="Полілінія: фігура 395">
              <a:extLst>
                <a:ext uri="{FF2B5EF4-FFF2-40B4-BE49-F238E27FC236}">
                  <a16:creationId xmlns:a16="http://schemas.microsoft.com/office/drawing/2014/main" id="{E114663C-3623-DF3C-A8A2-5A97D5D936E2}"/>
                </a:ext>
              </a:extLst>
            </p:cNvPr>
            <p:cNvSpPr/>
            <p:nvPr/>
          </p:nvSpPr>
          <p:spPr>
            <a:xfrm>
              <a:off x="7454660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7" name="Полілінія: фігура 396">
              <a:extLst>
                <a:ext uri="{FF2B5EF4-FFF2-40B4-BE49-F238E27FC236}">
                  <a16:creationId xmlns:a16="http://schemas.microsoft.com/office/drawing/2014/main" id="{6BF79D9C-8680-05D0-E549-7018417BB505}"/>
                </a:ext>
              </a:extLst>
            </p:cNvPr>
            <p:cNvSpPr/>
            <p:nvPr/>
          </p:nvSpPr>
          <p:spPr>
            <a:xfrm>
              <a:off x="7584056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8" name="Полілінія: фігура 397">
              <a:extLst>
                <a:ext uri="{FF2B5EF4-FFF2-40B4-BE49-F238E27FC236}">
                  <a16:creationId xmlns:a16="http://schemas.microsoft.com/office/drawing/2014/main" id="{977D0016-3D13-670D-52FD-BD051E82A2E2}"/>
                </a:ext>
              </a:extLst>
            </p:cNvPr>
            <p:cNvSpPr/>
            <p:nvPr/>
          </p:nvSpPr>
          <p:spPr>
            <a:xfrm>
              <a:off x="7842849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399" name="Полілінія: фігура 398">
              <a:extLst>
                <a:ext uri="{FF2B5EF4-FFF2-40B4-BE49-F238E27FC236}">
                  <a16:creationId xmlns:a16="http://schemas.microsoft.com/office/drawing/2014/main" id="{F943DC12-DE6D-81CF-1252-81F8C34FC27A}"/>
                </a:ext>
              </a:extLst>
            </p:cNvPr>
            <p:cNvSpPr/>
            <p:nvPr/>
          </p:nvSpPr>
          <p:spPr>
            <a:xfrm>
              <a:off x="7972245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0" name="Полілінія: фігура 399">
              <a:extLst>
                <a:ext uri="{FF2B5EF4-FFF2-40B4-BE49-F238E27FC236}">
                  <a16:creationId xmlns:a16="http://schemas.microsoft.com/office/drawing/2014/main" id="{ACBBE7E6-D0EF-0206-6412-83F7392708F9}"/>
                </a:ext>
              </a:extLst>
            </p:cNvPr>
            <p:cNvSpPr/>
            <p:nvPr/>
          </p:nvSpPr>
          <p:spPr>
            <a:xfrm>
              <a:off x="8489830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1" name="Полілінія: фігура 400">
              <a:extLst>
                <a:ext uri="{FF2B5EF4-FFF2-40B4-BE49-F238E27FC236}">
                  <a16:creationId xmlns:a16="http://schemas.microsoft.com/office/drawing/2014/main" id="{AF2737F2-72B0-2770-AD13-8828EBAFCD78}"/>
                </a:ext>
              </a:extLst>
            </p:cNvPr>
            <p:cNvSpPr/>
            <p:nvPr/>
          </p:nvSpPr>
          <p:spPr>
            <a:xfrm>
              <a:off x="8748622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2" name="Полілінія: фігура 401">
              <a:extLst>
                <a:ext uri="{FF2B5EF4-FFF2-40B4-BE49-F238E27FC236}">
                  <a16:creationId xmlns:a16="http://schemas.microsoft.com/office/drawing/2014/main" id="{19AED840-7A65-0C8D-B7EA-8B39FE7A570F}"/>
                </a:ext>
              </a:extLst>
            </p:cNvPr>
            <p:cNvSpPr/>
            <p:nvPr/>
          </p:nvSpPr>
          <p:spPr>
            <a:xfrm>
              <a:off x="9136811" y="207033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3" name="Полілінія: фігура 402">
              <a:extLst>
                <a:ext uri="{FF2B5EF4-FFF2-40B4-BE49-F238E27FC236}">
                  <a16:creationId xmlns:a16="http://schemas.microsoft.com/office/drawing/2014/main" id="{2F6B624E-4BC4-05BF-4AEB-6A2F3D546751}"/>
                </a:ext>
              </a:extLst>
            </p:cNvPr>
            <p:cNvSpPr/>
            <p:nvPr/>
          </p:nvSpPr>
          <p:spPr>
            <a:xfrm>
              <a:off x="3055188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4" name="Полілінія: фігура 403">
              <a:extLst>
                <a:ext uri="{FF2B5EF4-FFF2-40B4-BE49-F238E27FC236}">
                  <a16:creationId xmlns:a16="http://schemas.microsoft.com/office/drawing/2014/main" id="{BF424F20-78E1-93B7-56D6-4C4A1474C58D}"/>
                </a:ext>
              </a:extLst>
            </p:cNvPr>
            <p:cNvSpPr/>
            <p:nvPr/>
          </p:nvSpPr>
          <p:spPr>
            <a:xfrm>
              <a:off x="3184584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5" name="Полілінія: фігура 404">
              <a:extLst>
                <a:ext uri="{FF2B5EF4-FFF2-40B4-BE49-F238E27FC236}">
                  <a16:creationId xmlns:a16="http://schemas.microsoft.com/office/drawing/2014/main" id="{064157DF-B111-D806-2112-19F0112F13F7}"/>
                </a:ext>
              </a:extLst>
            </p:cNvPr>
            <p:cNvSpPr/>
            <p:nvPr/>
          </p:nvSpPr>
          <p:spPr>
            <a:xfrm>
              <a:off x="3313981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6" name="Полілінія: фігура 405">
              <a:extLst>
                <a:ext uri="{FF2B5EF4-FFF2-40B4-BE49-F238E27FC236}">
                  <a16:creationId xmlns:a16="http://schemas.microsoft.com/office/drawing/2014/main" id="{0DF1D488-A056-F33B-B196-93D5D0ACB931}"/>
                </a:ext>
              </a:extLst>
            </p:cNvPr>
            <p:cNvSpPr/>
            <p:nvPr/>
          </p:nvSpPr>
          <p:spPr>
            <a:xfrm>
              <a:off x="3443377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7" name="Полілінія: фігура 406">
              <a:extLst>
                <a:ext uri="{FF2B5EF4-FFF2-40B4-BE49-F238E27FC236}">
                  <a16:creationId xmlns:a16="http://schemas.microsoft.com/office/drawing/2014/main" id="{9D443F1A-7E46-5BB5-D0B1-F9C6A48EDB3B}"/>
                </a:ext>
              </a:extLst>
            </p:cNvPr>
            <p:cNvSpPr/>
            <p:nvPr/>
          </p:nvSpPr>
          <p:spPr>
            <a:xfrm>
              <a:off x="3831566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8" name="Полілінія: фігура 407">
              <a:extLst>
                <a:ext uri="{FF2B5EF4-FFF2-40B4-BE49-F238E27FC236}">
                  <a16:creationId xmlns:a16="http://schemas.microsoft.com/office/drawing/2014/main" id="{A41F7772-BC2C-BC44-C18D-E6F11CF83F90}"/>
                </a:ext>
              </a:extLst>
            </p:cNvPr>
            <p:cNvSpPr/>
            <p:nvPr/>
          </p:nvSpPr>
          <p:spPr>
            <a:xfrm>
              <a:off x="4090358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09" name="Полілінія: фігура 408">
              <a:extLst>
                <a:ext uri="{FF2B5EF4-FFF2-40B4-BE49-F238E27FC236}">
                  <a16:creationId xmlns:a16="http://schemas.microsoft.com/office/drawing/2014/main" id="{B2BF3BD6-00BD-E82E-052F-1A9A971AA960}"/>
                </a:ext>
              </a:extLst>
            </p:cNvPr>
            <p:cNvSpPr/>
            <p:nvPr/>
          </p:nvSpPr>
          <p:spPr>
            <a:xfrm>
              <a:off x="4349150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0" name="Полілінія: фігура 409">
              <a:extLst>
                <a:ext uri="{FF2B5EF4-FFF2-40B4-BE49-F238E27FC236}">
                  <a16:creationId xmlns:a16="http://schemas.microsoft.com/office/drawing/2014/main" id="{0D442E06-120B-D37D-8796-8C8E420A03E4}"/>
                </a:ext>
              </a:extLst>
            </p:cNvPr>
            <p:cNvSpPr/>
            <p:nvPr/>
          </p:nvSpPr>
          <p:spPr>
            <a:xfrm>
              <a:off x="4478547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1" name="Полілінія: фігура 410">
              <a:extLst>
                <a:ext uri="{FF2B5EF4-FFF2-40B4-BE49-F238E27FC236}">
                  <a16:creationId xmlns:a16="http://schemas.microsoft.com/office/drawing/2014/main" id="{CF245A3C-5F24-CAC4-8732-C3C118112D7F}"/>
                </a:ext>
              </a:extLst>
            </p:cNvPr>
            <p:cNvSpPr/>
            <p:nvPr/>
          </p:nvSpPr>
          <p:spPr>
            <a:xfrm>
              <a:off x="4607943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2" name="Полілінія: фігура 411">
              <a:extLst>
                <a:ext uri="{FF2B5EF4-FFF2-40B4-BE49-F238E27FC236}">
                  <a16:creationId xmlns:a16="http://schemas.microsoft.com/office/drawing/2014/main" id="{ECE253E4-7952-1066-D92E-D5A8D1274D59}"/>
                </a:ext>
              </a:extLst>
            </p:cNvPr>
            <p:cNvSpPr/>
            <p:nvPr/>
          </p:nvSpPr>
          <p:spPr>
            <a:xfrm>
              <a:off x="4866735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3" name="Полілінія: фігура 412">
              <a:extLst>
                <a:ext uri="{FF2B5EF4-FFF2-40B4-BE49-F238E27FC236}">
                  <a16:creationId xmlns:a16="http://schemas.microsoft.com/office/drawing/2014/main" id="{48C3B245-1B5C-5D9D-A005-FBD1EA105DAD}"/>
                </a:ext>
              </a:extLst>
            </p:cNvPr>
            <p:cNvSpPr/>
            <p:nvPr/>
          </p:nvSpPr>
          <p:spPr>
            <a:xfrm>
              <a:off x="4996132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4" name="Полілінія: фігура 413">
              <a:extLst>
                <a:ext uri="{FF2B5EF4-FFF2-40B4-BE49-F238E27FC236}">
                  <a16:creationId xmlns:a16="http://schemas.microsoft.com/office/drawing/2014/main" id="{CF258884-1920-F3BD-569E-284626D9791A}"/>
                </a:ext>
              </a:extLst>
            </p:cNvPr>
            <p:cNvSpPr/>
            <p:nvPr/>
          </p:nvSpPr>
          <p:spPr>
            <a:xfrm>
              <a:off x="5125528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5" name="Полілінія: фігура 414">
              <a:extLst>
                <a:ext uri="{FF2B5EF4-FFF2-40B4-BE49-F238E27FC236}">
                  <a16:creationId xmlns:a16="http://schemas.microsoft.com/office/drawing/2014/main" id="{400DF817-F05F-B1F8-B9F6-C446C040FD03}"/>
                </a:ext>
              </a:extLst>
            </p:cNvPr>
            <p:cNvSpPr/>
            <p:nvPr/>
          </p:nvSpPr>
          <p:spPr>
            <a:xfrm>
              <a:off x="5254924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6" name="Полілінія: фігура 415">
              <a:extLst>
                <a:ext uri="{FF2B5EF4-FFF2-40B4-BE49-F238E27FC236}">
                  <a16:creationId xmlns:a16="http://schemas.microsoft.com/office/drawing/2014/main" id="{1D14A40C-82F2-80C8-61C5-54FD8410E865}"/>
                </a:ext>
              </a:extLst>
            </p:cNvPr>
            <p:cNvSpPr/>
            <p:nvPr/>
          </p:nvSpPr>
          <p:spPr>
            <a:xfrm>
              <a:off x="5513716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7" name="Полілінія: фігура 416">
              <a:extLst>
                <a:ext uri="{FF2B5EF4-FFF2-40B4-BE49-F238E27FC236}">
                  <a16:creationId xmlns:a16="http://schemas.microsoft.com/office/drawing/2014/main" id="{72CAF273-DA28-9596-0C98-4E1CE5C26488}"/>
                </a:ext>
              </a:extLst>
            </p:cNvPr>
            <p:cNvSpPr/>
            <p:nvPr/>
          </p:nvSpPr>
          <p:spPr>
            <a:xfrm>
              <a:off x="5643113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8" name="Полілінія: фігура 417">
              <a:extLst>
                <a:ext uri="{FF2B5EF4-FFF2-40B4-BE49-F238E27FC236}">
                  <a16:creationId xmlns:a16="http://schemas.microsoft.com/office/drawing/2014/main" id="{722A4C03-0D81-333C-8F34-204A967E6A97}"/>
                </a:ext>
              </a:extLst>
            </p:cNvPr>
            <p:cNvSpPr/>
            <p:nvPr/>
          </p:nvSpPr>
          <p:spPr>
            <a:xfrm>
              <a:off x="5772509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19" name="Полілінія: фігура 418">
              <a:extLst>
                <a:ext uri="{FF2B5EF4-FFF2-40B4-BE49-F238E27FC236}">
                  <a16:creationId xmlns:a16="http://schemas.microsoft.com/office/drawing/2014/main" id="{C03E1CB2-98CE-09F8-6BE2-32E9D109405D}"/>
                </a:ext>
              </a:extLst>
            </p:cNvPr>
            <p:cNvSpPr/>
            <p:nvPr/>
          </p:nvSpPr>
          <p:spPr>
            <a:xfrm>
              <a:off x="6031301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0" name="Полілінія: фігура 419">
              <a:extLst>
                <a:ext uri="{FF2B5EF4-FFF2-40B4-BE49-F238E27FC236}">
                  <a16:creationId xmlns:a16="http://schemas.microsoft.com/office/drawing/2014/main" id="{CCA125E8-D515-1F6E-532C-6DB44087C196}"/>
                </a:ext>
              </a:extLst>
            </p:cNvPr>
            <p:cNvSpPr/>
            <p:nvPr/>
          </p:nvSpPr>
          <p:spPr>
            <a:xfrm>
              <a:off x="6290094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1" name="Полілінія: фігура 420">
              <a:extLst>
                <a:ext uri="{FF2B5EF4-FFF2-40B4-BE49-F238E27FC236}">
                  <a16:creationId xmlns:a16="http://schemas.microsoft.com/office/drawing/2014/main" id="{53B063FE-CE93-6F3F-66E8-3E6A879F1482}"/>
                </a:ext>
              </a:extLst>
            </p:cNvPr>
            <p:cNvSpPr/>
            <p:nvPr/>
          </p:nvSpPr>
          <p:spPr>
            <a:xfrm>
              <a:off x="6548886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2" name="Полілінія: фігура 421">
              <a:extLst>
                <a:ext uri="{FF2B5EF4-FFF2-40B4-BE49-F238E27FC236}">
                  <a16:creationId xmlns:a16="http://schemas.microsoft.com/office/drawing/2014/main" id="{0A674C65-B42B-F4E6-163E-E50A61E53103}"/>
                </a:ext>
              </a:extLst>
            </p:cNvPr>
            <p:cNvSpPr/>
            <p:nvPr/>
          </p:nvSpPr>
          <p:spPr>
            <a:xfrm>
              <a:off x="6678283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3" name="Полілінія: фігура 422">
              <a:extLst>
                <a:ext uri="{FF2B5EF4-FFF2-40B4-BE49-F238E27FC236}">
                  <a16:creationId xmlns:a16="http://schemas.microsoft.com/office/drawing/2014/main" id="{925F3086-69E2-B63D-9677-47B31D7F30CA}"/>
                </a:ext>
              </a:extLst>
            </p:cNvPr>
            <p:cNvSpPr/>
            <p:nvPr/>
          </p:nvSpPr>
          <p:spPr>
            <a:xfrm>
              <a:off x="7325264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4" name="Полілінія: фігура 423">
              <a:extLst>
                <a:ext uri="{FF2B5EF4-FFF2-40B4-BE49-F238E27FC236}">
                  <a16:creationId xmlns:a16="http://schemas.microsoft.com/office/drawing/2014/main" id="{29FBEE06-6617-0369-51BA-1FE923CA435F}"/>
                </a:ext>
              </a:extLst>
            </p:cNvPr>
            <p:cNvSpPr/>
            <p:nvPr/>
          </p:nvSpPr>
          <p:spPr>
            <a:xfrm>
              <a:off x="8489830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5" name="Полілінія: фігура 424">
              <a:extLst>
                <a:ext uri="{FF2B5EF4-FFF2-40B4-BE49-F238E27FC236}">
                  <a16:creationId xmlns:a16="http://schemas.microsoft.com/office/drawing/2014/main" id="{662A58AD-A53D-C4C5-38D3-5F80E2EA5F98}"/>
                </a:ext>
              </a:extLst>
            </p:cNvPr>
            <p:cNvSpPr/>
            <p:nvPr/>
          </p:nvSpPr>
          <p:spPr>
            <a:xfrm>
              <a:off x="8619226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6" name="Полілінія: фігура 425">
              <a:extLst>
                <a:ext uri="{FF2B5EF4-FFF2-40B4-BE49-F238E27FC236}">
                  <a16:creationId xmlns:a16="http://schemas.microsoft.com/office/drawing/2014/main" id="{F1117476-015B-89BF-2A33-ED4A5829758A}"/>
                </a:ext>
              </a:extLst>
            </p:cNvPr>
            <p:cNvSpPr/>
            <p:nvPr/>
          </p:nvSpPr>
          <p:spPr>
            <a:xfrm>
              <a:off x="8748622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7" name="Полілінія: фігура 426">
              <a:extLst>
                <a:ext uri="{FF2B5EF4-FFF2-40B4-BE49-F238E27FC236}">
                  <a16:creationId xmlns:a16="http://schemas.microsoft.com/office/drawing/2014/main" id="{C228185D-C784-F680-FDFE-E8F532A8AA29}"/>
                </a:ext>
              </a:extLst>
            </p:cNvPr>
            <p:cNvSpPr/>
            <p:nvPr/>
          </p:nvSpPr>
          <p:spPr>
            <a:xfrm>
              <a:off x="9136811" y="219973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8" name="Полілінія: фігура 427">
              <a:extLst>
                <a:ext uri="{FF2B5EF4-FFF2-40B4-BE49-F238E27FC236}">
                  <a16:creationId xmlns:a16="http://schemas.microsoft.com/office/drawing/2014/main" id="{F1BC5C21-3C69-073E-7950-57D588C1FA06}"/>
                </a:ext>
              </a:extLst>
            </p:cNvPr>
            <p:cNvSpPr/>
            <p:nvPr/>
          </p:nvSpPr>
          <p:spPr>
            <a:xfrm>
              <a:off x="2925792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29" name="Полілінія: фігура 428">
              <a:extLst>
                <a:ext uri="{FF2B5EF4-FFF2-40B4-BE49-F238E27FC236}">
                  <a16:creationId xmlns:a16="http://schemas.microsoft.com/office/drawing/2014/main" id="{5A340CC6-38DD-D1D3-20E8-FD0BFE447A43}"/>
                </a:ext>
              </a:extLst>
            </p:cNvPr>
            <p:cNvSpPr/>
            <p:nvPr/>
          </p:nvSpPr>
          <p:spPr>
            <a:xfrm>
              <a:off x="3055188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0" name="Полілінія: фігура 429">
              <a:extLst>
                <a:ext uri="{FF2B5EF4-FFF2-40B4-BE49-F238E27FC236}">
                  <a16:creationId xmlns:a16="http://schemas.microsoft.com/office/drawing/2014/main" id="{9EF44359-9236-BD8B-BDED-49E378B80BAA}"/>
                </a:ext>
              </a:extLst>
            </p:cNvPr>
            <p:cNvSpPr/>
            <p:nvPr/>
          </p:nvSpPr>
          <p:spPr>
            <a:xfrm>
              <a:off x="3443377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1" name="Полілінія: фігура 430">
              <a:extLst>
                <a:ext uri="{FF2B5EF4-FFF2-40B4-BE49-F238E27FC236}">
                  <a16:creationId xmlns:a16="http://schemas.microsoft.com/office/drawing/2014/main" id="{1AABE906-42C8-BB3C-7BA9-11DC2B087B6F}"/>
                </a:ext>
              </a:extLst>
            </p:cNvPr>
            <p:cNvSpPr/>
            <p:nvPr/>
          </p:nvSpPr>
          <p:spPr>
            <a:xfrm>
              <a:off x="3572773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2" name="Полілінія: фігура 431">
              <a:extLst>
                <a:ext uri="{FF2B5EF4-FFF2-40B4-BE49-F238E27FC236}">
                  <a16:creationId xmlns:a16="http://schemas.microsoft.com/office/drawing/2014/main" id="{D45EE949-6258-A7E1-26FC-83A86FC4176D}"/>
                </a:ext>
              </a:extLst>
            </p:cNvPr>
            <p:cNvSpPr/>
            <p:nvPr/>
          </p:nvSpPr>
          <p:spPr>
            <a:xfrm>
              <a:off x="3702169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3" name="Полілінія: фігура 432">
              <a:extLst>
                <a:ext uri="{FF2B5EF4-FFF2-40B4-BE49-F238E27FC236}">
                  <a16:creationId xmlns:a16="http://schemas.microsoft.com/office/drawing/2014/main" id="{60123159-43F4-A3EB-587B-430717D5B108}"/>
                </a:ext>
              </a:extLst>
            </p:cNvPr>
            <p:cNvSpPr/>
            <p:nvPr/>
          </p:nvSpPr>
          <p:spPr>
            <a:xfrm>
              <a:off x="3831566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4" name="Полілінія: фігура 433">
              <a:extLst>
                <a:ext uri="{FF2B5EF4-FFF2-40B4-BE49-F238E27FC236}">
                  <a16:creationId xmlns:a16="http://schemas.microsoft.com/office/drawing/2014/main" id="{D26B7C50-1B25-A7F8-FD48-308177FF39F4}"/>
                </a:ext>
              </a:extLst>
            </p:cNvPr>
            <p:cNvSpPr/>
            <p:nvPr/>
          </p:nvSpPr>
          <p:spPr>
            <a:xfrm>
              <a:off x="4090358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5" name="Полілінія: фігура 434">
              <a:extLst>
                <a:ext uri="{FF2B5EF4-FFF2-40B4-BE49-F238E27FC236}">
                  <a16:creationId xmlns:a16="http://schemas.microsoft.com/office/drawing/2014/main" id="{86FECCD9-11FD-0FD8-1C84-DDD2B940C3CA}"/>
                </a:ext>
              </a:extLst>
            </p:cNvPr>
            <p:cNvSpPr/>
            <p:nvPr/>
          </p:nvSpPr>
          <p:spPr>
            <a:xfrm>
              <a:off x="4219754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6" name="Полілінія: фігура 435">
              <a:extLst>
                <a:ext uri="{FF2B5EF4-FFF2-40B4-BE49-F238E27FC236}">
                  <a16:creationId xmlns:a16="http://schemas.microsoft.com/office/drawing/2014/main" id="{D794156A-D7CF-EB66-A327-C1133861A600}"/>
                </a:ext>
              </a:extLst>
            </p:cNvPr>
            <p:cNvSpPr/>
            <p:nvPr/>
          </p:nvSpPr>
          <p:spPr>
            <a:xfrm>
              <a:off x="4349150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7" name="Полілінія: фігура 436">
              <a:extLst>
                <a:ext uri="{FF2B5EF4-FFF2-40B4-BE49-F238E27FC236}">
                  <a16:creationId xmlns:a16="http://schemas.microsoft.com/office/drawing/2014/main" id="{C323D6AB-D5BA-B392-B26B-0E2C1AB1BC03}"/>
                </a:ext>
              </a:extLst>
            </p:cNvPr>
            <p:cNvSpPr/>
            <p:nvPr/>
          </p:nvSpPr>
          <p:spPr>
            <a:xfrm>
              <a:off x="4607943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8" name="Полілінія: фігура 437">
              <a:extLst>
                <a:ext uri="{FF2B5EF4-FFF2-40B4-BE49-F238E27FC236}">
                  <a16:creationId xmlns:a16="http://schemas.microsoft.com/office/drawing/2014/main" id="{4C6489F1-BF3E-3D13-8ED4-2DE3F64760B5}"/>
                </a:ext>
              </a:extLst>
            </p:cNvPr>
            <p:cNvSpPr/>
            <p:nvPr/>
          </p:nvSpPr>
          <p:spPr>
            <a:xfrm>
              <a:off x="4737339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39" name="Полілінія: фігура 438">
              <a:extLst>
                <a:ext uri="{FF2B5EF4-FFF2-40B4-BE49-F238E27FC236}">
                  <a16:creationId xmlns:a16="http://schemas.microsoft.com/office/drawing/2014/main" id="{AD4B93D6-3003-AF46-ED9A-ECDD9A885C6E}"/>
                </a:ext>
              </a:extLst>
            </p:cNvPr>
            <p:cNvSpPr/>
            <p:nvPr/>
          </p:nvSpPr>
          <p:spPr>
            <a:xfrm>
              <a:off x="4996132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0" name="Полілінія: фігура 439">
              <a:extLst>
                <a:ext uri="{FF2B5EF4-FFF2-40B4-BE49-F238E27FC236}">
                  <a16:creationId xmlns:a16="http://schemas.microsoft.com/office/drawing/2014/main" id="{CD493EEC-81DF-7EFB-CD5A-296FB7714FF1}"/>
                </a:ext>
              </a:extLst>
            </p:cNvPr>
            <p:cNvSpPr/>
            <p:nvPr/>
          </p:nvSpPr>
          <p:spPr>
            <a:xfrm>
              <a:off x="5125528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1" name="Полілінія: фігура 440">
              <a:extLst>
                <a:ext uri="{FF2B5EF4-FFF2-40B4-BE49-F238E27FC236}">
                  <a16:creationId xmlns:a16="http://schemas.microsoft.com/office/drawing/2014/main" id="{E5FEA0D8-B7FB-5465-E406-01F0E5444CC9}"/>
                </a:ext>
              </a:extLst>
            </p:cNvPr>
            <p:cNvSpPr/>
            <p:nvPr/>
          </p:nvSpPr>
          <p:spPr>
            <a:xfrm>
              <a:off x="5254924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2" name="Полілінія: фігура 441">
              <a:extLst>
                <a:ext uri="{FF2B5EF4-FFF2-40B4-BE49-F238E27FC236}">
                  <a16:creationId xmlns:a16="http://schemas.microsoft.com/office/drawing/2014/main" id="{9BC1CA7B-76AC-6557-BBDB-7ECFD334881A}"/>
                </a:ext>
              </a:extLst>
            </p:cNvPr>
            <p:cNvSpPr/>
            <p:nvPr/>
          </p:nvSpPr>
          <p:spPr>
            <a:xfrm>
              <a:off x="5384320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3" name="Полілінія: фігура 442">
              <a:extLst>
                <a:ext uri="{FF2B5EF4-FFF2-40B4-BE49-F238E27FC236}">
                  <a16:creationId xmlns:a16="http://schemas.microsoft.com/office/drawing/2014/main" id="{C6373987-6951-F71C-4A2A-85E0F3048BF1}"/>
                </a:ext>
              </a:extLst>
            </p:cNvPr>
            <p:cNvSpPr/>
            <p:nvPr/>
          </p:nvSpPr>
          <p:spPr>
            <a:xfrm>
              <a:off x="5772509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4" name="Полілінія: фігура 443">
              <a:extLst>
                <a:ext uri="{FF2B5EF4-FFF2-40B4-BE49-F238E27FC236}">
                  <a16:creationId xmlns:a16="http://schemas.microsoft.com/office/drawing/2014/main" id="{887DA8E8-9587-6F8D-B6DE-D3531A22F51B}"/>
                </a:ext>
              </a:extLst>
            </p:cNvPr>
            <p:cNvSpPr/>
            <p:nvPr/>
          </p:nvSpPr>
          <p:spPr>
            <a:xfrm>
              <a:off x="5901905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5" name="Полілінія: фігура 444">
              <a:extLst>
                <a:ext uri="{FF2B5EF4-FFF2-40B4-BE49-F238E27FC236}">
                  <a16:creationId xmlns:a16="http://schemas.microsoft.com/office/drawing/2014/main" id="{3A619DF3-F8AD-6298-40D2-76FB8A189556}"/>
                </a:ext>
              </a:extLst>
            </p:cNvPr>
            <p:cNvSpPr/>
            <p:nvPr/>
          </p:nvSpPr>
          <p:spPr>
            <a:xfrm>
              <a:off x="6160698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6" name="Полілінія: фігура 445">
              <a:extLst>
                <a:ext uri="{FF2B5EF4-FFF2-40B4-BE49-F238E27FC236}">
                  <a16:creationId xmlns:a16="http://schemas.microsoft.com/office/drawing/2014/main" id="{E497A88E-48C3-5F04-E931-7C56B7FF33ED}"/>
                </a:ext>
              </a:extLst>
            </p:cNvPr>
            <p:cNvSpPr/>
            <p:nvPr/>
          </p:nvSpPr>
          <p:spPr>
            <a:xfrm>
              <a:off x="6678283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7" name="Полілінія: фігура 446">
              <a:extLst>
                <a:ext uri="{FF2B5EF4-FFF2-40B4-BE49-F238E27FC236}">
                  <a16:creationId xmlns:a16="http://schemas.microsoft.com/office/drawing/2014/main" id="{4E20FD1D-8227-2EE7-6AD7-F6E343FE81A5}"/>
                </a:ext>
              </a:extLst>
            </p:cNvPr>
            <p:cNvSpPr/>
            <p:nvPr/>
          </p:nvSpPr>
          <p:spPr>
            <a:xfrm>
              <a:off x="6937075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8" name="Полілінія: фігура 447">
              <a:extLst>
                <a:ext uri="{FF2B5EF4-FFF2-40B4-BE49-F238E27FC236}">
                  <a16:creationId xmlns:a16="http://schemas.microsoft.com/office/drawing/2014/main" id="{C5DE1729-1627-3C1F-248C-21D0B9E69668}"/>
                </a:ext>
              </a:extLst>
            </p:cNvPr>
            <p:cNvSpPr/>
            <p:nvPr/>
          </p:nvSpPr>
          <p:spPr>
            <a:xfrm>
              <a:off x="7066471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49" name="Полілінія: фігура 448">
              <a:extLst>
                <a:ext uri="{FF2B5EF4-FFF2-40B4-BE49-F238E27FC236}">
                  <a16:creationId xmlns:a16="http://schemas.microsoft.com/office/drawing/2014/main" id="{A4E8E556-DEB5-02EC-AF74-E2F3710228D9}"/>
                </a:ext>
              </a:extLst>
            </p:cNvPr>
            <p:cNvSpPr/>
            <p:nvPr/>
          </p:nvSpPr>
          <p:spPr>
            <a:xfrm>
              <a:off x="7325264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0" name="Полілінія: фігура 449">
              <a:extLst>
                <a:ext uri="{FF2B5EF4-FFF2-40B4-BE49-F238E27FC236}">
                  <a16:creationId xmlns:a16="http://schemas.microsoft.com/office/drawing/2014/main" id="{A029BFA9-6799-08DA-54B5-F1C30AB835EE}"/>
                </a:ext>
              </a:extLst>
            </p:cNvPr>
            <p:cNvSpPr/>
            <p:nvPr/>
          </p:nvSpPr>
          <p:spPr>
            <a:xfrm>
              <a:off x="7454660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1" name="Полілінія: фігура 450">
              <a:extLst>
                <a:ext uri="{FF2B5EF4-FFF2-40B4-BE49-F238E27FC236}">
                  <a16:creationId xmlns:a16="http://schemas.microsoft.com/office/drawing/2014/main" id="{DD652498-74B4-B2C4-FFB4-05CE02F8FEC6}"/>
                </a:ext>
              </a:extLst>
            </p:cNvPr>
            <p:cNvSpPr/>
            <p:nvPr/>
          </p:nvSpPr>
          <p:spPr>
            <a:xfrm>
              <a:off x="7584056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2" name="Полілінія: фігура 451">
              <a:extLst>
                <a:ext uri="{FF2B5EF4-FFF2-40B4-BE49-F238E27FC236}">
                  <a16:creationId xmlns:a16="http://schemas.microsoft.com/office/drawing/2014/main" id="{74A96569-F2AC-F5BE-022C-7B949545FABC}"/>
                </a:ext>
              </a:extLst>
            </p:cNvPr>
            <p:cNvSpPr/>
            <p:nvPr/>
          </p:nvSpPr>
          <p:spPr>
            <a:xfrm>
              <a:off x="7713452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3" name="Полілінія: фігура 452">
              <a:extLst>
                <a:ext uri="{FF2B5EF4-FFF2-40B4-BE49-F238E27FC236}">
                  <a16:creationId xmlns:a16="http://schemas.microsoft.com/office/drawing/2014/main" id="{3F97C8FE-4D2A-5263-76AB-DA097AD11B5F}"/>
                </a:ext>
              </a:extLst>
            </p:cNvPr>
            <p:cNvSpPr/>
            <p:nvPr/>
          </p:nvSpPr>
          <p:spPr>
            <a:xfrm>
              <a:off x="7972245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4" name="Полілінія: фігура 453">
              <a:extLst>
                <a:ext uri="{FF2B5EF4-FFF2-40B4-BE49-F238E27FC236}">
                  <a16:creationId xmlns:a16="http://schemas.microsoft.com/office/drawing/2014/main" id="{C14626D9-3A39-EE53-4FAA-E64725FA9FA8}"/>
                </a:ext>
              </a:extLst>
            </p:cNvPr>
            <p:cNvSpPr/>
            <p:nvPr/>
          </p:nvSpPr>
          <p:spPr>
            <a:xfrm>
              <a:off x="8489830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5" name="Полілінія: фігура 454">
              <a:extLst>
                <a:ext uri="{FF2B5EF4-FFF2-40B4-BE49-F238E27FC236}">
                  <a16:creationId xmlns:a16="http://schemas.microsoft.com/office/drawing/2014/main" id="{EA50B3EE-9EFB-E3D4-842C-2DA5A2D7E1CC}"/>
                </a:ext>
              </a:extLst>
            </p:cNvPr>
            <p:cNvSpPr/>
            <p:nvPr/>
          </p:nvSpPr>
          <p:spPr>
            <a:xfrm>
              <a:off x="8619226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6" name="Полілінія: фігура 455">
              <a:extLst>
                <a:ext uri="{FF2B5EF4-FFF2-40B4-BE49-F238E27FC236}">
                  <a16:creationId xmlns:a16="http://schemas.microsoft.com/office/drawing/2014/main" id="{5D0BB962-E9C2-E240-CC36-2A5CDAD43956}"/>
                </a:ext>
              </a:extLst>
            </p:cNvPr>
            <p:cNvSpPr/>
            <p:nvPr/>
          </p:nvSpPr>
          <p:spPr>
            <a:xfrm>
              <a:off x="9007415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7" name="Полілінія: фігура 456">
              <a:extLst>
                <a:ext uri="{FF2B5EF4-FFF2-40B4-BE49-F238E27FC236}">
                  <a16:creationId xmlns:a16="http://schemas.microsoft.com/office/drawing/2014/main" id="{353925A9-0ECC-A803-4796-C8C1CF8E795E}"/>
                </a:ext>
              </a:extLst>
            </p:cNvPr>
            <p:cNvSpPr/>
            <p:nvPr/>
          </p:nvSpPr>
          <p:spPr>
            <a:xfrm>
              <a:off x="9136811" y="232913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8" name="Полілінія: фігура 457">
              <a:extLst>
                <a:ext uri="{FF2B5EF4-FFF2-40B4-BE49-F238E27FC236}">
                  <a16:creationId xmlns:a16="http://schemas.microsoft.com/office/drawing/2014/main" id="{DD3C6C7E-CFD1-050B-837E-FDF9A811E1AE}"/>
                </a:ext>
              </a:extLst>
            </p:cNvPr>
            <p:cNvSpPr/>
            <p:nvPr/>
          </p:nvSpPr>
          <p:spPr>
            <a:xfrm>
              <a:off x="2925792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59" name="Полілінія: фігура 458">
              <a:extLst>
                <a:ext uri="{FF2B5EF4-FFF2-40B4-BE49-F238E27FC236}">
                  <a16:creationId xmlns:a16="http://schemas.microsoft.com/office/drawing/2014/main" id="{258F3C93-BA51-5436-D0AE-44C6885DA3D1}"/>
                </a:ext>
              </a:extLst>
            </p:cNvPr>
            <p:cNvSpPr/>
            <p:nvPr/>
          </p:nvSpPr>
          <p:spPr>
            <a:xfrm>
              <a:off x="3313981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0" name="Полілінія: фігура 459">
              <a:extLst>
                <a:ext uri="{FF2B5EF4-FFF2-40B4-BE49-F238E27FC236}">
                  <a16:creationId xmlns:a16="http://schemas.microsoft.com/office/drawing/2014/main" id="{09E8492A-16AB-4296-35BB-48FB7D44F53C}"/>
                </a:ext>
              </a:extLst>
            </p:cNvPr>
            <p:cNvSpPr/>
            <p:nvPr/>
          </p:nvSpPr>
          <p:spPr>
            <a:xfrm>
              <a:off x="4090358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1" name="Полілінія: фігура 460">
              <a:extLst>
                <a:ext uri="{FF2B5EF4-FFF2-40B4-BE49-F238E27FC236}">
                  <a16:creationId xmlns:a16="http://schemas.microsoft.com/office/drawing/2014/main" id="{474D3AAD-1ECC-A0C2-126C-E632CF99562F}"/>
                </a:ext>
              </a:extLst>
            </p:cNvPr>
            <p:cNvSpPr/>
            <p:nvPr/>
          </p:nvSpPr>
          <p:spPr>
            <a:xfrm>
              <a:off x="4478547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2" name="Полілінія: фігура 461">
              <a:extLst>
                <a:ext uri="{FF2B5EF4-FFF2-40B4-BE49-F238E27FC236}">
                  <a16:creationId xmlns:a16="http://schemas.microsoft.com/office/drawing/2014/main" id="{5194A6F5-EABE-699F-E5D2-F29939EC62B0}"/>
                </a:ext>
              </a:extLst>
            </p:cNvPr>
            <p:cNvSpPr/>
            <p:nvPr/>
          </p:nvSpPr>
          <p:spPr>
            <a:xfrm>
              <a:off x="4607943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3" name="Полілінія: фігура 462">
              <a:extLst>
                <a:ext uri="{FF2B5EF4-FFF2-40B4-BE49-F238E27FC236}">
                  <a16:creationId xmlns:a16="http://schemas.microsoft.com/office/drawing/2014/main" id="{DC7C8436-1001-4AFF-0397-8BF5999E6A52}"/>
                </a:ext>
              </a:extLst>
            </p:cNvPr>
            <p:cNvSpPr/>
            <p:nvPr/>
          </p:nvSpPr>
          <p:spPr>
            <a:xfrm>
              <a:off x="4866735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4" name="Полілінія: фігура 463">
              <a:extLst>
                <a:ext uri="{FF2B5EF4-FFF2-40B4-BE49-F238E27FC236}">
                  <a16:creationId xmlns:a16="http://schemas.microsoft.com/office/drawing/2014/main" id="{12D2DF6A-CB55-B223-4AEF-0FC00BF2D29C}"/>
                </a:ext>
              </a:extLst>
            </p:cNvPr>
            <p:cNvSpPr/>
            <p:nvPr/>
          </p:nvSpPr>
          <p:spPr>
            <a:xfrm>
              <a:off x="4996132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5" name="Полілінія: фігура 464">
              <a:extLst>
                <a:ext uri="{FF2B5EF4-FFF2-40B4-BE49-F238E27FC236}">
                  <a16:creationId xmlns:a16="http://schemas.microsoft.com/office/drawing/2014/main" id="{DDD9EAD0-3B0F-92E2-FDB2-B37D19635750}"/>
                </a:ext>
              </a:extLst>
            </p:cNvPr>
            <p:cNvSpPr/>
            <p:nvPr/>
          </p:nvSpPr>
          <p:spPr>
            <a:xfrm>
              <a:off x="5384320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6" name="Полілінія: фігура 465">
              <a:extLst>
                <a:ext uri="{FF2B5EF4-FFF2-40B4-BE49-F238E27FC236}">
                  <a16:creationId xmlns:a16="http://schemas.microsoft.com/office/drawing/2014/main" id="{7945C49F-80C8-3735-DD2A-7C76083FCDF7}"/>
                </a:ext>
              </a:extLst>
            </p:cNvPr>
            <p:cNvSpPr/>
            <p:nvPr/>
          </p:nvSpPr>
          <p:spPr>
            <a:xfrm>
              <a:off x="5513716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7" name="Полілінія: фігура 466">
              <a:extLst>
                <a:ext uri="{FF2B5EF4-FFF2-40B4-BE49-F238E27FC236}">
                  <a16:creationId xmlns:a16="http://schemas.microsoft.com/office/drawing/2014/main" id="{D6C8F893-1CF7-8920-0DAF-F48B34F8B745}"/>
                </a:ext>
              </a:extLst>
            </p:cNvPr>
            <p:cNvSpPr/>
            <p:nvPr/>
          </p:nvSpPr>
          <p:spPr>
            <a:xfrm>
              <a:off x="6031301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8" name="Полілінія: фігура 467">
              <a:extLst>
                <a:ext uri="{FF2B5EF4-FFF2-40B4-BE49-F238E27FC236}">
                  <a16:creationId xmlns:a16="http://schemas.microsoft.com/office/drawing/2014/main" id="{0471F4E8-91DE-E74B-191E-6A63003D8E54}"/>
                </a:ext>
              </a:extLst>
            </p:cNvPr>
            <p:cNvSpPr/>
            <p:nvPr/>
          </p:nvSpPr>
          <p:spPr>
            <a:xfrm>
              <a:off x="6160698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69" name="Полілінія: фігура 468">
              <a:extLst>
                <a:ext uri="{FF2B5EF4-FFF2-40B4-BE49-F238E27FC236}">
                  <a16:creationId xmlns:a16="http://schemas.microsoft.com/office/drawing/2014/main" id="{0ADBC9ED-D711-3C5C-C6C3-CFF1F2045E9B}"/>
                </a:ext>
              </a:extLst>
            </p:cNvPr>
            <p:cNvSpPr/>
            <p:nvPr/>
          </p:nvSpPr>
          <p:spPr>
            <a:xfrm>
              <a:off x="6290094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0" name="Полілінія: фігура 469">
              <a:extLst>
                <a:ext uri="{FF2B5EF4-FFF2-40B4-BE49-F238E27FC236}">
                  <a16:creationId xmlns:a16="http://schemas.microsoft.com/office/drawing/2014/main" id="{DD36DDB3-3FE1-284D-4E23-B5E56179FDA9}"/>
                </a:ext>
              </a:extLst>
            </p:cNvPr>
            <p:cNvSpPr/>
            <p:nvPr/>
          </p:nvSpPr>
          <p:spPr>
            <a:xfrm>
              <a:off x="6419490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1" name="Полілінія: фігура 470">
              <a:extLst>
                <a:ext uri="{FF2B5EF4-FFF2-40B4-BE49-F238E27FC236}">
                  <a16:creationId xmlns:a16="http://schemas.microsoft.com/office/drawing/2014/main" id="{581F6077-BD67-0F3E-0071-83B31C1F1629}"/>
                </a:ext>
              </a:extLst>
            </p:cNvPr>
            <p:cNvSpPr/>
            <p:nvPr/>
          </p:nvSpPr>
          <p:spPr>
            <a:xfrm>
              <a:off x="6548886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2" name="Полілінія: фігура 471">
              <a:extLst>
                <a:ext uri="{FF2B5EF4-FFF2-40B4-BE49-F238E27FC236}">
                  <a16:creationId xmlns:a16="http://schemas.microsoft.com/office/drawing/2014/main" id="{6DCBF06E-8774-DE32-078F-036238852DE1}"/>
                </a:ext>
              </a:extLst>
            </p:cNvPr>
            <p:cNvSpPr/>
            <p:nvPr/>
          </p:nvSpPr>
          <p:spPr>
            <a:xfrm>
              <a:off x="7066471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3" name="Полілінія: фігура 472">
              <a:extLst>
                <a:ext uri="{FF2B5EF4-FFF2-40B4-BE49-F238E27FC236}">
                  <a16:creationId xmlns:a16="http://schemas.microsoft.com/office/drawing/2014/main" id="{E7BD4D70-F039-4E62-90F8-E3D111505A86}"/>
                </a:ext>
              </a:extLst>
            </p:cNvPr>
            <p:cNvSpPr/>
            <p:nvPr/>
          </p:nvSpPr>
          <p:spPr>
            <a:xfrm>
              <a:off x="7325264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4" name="Полілінія: фігура 473">
              <a:extLst>
                <a:ext uri="{FF2B5EF4-FFF2-40B4-BE49-F238E27FC236}">
                  <a16:creationId xmlns:a16="http://schemas.microsoft.com/office/drawing/2014/main" id="{B909997F-AD5E-1BBF-080D-10968EB929B5}"/>
                </a:ext>
              </a:extLst>
            </p:cNvPr>
            <p:cNvSpPr/>
            <p:nvPr/>
          </p:nvSpPr>
          <p:spPr>
            <a:xfrm>
              <a:off x="7454660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5" name="Полілінія: фігура 474">
              <a:extLst>
                <a:ext uri="{FF2B5EF4-FFF2-40B4-BE49-F238E27FC236}">
                  <a16:creationId xmlns:a16="http://schemas.microsoft.com/office/drawing/2014/main" id="{405D65E7-9D8B-2C75-C0F2-E41341ADE5A5}"/>
                </a:ext>
              </a:extLst>
            </p:cNvPr>
            <p:cNvSpPr/>
            <p:nvPr/>
          </p:nvSpPr>
          <p:spPr>
            <a:xfrm>
              <a:off x="7584056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6" name="Полілінія: фігура 475">
              <a:extLst>
                <a:ext uri="{FF2B5EF4-FFF2-40B4-BE49-F238E27FC236}">
                  <a16:creationId xmlns:a16="http://schemas.microsoft.com/office/drawing/2014/main" id="{05009F30-515C-7037-F6CA-803BEF295C3F}"/>
                </a:ext>
              </a:extLst>
            </p:cNvPr>
            <p:cNvSpPr/>
            <p:nvPr/>
          </p:nvSpPr>
          <p:spPr>
            <a:xfrm>
              <a:off x="8101641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7" name="Полілінія: фігура 476">
              <a:extLst>
                <a:ext uri="{FF2B5EF4-FFF2-40B4-BE49-F238E27FC236}">
                  <a16:creationId xmlns:a16="http://schemas.microsoft.com/office/drawing/2014/main" id="{BD0C4C19-844F-FC03-572E-2D10F482FF38}"/>
                </a:ext>
              </a:extLst>
            </p:cNvPr>
            <p:cNvSpPr/>
            <p:nvPr/>
          </p:nvSpPr>
          <p:spPr>
            <a:xfrm>
              <a:off x="8360433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8" name="Полілінія: фігура 477">
              <a:extLst>
                <a:ext uri="{FF2B5EF4-FFF2-40B4-BE49-F238E27FC236}">
                  <a16:creationId xmlns:a16="http://schemas.microsoft.com/office/drawing/2014/main" id="{92F7F71F-A680-8E78-DA13-9DC4CA095764}"/>
                </a:ext>
              </a:extLst>
            </p:cNvPr>
            <p:cNvSpPr/>
            <p:nvPr/>
          </p:nvSpPr>
          <p:spPr>
            <a:xfrm>
              <a:off x="9007415" y="245852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79" name="Полілінія: фігура 478">
              <a:extLst>
                <a:ext uri="{FF2B5EF4-FFF2-40B4-BE49-F238E27FC236}">
                  <a16:creationId xmlns:a16="http://schemas.microsoft.com/office/drawing/2014/main" id="{A6B8DD83-249E-88F9-17F6-A836A203F422}"/>
                </a:ext>
              </a:extLst>
            </p:cNvPr>
            <p:cNvSpPr/>
            <p:nvPr/>
          </p:nvSpPr>
          <p:spPr>
            <a:xfrm>
              <a:off x="2925792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0" name="Полілінія: фігура 479">
              <a:extLst>
                <a:ext uri="{FF2B5EF4-FFF2-40B4-BE49-F238E27FC236}">
                  <a16:creationId xmlns:a16="http://schemas.microsoft.com/office/drawing/2014/main" id="{CEBCD318-A743-4C9F-C4EA-2B069E3335F7}"/>
                </a:ext>
              </a:extLst>
            </p:cNvPr>
            <p:cNvSpPr/>
            <p:nvPr/>
          </p:nvSpPr>
          <p:spPr>
            <a:xfrm>
              <a:off x="3055188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1" name="Полілінія: фігура 480">
              <a:extLst>
                <a:ext uri="{FF2B5EF4-FFF2-40B4-BE49-F238E27FC236}">
                  <a16:creationId xmlns:a16="http://schemas.microsoft.com/office/drawing/2014/main" id="{65ACD7C1-3093-9FD0-E431-5CFAB5A2CDE0}"/>
                </a:ext>
              </a:extLst>
            </p:cNvPr>
            <p:cNvSpPr/>
            <p:nvPr/>
          </p:nvSpPr>
          <p:spPr>
            <a:xfrm>
              <a:off x="3184584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2" name="Полілінія: фігура 481">
              <a:extLst>
                <a:ext uri="{FF2B5EF4-FFF2-40B4-BE49-F238E27FC236}">
                  <a16:creationId xmlns:a16="http://schemas.microsoft.com/office/drawing/2014/main" id="{9E512B25-C3A8-3AA6-FF6A-5B6BEBD5F1BE}"/>
                </a:ext>
              </a:extLst>
            </p:cNvPr>
            <p:cNvSpPr/>
            <p:nvPr/>
          </p:nvSpPr>
          <p:spPr>
            <a:xfrm>
              <a:off x="3572773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3" name="Полілінія: фігура 482">
              <a:extLst>
                <a:ext uri="{FF2B5EF4-FFF2-40B4-BE49-F238E27FC236}">
                  <a16:creationId xmlns:a16="http://schemas.microsoft.com/office/drawing/2014/main" id="{99AB8707-E6A4-11D9-1A0C-32E6DA53AFBF}"/>
                </a:ext>
              </a:extLst>
            </p:cNvPr>
            <p:cNvSpPr/>
            <p:nvPr/>
          </p:nvSpPr>
          <p:spPr>
            <a:xfrm>
              <a:off x="3702169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4" name="Полілінія: фігура 483">
              <a:extLst>
                <a:ext uri="{FF2B5EF4-FFF2-40B4-BE49-F238E27FC236}">
                  <a16:creationId xmlns:a16="http://schemas.microsoft.com/office/drawing/2014/main" id="{D452190A-F32B-6A33-0E81-7EC08E50DC97}"/>
                </a:ext>
              </a:extLst>
            </p:cNvPr>
            <p:cNvSpPr/>
            <p:nvPr/>
          </p:nvSpPr>
          <p:spPr>
            <a:xfrm>
              <a:off x="3831566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5" name="Полілінія: фігура 484">
              <a:extLst>
                <a:ext uri="{FF2B5EF4-FFF2-40B4-BE49-F238E27FC236}">
                  <a16:creationId xmlns:a16="http://schemas.microsoft.com/office/drawing/2014/main" id="{D7D8B1AC-9E2D-7970-3409-ABA1E9EC831A}"/>
                </a:ext>
              </a:extLst>
            </p:cNvPr>
            <p:cNvSpPr/>
            <p:nvPr/>
          </p:nvSpPr>
          <p:spPr>
            <a:xfrm>
              <a:off x="3960962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6" name="Полілінія: фігура 485">
              <a:extLst>
                <a:ext uri="{FF2B5EF4-FFF2-40B4-BE49-F238E27FC236}">
                  <a16:creationId xmlns:a16="http://schemas.microsoft.com/office/drawing/2014/main" id="{5C68C290-55F8-A48C-E979-CAE5F073296F}"/>
                </a:ext>
              </a:extLst>
            </p:cNvPr>
            <p:cNvSpPr/>
            <p:nvPr/>
          </p:nvSpPr>
          <p:spPr>
            <a:xfrm>
              <a:off x="4219754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7" name="Полілінія: фігура 486">
              <a:extLst>
                <a:ext uri="{FF2B5EF4-FFF2-40B4-BE49-F238E27FC236}">
                  <a16:creationId xmlns:a16="http://schemas.microsoft.com/office/drawing/2014/main" id="{F69FFC8B-5248-379F-0CAF-A287B9AF24C2}"/>
                </a:ext>
              </a:extLst>
            </p:cNvPr>
            <p:cNvSpPr/>
            <p:nvPr/>
          </p:nvSpPr>
          <p:spPr>
            <a:xfrm>
              <a:off x="4349150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8" name="Полілінія: фігура 487">
              <a:extLst>
                <a:ext uri="{FF2B5EF4-FFF2-40B4-BE49-F238E27FC236}">
                  <a16:creationId xmlns:a16="http://schemas.microsoft.com/office/drawing/2014/main" id="{288BB72F-F11C-B0E9-6C9B-F770173D2CBE}"/>
                </a:ext>
              </a:extLst>
            </p:cNvPr>
            <p:cNvSpPr/>
            <p:nvPr/>
          </p:nvSpPr>
          <p:spPr>
            <a:xfrm>
              <a:off x="4737339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89" name="Полілінія: фігура 488">
              <a:extLst>
                <a:ext uri="{FF2B5EF4-FFF2-40B4-BE49-F238E27FC236}">
                  <a16:creationId xmlns:a16="http://schemas.microsoft.com/office/drawing/2014/main" id="{4357B528-810F-800A-1A0B-75149CB6E48C}"/>
                </a:ext>
              </a:extLst>
            </p:cNvPr>
            <p:cNvSpPr/>
            <p:nvPr/>
          </p:nvSpPr>
          <p:spPr>
            <a:xfrm>
              <a:off x="4866735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0" name="Полілінія: фігура 489">
              <a:extLst>
                <a:ext uri="{FF2B5EF4-FFF2-40B4-BE49-F238E27FC236}">
                  <a16:creationId xmlns:a16="http://schemas.microsoft.com/office/drawing/2014/main" id="{E99982ED-D701-0A03-9814-70546FFB0C9F}"/>
                </a:ext>
              </a:extLst>
            </p:cNvPr>
            <p:cNvSpPr/>
            <p:nvPr/>
          </p:nvSpPr>
          <p:spPr>
            <a:xfrm>
              <a:off x="5254924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1" name="Полілінія: фігура 490">
              <a:extLst>
                <a:ext uri="{FF2B5EF4-FFF2-40B4-BE49-F238E27FC236}">
                  <a16:creationId xmlns:a16="http://schemas.microsoft.com/office/drawing/2014/main" id="{908C08EC-0569-4F0C-B21B-BAB3846D09A0}"/>
                </a:ext>
              </a:extLst>
            </p:cNvPr>
            <p:cNvSpPr/>
            <p:nvPr/>
          </p:nvSpPr>
          <p:spPr>
            <a:xfrm>
              <a:off x="5643113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2" name="Полілінія: фігура 491">
              <a:extLst>
                <a:ext uri="{FF2B5EF4-FFF2-40B4-BE49-F238E27FC236}">
                  <a16:creationId xmlns:a16="http://schemas.microsoft.com/office/drawing/2014/main" id="{EBD29EF0-1FA7-D003-3539-4BC054BC4504}"/>
                </a:ext>
              </a:extLst>
            </p:cNvPr>
            <p:cNvSpPr/>
            <p:nvPr/>
          </p:nvSpPr>
          <p:spPr>
            <a:xfrm>
              <a:off x="6031301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3" name="Полілінія: фігура 492">
              <a:extLst>
                <a:ext uri="{FF2B5EF4-FFF2-40B4-BE49-F238E27FC236}">
                  <a16:creationId xmlns:a16="http://schemas.microsoft.com/office/drawing/2014/main" id="{92AC7173-DCA8-FF5F-E8E8-BE32F1ADE868}"/>
                </a:ext>
              </a:extLst>
            </p:cNvPr>
            <p:cNvSpPr/>
            <p:nvPr/>
          </p:nvSpPr>
          <p:spPr>
            <a:xfrm>
              <a:off x="6548886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4" name="Полілінія: фігура 493">
              <a:extLst>
                <a:ext uri="{FF2B5EF4-FFF2-40B4-BE49-F238E27FC236}">
                  <a16:creationId xmlns:a16="http://schemas.microsoft.com/office/drawing/2014/main" id="{039B9ABA-4C1A-37AA-ABDA-3E7C7053E5D5}"/>
                </a:ext>
              </a:extLst>
            </p:cNvPr>
            <p:cNvSpPr/>
            <p:nvPr/>
          </p:nvSpPr>
          <p:spPr>
            <a:xfrm>
              <a:off x="7325264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5" name="Полілінія: фігура 494">
              <a:extLst>
                <a:ext uri="{FF2B5EF4-FFF2-40B4-BE49-F238E27FC236}">
                  <a16:creationId xmlns:a16="http://schemas.microsoft.com/office/drawing/2014/main" id="{DF546776-AD22-4B05-4EAF-B83A628B297B}"/>
                </a:ext>
              </a:extLst>
            </p:cNvPr>
            <p:cNvSpPr/>
            <p:nvPr/>
          </p:nvSpPr>
          <p:spPr>
            <a:xfrm>
              <a:off x="7454660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6" name="Полілінія: фігура 495">
              <a:extLst>
                <a:ext uri="{FF2B5EF4-FFF2-40B4-BE49-F238E27FC236}">
                  <a16:creationId xmlns:a16="http://schemas.microsoft.com/office/drawing/2014/main" id="{52F38161-2BD5-BAFA-6F2A-9337FBD2C942}"/>
                </a:ext>
              </a:extLst>
            </p:cNvPr>
            <p:cNvSpPr/>
            <p:nvPr/>
          </p:nvSpPr>
          <p:spPr>
            <a:xfrm>
              <a:off x="7584056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7" name="Полілінія: фігура 496">
              <a:extLst>
                <a:ext uri="{FF2B5EF4-FFF2-40B4-BE49-F238E27FC236}">
                  <a16:creationId xmlns:a16="http://schemas.microsoft.com/office/drawing/2014/main" id="{11A67E70-63BA-C2EA-65FE-B73BADDCA6B6}"/>
                </a:ext>
              </a:extLst>
            </p:cNvPr>
            <p:cNvSpPr/>
            <p:nvPr/>
          </p:nvSpPr>
          <p:spPr>
            <a:xfrm>
              <a:off x="7842849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8" name="Полілінія: фігура 497">
              <a:extLst>
                <a:ext uri="{FF2B5EF4-FFF2-40B4-BE49-F238E27FC236}">
                  <a16:creationId xmlns:a16="http://schemas.microsoft.com/office/drawing/2014/main" id="{90B804BA-3E2D-2A6E-96BC-83C580AD5394}"/>
                </a:ext>
              </a:extLst>
            </p:cNvPr>
            <p:cNvSpPr/>
            <p:nvPr/>
          </p:nvSpPr>
          <p:spPr>
            <a:xfrm>
              <a:off x="8360433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499" name="Полілінія: фігура 498">
              <a:extLst>
                <a:ext uri="{FF2B5EF4-FFF2-40B4-BE49-F238E27FC236}">
                  <a16:creationId xmlns:a16="http://schemas.microsoft.com/office/drawing/2014/main" id="{9D932A14-D190-C588-2847-D04098621B2E}"/>
                </a:ext>
              </a:extLst>
            </p:cNvPr>
            <p:cNvSpPr/>
            <p:nvPr/>
          </p:nvSpPr>
          <p:spPr>
            <a:xfrm>
              <a:off x="8489830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0" name="Полілінія: фігура 499">
              <a:extLst>
                <a:ext uri="{FF2B5EF4-FFF2-40B4-BE49-F238E27FC236}">
                  <a16:creationId xmlns:a16="http://schemas.microsoft.com/office/drawing/2014/main" id="{FC55C4B9-4FCD-B86E-43E3-391E47590C8C}"/>
                </a:ext>
              </a:extLst>
            </p:cNvPr>
            <p:cNvSpPr/>
            <p:nvPr/>
          </p:nvSpPr>
          <p:spPr>
            <a:xfrm>
              <a:off x="8619226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1" name="Полілінія: фігура 500">
              <a:extLst>
                <a:ext uri="{FF2B5EF4-FFF2-40B4-BE49-F238E27FC236}">
                  <a16:creationId xmlns:a16="http://schemas.microsoft.com/office/drawing/2014/main" id="{8A0002C8-1B25-BC17-029E-2DB9D821EC08}"/>
                </a:ext>
              </a:extLst>
            </p:cNvPr>
            <p:cNvSpPr/>
            <p:nvPr/>
          </p:nvSpPr>
          <p:spPr>
            <a:xfrm>
              <a:off x="8878018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2" name="Полілінія: фігура 501">
              <a:extLst>
                <a:ext uri="{FF2B5EF4-FFF2-40B4-BE49-F238E27FC236}">
                  <a16:creationId xmlns:a16="http://schemas.microsoft.com/office/drawing/2014/main" id="{B2CDF451-6CE3-EA45-6FF2-1BB23C428404}"/>
                </a:ext>
              </a:extLst>
            </p:cNvPr>
            <p:cNvSpPr/>
            <p:nvPr/>
          </p:nvSpPr>
          <p:spPr>
            <a:xfrm>
              <a:off x="9007415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3" name="Полілінія: фігура 502">
              <a:extLst>
                <a:ext uri="{FF2B5EF4-FFF2-40B4-BE49-F238E27FC236}">
                  <a16:creationId xmlns:a16="http://schemas.microsoft.com/office/drawing/2014/main" id="{78D8358D-E0E9-43E1-F302-2026BE544131}"/>
                </a:ext>
              </a:extLst>
            </p:cNvPr>
            <p:cNvSpPr/>
            <p:nvPr/>
          </p:nvSpPr>
          <p:spPr>
            <a:xfrm>
              <a:off x="9136811" y="258792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4" name="Полілінія: фігура 503">
              <a:extLst>
                <a:ext uri="{FF2B5EF4-FFF2-40B4-BE49-F238E27FC236}">
                  <a16:creationId xmlns:a16="http://schemas.microsoft.com/office/drawing/2014/main" id="{43939318-6471-58BA-678D-9427FDCFB4B1}"/>
                </a:ext>
              </a:extLst>
            </p:cNvPr>
            <p:cNvSpPr/>
            <p:nvPr/>
          </p:nvSpPr>
          <p:spPr>
            <a:xfrm>
              <a:off x="3443377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5" name="Полілінія: фігура 504">
              <a:extLst>
                <a:ext uri="{FF2B5EF4-FFF2-40B4-BE49-F238E27FC236}">
                  <a16:creationId xmlns:a16="http://schemas.microsoft.com/office/drawing/2014/main" id="{6D66E044-C16D-944A-B558-E1A0424D5EB1}"/>
                </a:ext>
              </a:extLst>
            </p:cNvPr>
            <p:cNvSpPr/>
            <p:nvPr/>
          </p:nvSpPr>
          <p:spPr>
            <a:xfrm>
              <a:off x="3960962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6" name="Полілінія: фігура 505">
              <a:extLst>
                <a:ext uri="{FF2B5EF4-FFF2-40B4-BE49-F238E27FC236}">
                  <a16:creationId xmlns:a16="http://schemas.microsoft.com/office/drawing/2014/main" id="{99C0AA9F-8880-3822-E130-8C62988F0AED}"/>
                </a:ext>
              </a:extLst>
            </p:cNvPr>
            <p:cNvSpPr/>
            <p:nvPr/>
          </p:nvSpPr>
          <p:spPr>
            <a:xfrm>
              <a:off x="4219754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7" name="Полілінія: фігура 506">
              <a:extLst>
                <a:ext uri="{FF2B5EF4-FFF2-40B4-BE49-F238E27FC236}">
                  <a16:creationId xmlns:a16="http://schemas.microsoft.com/office/drawing/2014/main" id="{B16C0A12-8184-3DA5-9322-646E67189A98}"/>
                </a:ext>
              </a:extLst>
            </p:cNvPr>
            <p:cNvSpPr/>
            <p:nvPr/>
          </p:nvSpPr>
          <p:spPr>
            <a:xfrm>
              <a:off x="4349150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8" name="Полілінія: фігура 507">
              <a:extLst>
                <a:ext uri="{FF2B5EF4-FFF2-40B4-BE49-F238E27FC236}">
                  <a16:creationId xmlns:a16="http://schemas.microsoft.com/office/drawing/2014/main" id="{5147781B-6014-40B3-EF74-572D12C67E7E}"/>
                </a:ext>
              </a:extLst>
            </p:cNvPr>
            <p:cNvSpPr/>
            <p:nvPr/>
          </p:nvSpPr>
          <p:spPr>
            <a:xfrm>
              <a:off x="4478547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09" name="Полілінія: фігура 508">
              <a:extLst>
                <a:ext uri="{FF2B5EF4-FFF2-40B4-BE49-F238E27FC236}">
                  <a16:creationId xmlns:a16="http://schemas.microsoft.com/office/drawing/2014/main" id="{3D37D14C-EE62-64A1-096A-05125DCCBC11}"/>
                </a:ext>
              </a:extLst>
            </p:cNvPr>
            <p:cNvSpPr/>
            <p:nvPr/>
          </p:nvSpPr>
          <p:spPr>
            <a:xfrm>
              <a:off x="4737339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0" name="Полілінія: фігура 509">
              <a:extLst>
                <a:ext uri="{FF2B5EF4-FFF2-40B4-BE49-F238E27FC236}">
                  <a16:creationId xmlns:a16="http://schemas.microsoft.com/office/drawing/2014/main" id="{E918FC14-4E80-B100-59C7-BF17C5D1F19D}"/>
                </a:ext>
              </a:extLst>
            </p:cNvPr>
            <p:cNvSpPr/>
            <p:nvPr/>
          </p:nvSpPr>
          <p:spPr>
            <a:xfrm>
              <a:off x="4866735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1" name="Полілінія: фігура 510">
              <a:extLst>
                <a:ext uri="{FF2B5EF4-FFF2-40B4-BE49-F238E27FC236}">
                  <a16:creationId xmlns:a16="http://schemas.microsoft.com/office/drawing/2014/main" id="{1AC6473D-3E9F-6AE8-194B-906AF229275D}"/>
                </a:ext>
              </a:extLst>
            </p:cNvPr>
            <p:cNvSpPr/>
            <p:nvPr/>
          </p:nvSpPr>
          <p:spPr>
            <a:xfrm>
              <a:off x="4996132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2" name="Полілінія: фігура 511">
              <a:extLst>
                <a:ext uri="{FF2B5EF4-FFF2-40B4-BE49-F238E27FC236}">
                  <a16:creationId xmlns:a16="http://schemas.microsoft.com/office/drawing/2014/main" id="{BCA75A29-4609-2E7D-76AF-6024596056E1}"/>
                </a:ext>
              </a:extLst>
            </p:cNvPr>
            <p:cNvSpPr/>
            <p:nvPr/>
          </p:nvSpPr>
          <p:spPr>
            <a:xfrm>
              <a:off x="5254924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3" name="Полілінія: фігура 512">
              <a:extLst>
                <a:ext uri="{FF2B5EF4-FFF2-40B4-BE49-F238E27FC236}">
                  <a16:creationId xmlns:a16="http://schemas.microsoft.com/office/drawing/2014/main" id="{E7DF7820-8962-4922-88DB-95D7FD537D81}"/>
                </a:ext>
              </a:extLst>
            </p:cNvPr>
            <p:cNvSpPr/>
            <p:nvPr/>
          </p:nvSpPr>
          <p:spPr>
            <a:xfrm>
              <a:off x="5513716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4" name="Полілінія: фігура 513">
              <a:extLst>
                <a:ext uri="{FF2B5EF4-FFF2-40B4-BE49-F238E27FC236}">
                  <a16:creationId xmlns:a16="http://schemas.microsoft.com/office/drawing/2014/main" id="{04D87419-2F23-E159-D304-658F1DFE90DD}"/>
                </a:ext>
              </a:extLst>
            </p:cNvPr>
            <p:cNvSpPr/>
            <p:nvPr/>
          </p:nvSpPr>
          <p:spPr>
            <a:xfrm>
              <a:off x="5772509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5" name="Полілінія: фігура 514">
              <a:extLst>
                <a:ext uri="{FF2B5EF4-FFF2-40B4-BE49-F238E27FC236}">
                  <a16:creationId xmlns:a16="http://schemas.microsoft.com/office/drawing/2014/main" id="{0534C9CC-54D8-943E-10E7-1ACBE0B63AAA}"/>
                </a:ext>
              </a:extLst>
            </p:cNvPr>
            <p:cNvSpPr/>
            <p:nvPr/>
          </p:nvSpPr>
          <p:spPr>
            <a:xfrm>
              <a:off x="6031301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6" name="Полілінія: фігура 515">
              <a:extLst>
                <a:ext uri="{FF2B5EF4-FFF2-40B4-BE49-F238E27FC236}">
                  <a16:creationId xmlns:a16="http://schemas.microsoft.com/office/drawing/2014/main" id="{C4C31427-0FCA-1D56-BB4C-E07A1E0FFA73}"/>
                </a:ext>
              </a:extLst>
            </p:cNvPr>
            <p:cNvSpPr/>
            <p:nvPr/>
          </p:nvSpPr>
          <p:spPr>
            <a:xfrm>
              <a:off x="6419490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7" name="Полілінія: фігура 516">
              <a:extLst>
                <a:ext uri="{FF2B5EF4-FFF2-40B4-BE49-F238E27FC236}">
                  <a16:creationId xmlns:a16="http://schemas.microsoft.com/office/drawing/2014/main" id="{1EB1C326-9541-0434-3A91-5160B2E2468B}"/>
                </a:ext>
              </a:extLst>
            </p:cNvPr>
            <p:cNvSpPr/>
            <p:nvPr/>
          </p:nvSpPr>
          <p:spPr>
            <a:xfrm>
              <a:off x="6807679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8" name="Полілінія: фігура 517">
              <a:extLst>
                <a:ext uri="{FF2B5EF4-FFF2-40B4-BE49-F238E27FC236}">
                  <a16:creationId xmlns:a16="http://schemas.microsoft.com/office/drawing/2014/main" id="{4051F0D1-7079-90A5-CE06-FC4DF39F5AF0}"/>
                </a:ext>
              </a:extLst>
            </p:cNvPr>
            <p:cNvSpPr/>
            <p:nvPr/>
          </p:nvSpPr>
          <p:spPr>
            <a:xfrm>
              <a:off x="6937075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19" name="Полілінія: фігура 518">
              <a:extLst>
                <a:ext uri="{FF2B5EF4-FFF2-40B4-BE49-F238E27FC236}">
                  <a16:creationId xmlns:a16="http://schemas.microsoft.com/office/drawing/2014/main" id="{6840A03F-CE3A-40B7-C01D-DB2C6A4FAF3B}"/>
                </a:ext>
              </a:extLst>
            </p:cNvPr>
            <p:cNvSpPr/>
            <p:nvPr/>
          </p:nvSpPr>
          <p:spPr>
            <a:xfrm>
              <a:off x="7066471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0" name="Полілінія: фігура 519">
              <a:extLst>
                <a:ext uri="{FF2B5EF4-FFF2-40B4-BE49-F238E27FC236}">
                  <a16:creationId xmlns:a16="http://schemas.microsoft.com/office/drawing/2014/main" id="{7E57BFCC-E366-6083-BC25-DB5E0ADB7581}"/>
                </a:ext>
              </a:extLst>
            </p:cNvPr>
            <p:cNvSpPr/>
            <p:nvPr/>
          </p:nvSpPr>
          <p:spPr>
            <a:xfrm>
              <a:off x="7325264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1" name="Полілінія: фігура 520">
              <a:extLst>
                <a:ext uri="{FF2B5EF4-FFF2-40B4-BE49-F238E27FC236}">
                  <a16:creationId xmlns:a16="http://schemas.microsoft.com/office/drawing/2014/main" id="{892D9C16-6AF1-CBE1-636E-40A03968B7D2}"/>
                </a:ext>
              </a:extLst>
            </p:cNvPr>
            <p:cNvSpPr/>
            <p:nvPr/>
          </p:nvSpPr>
          <p:spPr>
            <a:xfrm>
              <a:off x="7584056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2" name="Полілінія: фігура 521">
              <a:extLst>
                <a:ext uri="{FF2B5EF4-FFF2-40B4-BE49-F238E27FC236}">
                  <a16:creationId xmlns:a16="http://schemas.microsoft.com/office/drawing/2014/main" id="{8DC578E8-99BC-FB05-C21F-F3BA6E871C84}"/>
                </a:ext>
              </a:extLst>
            </p:cNvPr>
            <p:cNvSpPr/>
            <p:nvPr/>
          </p:nvSpPr>
          <p:spPr>
            <a:xfrm>
              <a:off x="8101641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3" name="Полілінія: фігура 522">
              <a:extLst>
                <a:ext uri="{FF2B5EF4-FFF2-40B4-BE49-F238E27FC236}">
                  <a16:creationId xmlns:a16="http://schemas.microsoft.com/office/drawing/2014/main" id="{B13F81BD-D01F-C9B0-A726-0C473369CCD8}"/>
                </a:ext>
              </a:extLst>
            </p:cNvPr>
            <p:cNvSpPr/>
            <p:nvPr/>
          </p:nvSpPr>
          <p:spPr>
            <a:xfrm>
              <a:off x="9007415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4" name="Полілінія: фігура 523">
              <a:extLst>
                <a:ext uri="{FF2B5EF4-FFF2-40B4-BE49-F238E27FC236}">
                  <a16:creationId xmlns:a16="http://schemas.microsoft.com/office/drawing/2014/main" id="{F10281CC-F7D3-2ACD-B13C-587B7317D37D}"/>
                </a:ext>
              </a:extLst>
            </p:cNvPr>
            <p:cNvSpPr/>
            <p:nvPr/>
          </p:nvSpPr>
          <p:spPr>
            <a:xfrm>
              <a:off x="9136811" y="271732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5" name="Полілінія: фігура 524">
              <a:extLst>
                <a:ext uri="{FF2B5EF4-FFF2-40B4-BE49-F238E27FC236}">
                  <a16:creationId xmlns:a16="http://schemas.microsoft.com/office/drawing/2014/main" id="{AC41DCC8-9A37-94F3-AF89-DC992BD76B3C}"/>
                </a:ext>
              </a:extLst>
            </p:cNvPr>
            <p:cNvSpPr/>
            <p:nvPr/>
          </p:nvSpPr>
          <p:spPr>
            <a:xfrm>
              <a:off x="3443377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6" name="Полілінія: фігура 525">
              <a:extLst>
                <a:ext uri="{FF2B5EF4-FFF2-40B4-BE49-F238E27FC236}">
                  <a16:creationId xmlns:a16="http://schemas.microsoft.com/office/drawing/2014/main" id="{7C6FA0A2-51A8-C684-28AC-B416C1F545E3}"/>
                </a:ext>
              </a:extLst>
            </p:cNvPr>
            <p:cNvSpPr/>
            <p:nvPr/>
          </p:nvSpPr>
          <p:spPr>
            <a:xfrm>
              <a:off x="3702169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7" name="Полілінія: фігура 526">
              <a:extLst>
                <a:ext uri="{FF2B5EF4-FFF2-40B4-BE49-F238E27FC236}">
                  <a16:creationId xmlns:a16="http://schemas.microsoft.com/office/drawing/2014/main" id="{D5B7CB6E-5FCC-CA04-0D8F-9EEB06C9F90C}"/>
                </a:ext>
              </a:extLst>
            </p:cNvPr>
            <p:cNvSpPr/>
            <p:nvPr/>
          </p:nvSpPr>
          <p:spPr>
            <a:xfrm>
              <a:off x="3831566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8" name="Полілінія: фігура 527">
              <a:extLst>
                <a:ext uri="{FF2B5EF4-FFF2-40B4-BE49-F238E27FC236}">
                  <a16:creationId xmlns:a16="http://schemas.microsoft.com/office/drawing/2014/main" id="{8D23C4D8-CF49-2CA6-9263-E7C0E1F2071B}"/>
                </a:ext>
              </a:extLst>
            </p:cNvPr>
            <p:cNvSpPr/>
            <p:nvPr/>
          </p:nvSpPr>
          <p:spPr>
            <a:xfrm>
              <a:off x="4219754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29" name="Полілінія: фігура 528">
              <a:extLst>
                <a:ext uri="{FF2B5EF4-FFF2-40B4-BE49-F238E27FC236}">
                  <a16:creationId xmlns:a16="http://schemas.microsoft.com/office/drawing/2014/main" id="{9493A256-1606-D72E-4236-13483AEBBA61}"/>
                </a:ext>
              </a:extLst>
            </p:cNvPr>
            <p:cNvSpPr/>
            <p:nvPr/>
          </p:nvSpPr>
          <p:spPr>
            <a:xfrm>
              <a:off x="4349150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0" name="Полілінія: фігура 529">
              <a:extLst>
                <a:ext uri="{FF2B5EF4-FFF2-40B4-BE49-F238E27FC236}">
                  <a16:creationId xmlns:a16="http://schemas.microsoft.com/office/drawing/2014/main" id="{FC79EEC8-EE57-30E8-3868-C7FA83A3988B}"/>
                </a:ext>
              </a:extLst>
            </p:cNvPr>
            <p:cNvSpPr/>
            <p:nvPr/>
          </p:nvSpPr>
          <p:spPr>
            <a:xfrm>
              <a:off x="4478547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1" name="Полілінія: фігура 530">
              <a:extLst>
                <a:ext uri="{FF2B5EF4-FFF2-40B4-BE49-F238E27FC236}">
                  <a16:creationId xmlns:a16="http://schemas.microsoft.com/office/drawing/2014/main" id="{DA9800AC-D2C3-CAEB-DB33-F1396903D570}"/>
                </a:ext>
              </a:extLst>
            </p:cNvPr>
            <p:cNvSpPr/>
            <p:nvPr/>
          </p:nvSpPr>
          <p:spPr>
            <a:xfrm>
              <a:off x="4607943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2" name="Полілінія: фігура 531">
              <a:extLst>
                <a:ext uri="{FF2B5EF4-FFF2-40B4-BE49-F238E27FC236}">
                  <a16:creationId xmlns:a16="http://schemas.microsoft.com/office/drawing/2014/main" id="{D49B06EE-3D38-DA96-7906-23F055A5BCF8}"/>
                </a:ext>
              </a:extLst>
            </p:cNvPr>
            <p:cNvSpPr/>
            <p:nvPr/>
          </p:nvSpPr>
          <p:spPr>
            <a:xfrm>
              <a:off x="4737339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3" name="Полілінія: фігура 532">
              <a:extLst>
                <a:ext uri="{FF2B5EF4-FFF2-40B4-BE49-F238E27FC236}">
                  <a16:creationId xmlns:a16="http://schemas.microsoft.com/office/drawing/2014/main" id="{71B66904-E2D9-AD86-93B2-9245692ADE6F}"/>
                </a:ext>
              </a:extLst>
            </p:cNvPr>
            <p:cNvSpPr/>
            <p:nvPr/>
          </p:nvSpPr>
          <p:spPr>
            <a:xfrm>
              <a:off x="4996132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4" name="Полілінія: фігура 533">
              <a:extLst>
                <a:ext uri="{FF2B5EF4-FFF2-40B4-BE49-F238E27FC236}">
                  <a16:creationId xmlns:a16="http://schemas.microsoft.com/office/drawing/2014/main" id="{B686ADE4-9906-74E5-343B-425AD10B7D3E}"/>
                </a:ext>
              </a:extLst>
            </p:cNvPr>
            <p:cNvSpPr/>
            <p:nvPr/>
          </p:nvSpPr>
          <p:spPr>
            <a:xfrm>
              <a:off x="5125528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5" name="Полілінія: фігура 534">
              <a:extLst>
                <a:ext uri="{FF2B5EF4-FFF2-40B4-BE49-F238E27FC236}">
                  <a16:creationId xmlns:a16="http://schemas.microsoft.com/office/drawing/2014/main" id="{CAE4DFF3-8DF2-442C-68AE-4D083C84FB68}"/>
                </a:ext>
              </a:extLst>
            </p:cNvPr>
            <p:cNvSpPr/>
            <p:nvPr/>
          </p:nvSpPr>
          <p:spPr>
            <a:xfrm>
              <a:off x="5254924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6" name="Полілінія: фігура 535">
              <a:extLst>
                <a:ext uri="{FF2B5EF4-FFF2-40B4-BE49-F238E27FC236}">
                  <a16:creationId xmlns:a16="http://schemas.microsoft.com/office/drawing/2014/main" id="{B9FAFEB0-8D83-1AEA-4DD6-A80C0C14ED24}"/>
                </a:ext>
              </a:extLst>
            </p:cNvPr>
            <p:cNvSpPr/>
            <p:nvPr/>
          </p:nvSpPr>
          <p:spPr>
            <a:xfrm>
              <a:off x="5384320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7" name="Полілінія: фігура 536">
              <a:extLst>
                <a:ext uri="{FF2B5EF4-FFF2-40B4-BE49-F238E27FC236}">
                  <a16:creationId xmlns:a16="http://schemas.microsoft.com/office/drawing/2014/main" id="{DC5121AF-DCAC-8E9C-B520-2BF884F27D84}"/>
                </a:ext>
              </a:extLst>
            </p:cNvPr>
            <p:cNvSpPr/>
            <p:nvPr/>
          </p:nvSpPr>
          <p:spPr>
            <a:xfrm>
              <a:off x="5513716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8" name="Полілінія: фігура 537">
              <a:extLst>
                <a:ext uri="{FF2B5EF4-FFF2-40B4-BE49-F238E27FC236}">
                  <a16:creationId xmlns:a16="http://schemas.microsoft.com/office/drawing/2014/main" id="{7F43181B-C20B-AB12-B3F8-9D9946052287}"/>
                </a:ext>
              </a:extLst>
            </p:cNvPr>
            <p:cNvSpPr/>
            <p:nvPr/>
          </p:nvSpPr>
          <p:spPr>
            <a:xfrm>
              <a:off x="5643113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39" name="Полілінія: фігура 538">
              <a:extLst>
                <a:ext uri="{FF2B5EF4-FFF2-40B4-BE49-F238E27FC236}">
                  <a16:creationId xmlns:a16="http://schemas.microsoft.com/office/drawing/2014/main" id="{45B33D0A-05EF-3ED4-4F18-900DAC9E3E72}"/>
                </a:ext>
              </a:extLst>
            </p:cNvPr>
            <p:cNvSpPr/>
            <p:nvPr/>
          </p:nvSpPr>
          <p:spPr>
            <a:xfrm>
              <a:off x="5901905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0" name="Полілінія: фігура 539">
              <a:extLst>
                <a:ext uri="{FF2B5EF4-FFF2-40B4-BE49-F238E27FC236}">
                  <a16:creationId xmlns:a16="http://schemas.microsoft.com/office/drawing/2014/main" id="{DEFC8723-342C-67C0-860F-EB070E36AC46}"/>
                </a:ext>
              </a:extLst>
            </p:cNvPr>
            <p:cNvSpPr/>
            <p:nvPr/>
          </p:nvSpPr>
          <p:spPr>
            <a:xfrm>
              <a:off x="6160698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1" name="Полілінія: фігура 540">
              <a:extLst>
                <a:ext uri="{FF2B5EF4-FFF2-40B4-BE49-F238E27FC236}">
                  <a16:creationId xmlns:a16="http://schemas.microsoft.com/office/drawing/2014/main" id="{46773BD0-12A2-34FA-0F94-9CD3693DB19F}"/>
                </a:ext>
              </a:extLst>
            </p:cNvPr>
            <p:cNvSpPr/>
            <p:nvPr/>
          </p:nvSpPr>
          <p:spPr>
            <a:xfrm>
              <a:off x="6290094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2" name="Полілінія: фігура 541">
              <a:extLst>
                <a:ext uri="{FF2B5EF4-FFF2-40B4-BE49-F238E27FC236}">
                  <a16:creationId xmlns:a16="http://schemas.microsoft.com/office/drawing/2014/main" id="{84BF481B-1580-74AF-74E4-4DFC1DBDA09C}"/>
                </a:ext>
              </a:extLst>
            </p:cNvPr>
            <p:cNvSpPr/>
            <p:nvPr/>
          </p:nvSpPr>
          <p:spPr>
            <a:xfrm>
              <a:off x="6678283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3" name="Полілінія: фігура 542">
              <a:extLst>
                <a:ext uri="{FF2B5EF4-FFF2-40B4-BE49-F238E27FC236}">
                  <a16:creationId xmlns:a16="http://schemas.microsoft.com/office/drawing/2014/main" id="{DDCE815A-78C3-AD7B-A527-E131A3A24368}"/>
                </a:ext>
              </a:extLst>
            </p:cNvPr>
            <p:cNvSpPr/>
            <p:nvPr/>
          </p:nvSpPr>
          <p:spPr>
            <a:xfrm>
              <a:off x="7195867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4" name="Полілінія: фігура 543">
              <a:extLst>
                <a:ext uri="{FF2B5EF4-FFF2-40B4-BE49-F238E27FC236}">
                  <a16:creationId xmlns:a16="http://schemas.microsoft.com/office/drawing/2014/main" id="{BE529ECE-5616-2E54-EF31-9499700B268B}"/>
                </a:ext>
              </a:extLst>
            </p:cNvPr>
            <p:cNvSpPr/>
            <p:nvPr/>
          </p:nvSpPr>
          <p:spPr>
            <a:xfrm>
              <a:off x="7584056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5" name="Полілінія: фігура 544">
              <a:extLst>
                <a:ext uri="{FF2B5EF4-FFF2-40B4-BE49-F238E27FC236}">
                  <a16:creationId xmlns:a16="http://schemas.microsoft.com/office/drawing/2014/main" id="{5BDF15BF-B5DD-AA13-0EB9-95542AE830C7}"/>
                </a:ext>
              </a:extLst>
            </p:cNvPr>
            <p:cNvSpPr/>
            <p:nvPr/>
          </p:nvSpPr>
          <p:spPr>
            <a:xfrm>
              <a:off x="7713452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6" name="Полілінія: фігура 545">
              <a:extLst>
                <a:ext uri="{FF2B5EF4-FFF2-40B4-BE49-F238E27FC236}">
                  <a16:creationId xmlns:a16="http://schemas.microsoft.com/office/drawing/2014/main" id="{7F74B270-D025-78AB-8B9D-8DC5131735FD}"/>
                </a:ext>
              </a:extLst>
            </p:cNvPr>
            <p:cNvSpPr/>
            <p:nvPr/>
          </p:nvSpPr>
          <p:spPr>
            <a:xfrm>
              <a:off x="7842849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7" name="Полілінія: фігура 546">
              <a:extLst>
                <a:ext uri="{FF2B5EF4-FFF2-40B4-BE49-F238E27FC236}">
                  <a16:creationId xmlns:a16="http://schemas.microsoft.com/office/drawing/2014/main" id="{625A0CA2-6AF4-B7A8-07A7-D77594582700}"/>
                </a:ext>
              </a:extLst>
            </p:cNvPr>
            <p:cNvSpPr/>
            <p:nvPr/>
          </p:nvSpPr>
          <p:spPr>
            <a:xfrm>
              <a:off x="7972245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8" name="Полілінія: фігура 547">
              <a:extLst>
                <a:ext uri="{FF2B5EF4-FFF2-40B4-BE49-F238E27FC236}">
                  <a16:creationId xmlns:a16="http://schemas.microsoft.com/office/drawing/2014/main" id="{976C7014-845A-A79D-54D3-0947E8ED811E}"/>
                </a:ext>
              </a:extLst>
            </p:cNvPr>
            <p:cNvSpPr/>
            <p:nvPr/>
          </p:nvSpPr>
          <p:spPr>
            <a:xfrm>
              <a:off x="8489830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49" name="Полілінія: фігура 548">
              <a:extLst>
                <a:ext uri="{FF2B5EF4-FFF2-40B4-BE49-F238E27FC236}">
                  <a16:creationId xmlns:a16="http://schemas.microsoft.com/office/drawing/2014/main" id="{C7D52ED9-B0F1-C997-4A8E-5A83B53D66C2}"/>
                </a:ext>
              </a:extLst>
            </p:cNvPr>
            <p:cNvSpPr/>
            <p:nvPr/>
          </p:nvSpPr>
          <p:spPr>
            <a:xfrm>
              <a:off x="8878018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0" name="Полілінія: фігура 549">
              <a:extLst>
                <a:ext uri="{FF2B5EF4-FFF2-40B4-BE49-F238E27FC236}">
                  <a16:creationId xmlns:a16="http://schemas.microsoft.com/office/drawing/2014/main" id="{5745F640-5F0D-5E8E-F6CE-FF4384197FB7}"/>
                </a:ext>
              </a:extLst>
            </p:cNvPr>
            <p:cNvSpPr/>
            <p:nvPr/>
          </p:nvSpPr>
          <p:spPr>
            <a:xfrm>
              <a:off x="9136811" y="284671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1" name="Полілінія: фігура 550">
              <a:extLst>
                <a:ext uri="{FF2B5EF4-FFF2-40B4-BE49-F238E27FC236}">
                  <a16:creationId xmlns:a16="http://schemas.microsoft.com/office/drawing/2014/main" id="{06EAD900-7CF7-854D-FB80-65D2E3C20A05}"/>
                </a:ext>
              </a:extLst>
            </p:cNvPr>
            <p:cNvSpPr/>
            <p:nvPr/>
          </p:nvSpPr>
          <p:spPr>
            <a:xfrm>
              <a:off x="2925792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2" name="Полілінія: фігура 551">
              <a:extLst>
                <a:ext uri="{FF2B5EF4-FFF2-40B4-BE49-F238E27FC236}">
                  <a16:creationId xmlns:a16="http://schemas.microsoft.com/office/drawing/2014/main" id="{2658F858-6C71-B94D-A4DC-78C7064C6D49}"/>
                </a:ext>
              </a:extLst>
            </p:cNvPr>
            <p:cNvSpPr/>
            <p:nvPr/>
          </p:nvSpPr>
          <p:spPr>
            <a:xfrm>
              <a:off x="3184584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3" name="Полілінія: фігура 552">
              <a:extLst>
                <a:ext uri="{FF2B5EF4-FFF2-40B4-BE49-F238E27FC236}">
                  <a16:creationId xmlns:a16="http://schemas.microsoft.com/office/drawing/2014/main" id="{B3708885-C9F4-BD3C-ECA5-C24ECCED1AEC}"/>
                </a:ext>
              </a:extLst>
            </p:cNvPr>
            <p:cNvSpPr/>
            <p:nvPr/>
          </p:nvSpPr>
          <p:spPr>
            <a:xfrm>
              <a:off x="3443377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4" name="Полілінія: фігура 553">
              <a:extLst>
                <a:ext uri="{FF2B5EF4-FFF2-40B4-BE49-F238E27FC236}">
                  <a16:creationId xmlns:a16="http://schemas.microsoft.com/office/drawing/2014/main" id="{F02B24C1-097A-72B0-11FF-1770F64A6931}"/>
                </a:ext>
              </a:extLst>
            </p:cNvPr>
            <p:cNvSpPr/>
            <p:nvPr/>
          </p:nvSpPr>
          <p:spPr>
            <a:xfrm>
              <a:off x="3831566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5" name="Полілінія: фігура 554">
              <a:extLst>
                <a:ext uri="{FF2B5EF4-FFF2-40B4-BE49-F238E27FC236}">
                  <a16:creationId xmlns:a16="http://schemas.microsoft.com/office/drawing/2014/main" id="{A436FA26-14AC-42CD-425B-40F0D79C971A}"/>
                </a:ext>
              </a:extLst>
            </p:cNvPr>
            <p:cNvSpPr/>
            <p:nvPr/>
          </p:nvSpPr>
          <p:spPr>
            <a:xfrm>
              <a:off x="4090358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6" name="Полілінія: фігура 555">
              <a:extLst>
                <a:ext uri="{FF2B5EF4-FFF2-40B4-BE49-F238E27FC236}">
                  <a16:creationId xmlns:a16="http://schemas.microsoft.com/office/drawing/2014/main" id="{3523634A-7C68-2C05-AE4E-ABFC0422299B}"/>
                </a:ext>
              </a:extLst>
            </p:cNvPr>
            <p:cNvSpPr/>
            <p:nvPr/>
          </p:nvSpPr>
          <p:spPr>
            <a:xfrm>
              <a:off x="4219754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7" name="Полілінія: фігура 556">
              <a:extLst>
                <a:ext uri="{FF2B5EF4-FFF2-40B4-BE49-F238E27FC236}">
                  <a16:creationId xmlns:a16="http://schemas.microsoft.com/office/drawing/2014/main" id="{49EEA2E5-B04B-8714-30D0-5506737B8D0B}"/>
                </a:ext>
              </a:extLst>
            </p:cNvPr>
            <p:cNvSpPr/>
            <p:nvPr/>
          </p:nvSpPr>
          <p:spPr>
            <a:xfrm>
              <a:off x="4478547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8" name="Полілінія: фігура 557">
              <a:extLst>
                <a:ext uri="{FF2B5EF4-FFF2-40B4-BE49-F238E27FC236}">
                  <a16:creationId xmlns:a16="http://schemas.microsoft.com/office/drawing/2014/main" id="{E69F97B6-3353-1976-F4DF-B2942FE0E949}"/>
                </a:ext>
              </a:extLst>
            </p:cNvPr>
            <p:cNvSpPr/>
            <p:nvPr/>
          </p:nvSpPr>
          <p:spPr>
            <a:xfrm>
              <a:off x="4607943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59" name="Полілінія: фігура 558">
              <a:extLst>
                <a:ext uri="{FF2B5EF4-FFF2-40B4-BE49-F238E27FC236}">
                  <a16:creationId xmlns:a16="http://schemas.microsoft.com/office/drawing/2014/main" id="{C9481E3D-2924-D55E-260A-5B3012E8F2FA}"/>
                </a:ext>
              </a:extLst>
            </p:cNvPr>
            <p:cNvSpPr/>
            <p:nvPr/>
          </p:nvSpPr>
          <p:spPr>
            <a:xfrm>
              <a:off x="4996132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0" name="Полілінія: фігура 559">
              <a:extLst>
                <a:ext uri="{FF2B5EF4-FFF2-40B4-BE49-F238E27FC236}">
                  <a16:creationId xmlns:a16="http://schemas.microsoft.com/office/drawing/2014/main" id="{A1EDE5B5-FA6B-3828-6CD0-786896529C5D}"/>
                </a:ext>
              </a:extLst>
            </p:cNvPr>
            <p:cNvSpPr/>
            <p:nvPr/>
          </p:nvSpPr>
          <p:spPr>
            <a:xfrm>
              <a:off x="5125528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1" name="Полілінія: фігура 560">
              <a:extLst>
                <a:ext uri="{FF2B5EF4-FFF2-40B4-BE49-F238E27FC236}">
                  <a16:creationId xmlns:a16="http://schemas.microsoft.com/office/drawing/2014/main" id="{D1B29846-BBFB-7B52-D7DA-20D9145D9A5C}"/>
                </a:ext>
              </a:extLst>
            </p:cNvPr>
            <p:cNvSpPr/>
            <p:nvPr/>
          </p:nvSpPr>
          <p:spPr>
            <a:xfrm>
              <a:off x="5384320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2" name="Полілінія: фігура 561">
              <a:extLst>
                <a:ext uri="{FF2B5EF4-FFF2-40B4-BE49-F238E27FC236}">
                  <a16:creationId xmlns:a16="http://schemas.microsoft.com/office/drawing/2014/main" id="{7EDC395B-267C-3D05-CB14-6F2644BAEDC1}"/>
                </a:ext>
              </a:extLst>
            </p:cNvPr>
            <p:cNvSpPr/>
            <p:nvPr/>
          </p:nvSpPr>
          <p:spPr>
            <a:xfrm>
              <a:off x="5513716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3" name="Полілінія: фігура 562">
              <a:extLst>
                <a:ext uri="{FF2B5EF4-FFF2-40B4-BE49-F238E27FC236}">
                  <a16:creationId xmlns:a16="http://schemas.microsoft.com/office/drawing/2014/main" id="{7EB4EA1E-1972-B326-5E7D-A9CB9BB5C30A}"/>
                </a:ext>
              </a:extLst>
            </p:cNvPr>
            <p:cNvSpPr/>
            <p:nvPr/>
          </p:nvSpPr>
          <p:spPr>
            <a:xfrm>
              <a:off x="5643113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4" name="Полілінія: фігура 563">
              <a:extLst>
                <a:ext uri="{FF2B5EF4-FFF2-40B4-BE49-F238E27FC236}">
                  <a16:creationId xmlns:a16="http://schemas.microsoft.com/office/drawing/2014/main" id="{9DF1E918-86DB-B984-3D9F-E3074B57DC25}"/>
                </a:ext>
              </a:extLst>
            </p:cNvPr>
            <p:cNvSpPr/>
            <p:nvPr/>
          </p:nvSpPr>
          <p:spPr>
            <a:xfrm>
              <a:off x="5901905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5" name="Полілінія: фігура 564">
              <a:extLst>
                <a:ext uri="{FF2B5EF4-FFF2-40B4-BE49-F238E27FC236}">
                  <a16:creationId xmlns:a16="http://schemas.microsoft.com/office/drawing/2014/main" id="{5B12CFB4-14DE-B85D-14A3-9E4DD8DE556B}"/>
                </a:ext>
              </a:extLst>
            </p:cNvPr>
            <p:cNvSpPr/>
            <p:nvPr/>
          </p:nvSpPr>
          <p:spPr>
            <a:xfrm>
              <a:off x="6031301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6" name="Полілінія: фігура 565">
              <a:extLst>
                <a:ext uri="{FF2B5EF4-FFF2-40B4-BE49-F238E27FC236}">
                  <a16:creationId xmlns:a16="http://schemas.microsoft.com/office/drawing/2014/main" id="{55A407C9-43A0-B7B3-1ABB-1E526118F16C}"/>
                </a:ext>
              </a:extLst>
            </p:cNvPr>
            <p:cNvSpPr/>
            <p:nvPr/>
          </p:nvSpPr>
          <p:spPr>
            <a:xfrm>
              <a:off x="6548886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7" name="Полілінія: фігура 566">
              <a:extLst>
                <a:ext uri="{FF2B5EF4-FFF2-40B4-BE49-F238E27FC236}">
                  <a16:creationId xmlns:a16="http://schemas.microsoft.com/office/drawing/2014/main" id="{4A0B14E6-8F80-1613-926C-F79A30394594}"/>
                </a:ext>
              </a:extLst>
            </p:cNvPr>
            <p:cNvSpPr/>
            <p:nvPr/>
          </p:nvSpPr>
          <p:spPr>
            <a:xfrm>
              <a:off x="6678283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8" name="Полілінія: фігура 567">
              <a:extLst>
                <a:ext uri="{FF2B5EF4-FFF2-40B4-BE49-F238E27FC236}">
                  <a16:creationId xmlns:a16="http://schemas.microsoft.com/office/drawing/2014/main" id="{5172111C-C5AE-16F6-A0E8-F16B57FEA256}"/>
                </a:ext>
              </a:extLst>
            </p:cNvPr>
            <p:cNvSpPr/>
            <p:nvPr/>
          </p:nvSpPr>
          <p:spPr>
            <a:xfrm>
              <a:off x="6807679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69" name="Полілінія: фігура 568">
              <a:extLst>
                <a:ext uri="{FF2B5EF4-FFF2-40B4-BE49-F238E27FC236}">
                  <a16:creationId xmlns:a16="http://schemas.microsoft.com/office/drawing/2014/main" id="{1260138E-94D6-5450-F7B9-AFB989062AA3}"/>
                </a:ext>
              </a:extLst>
            </p:cNvPr>
            <p:cNvSpPr/>
            <p:nvPr/>
          </p:nvSpPr>
          <p:spPr>
            <a:xfrm>
              <a:off x="6937075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0" name="Полілінія: фігура 569">
              <a:extLst>
                <a:ext uri="{FF2B5EF4-FFF2-40B4-BE49-F238E27FC236}">
                  <a16:creationId xmlns:a16="http://schemas.microsoft.com/office/drawing/2014/main" id="{B6BD7DB4-E709-686A-A06B-5B57D92B940E}"/>
                </a:ext>
              </a:extLst>
            </p:cNvPr>
            <p:cNvSpPr/>
            <p:nvPr/>
          </p:nvSpPr>
          <p:spPr>
            <a:xfrm>
              <a:off x="7066471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1" name="Полілінія: фігура 570">
              <a:extLst>
                <a:ext uri="{FF2B5EF4-FFF2-40B4-BE49-F238E27FC236}">
                  <a16:creationId xmlns:a16="http://schemas.microsoft.com/office/drawing/2014/main" id="{DA97B9F9-CC4F-576C-AA39-C9DFE6C29631}"/>
                </a:ext>
              </a:extLst>
            </p:cNvPr>
            <p:cNvSpPr/>
            <p:nvPr/>
          </p:nvSpPr>
          <p:spPr>
            <a:xfrm>
              <a:off x="7584056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2" name="Полілінія: фігура 571">
              <a:extLst>
                <a:ext uri="{FF2B5EF4-FFF2-40B4-BE49-F238E27FC236}">
                  <a16:creationId xmlns:a16="http://schemas.microsoft.com/office/drawing/2014/main" id="{944AE926-F7F2-FF31-F5A0-62FA6B7248E4}"/>
                </a:ext>
              </a:extLst>
            </p:cNvPr>
            <p:cNvSpPr/>
            <p:nvPr/>
          </p:nvSpPr>
          <p:spPr>
            <a:xfrm>
              <a:off x="7713452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3" name="Полілінія: фігура 572">
              <a:extLst>
                <a:ext uri="{FF2B5EF4-FFF2-40B4-BE49-F238E27FC236}">
                  <a16:creationId xmlns:a16="http://schemas.microsoft.com/office/drawing/2014/main" id="{4D1A7FD0-17A1-7463-47B0-B18746125E9F}"/>
                </a:ext>
              </a:extLst>
            </p:cNvPr>
            <p:cNvSpPr/>
            <p:nvPr/>
          </p:nvSpPr>
          <p:spPr>
            <a:xfrm>
              <a:off x="7842849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4" name="Полілінія: фігура 573">
              <a:extLst>
                <a:ext uri="{FF2B5EF4-FFF2-40B4-BE49-F238E27FC236}">
                  <a16:creationId xmlns:a16="http://schemas.microsoft.com/office/drawing/2014/main" id="{05601D30-7E4D-6E20-8139-FAB13ECFD94D}"/>
                </a:ext>
              </a:extLst>
            </p:cNvPr>
            <p:cNvSpPr/>
            <p:nvPr/>
          </p:nvSpPr>
          <p:spPr>
            <a:xfrm>
              <a:off x="8101641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5" name="Полілінія: фігура 574">
              <a:extLst>
                <a:ext uri="{FF2B5EF4-FFF2-40B4-BE49-F238E27FC236}">
                  <a16:creationId xmlns:a16="http://schemas.microsoft.com/office/drawing/2014/main" id="{737493BF-EBEB-A1A4-80F0-494A94B53522}"/>
                </a:ext>
              </a:extLst>
            </p:cNvPr>
            <p:cNvSpPr/>
            <p:nvPr/>
          </p:nvSpPr>
          <p:spPr>
            <a:xfrm>
              <a:off x="8619226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6" name="Полілінія: фігура 575">
              <a:extLst>
                <a:ext uri="{FF2B5EF4-FFF2-40B4-BE49-F238E27FC236}">
                  <a16:creationId xmlns:a16="http://schemas.microsoft.com/office/drawing/2014/main" id="{D5A2E2BE-257A-D3C4-03D1-2E7DB74C70FF}"/>
                </a:ext>
              </a:extLst>
            </p:cNvPr>
            <p:cNvSpPr/>
            <p:nvPr/>
          </p:nvSpPr>
          <p:spPr>
            <a:xfrm>
              <a:off x="9007415" y="297611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7" name="Полілінія: фігура 576">
              <a:extLst>
                <a:ext uri="{FF2B5EF4-FFF2-40B4-BE49-F238E27FC236}">
                  <a16:creationId xmlns:a16="http://schemas.microsoft.com/office/drawing/2014/main" id="{68306A1D-4F91-9427-771A-DBDB1D6F158E}"/>
                </a:ext>
              </a:extLst>
            </p:cNvPr>
            <p:cNvSpPr/>
            <p:nvPr/>
          </p:nvSpPr>
          <p:spPr>
            <a:xfrm>
              <a:off x="2925792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8" name="Полілінія: фігура 577">
              <a:extLst>
                <a:ext uri="{FF2B5EF4-FFF2-40B4-BE49-F238E27FC236}">
                  <a16:creationId xmlns:a16="http://schemas.microsoft.com/office/drawing/2014/main" id="{85543F0B-64B0-B655-815C-9A9561E82DAE}"/>
                </a:ext>
              </a:extLst>
            </p:cNvPr>
            <p:cNvSpPr/>
            <p:nvPr/>
          </p:nvSpPr>
          <p:spPr>
            <a:xfrm>
              <a:off x="3055188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79" name="Полілінія: фігура 578">
              <a:extLst>
                <a:ext uri="{FF2B5EF4-FFF2-40B4-BE49-F238E27FC236}">
                  <a16:creationId xmlns:a16="http://schemas.microsoft.com/office/drawing/2014/main" id="{8BDE3C5A-40CC-4DD4-4534-F20690146B14}"/>
                </a:ext>
              </a:extLst>
            </p:cNvPr>
            <p:cNvSpPr/>
            <p:nvPr/>
          </p:nvSpPr>
          <p:spPr>
            <a:xfrm>
              <a:off x="3184584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0" name="Полілінія: фігура 579">
              <a:extLst>
                <a:ext uri="{FF2B5EF4-FFF2-40B4-BE49-F238E27FC236}">
                  <a16:creationId xmlns:a16="http://schemas.microsoft.com/office/drawing/2014/main" id="{A368E0CB-2BE6-4122-78BA-9CD2C9303C7E}"/>
                </a:ext>
              </a:extLst>
            </p:cNvPr>
            <p:cNvSpPr/>
            <p:nvPr/>
          </p:nvSpPr>
          <p:spPr>
            <a:xfrm>
              <a:off x="3443377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1" name="Полілінія: фігура 580">
              <a:extLst>
                <a:ext uri="{FF2B5EF4-FFF2-40B4-BE49-F238E27FC236}">
                  <a16:creationId xmlns:a16="http://schemas.microsoft.com/office/drawing/2014/main" id="{6F6971B0-D84C-6252-8BF0-07B08EF33FEA}"/>
                </a:ext>
              </a:extLst>
            </p:cNvPr>
            <p:cNvSpPr/>
            <p:nvPr/>
          </p:nvSpPr>
          <p:spPr>
            <a:xfrm>
              <a:off x="3572773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2" name="Полілінія: фігура 581">
              <a:extLst>
                <a:ext uri="{FF2B5EF4-FFF2-40B4-BE49-F238E27FC236}">
                  <a16:creationId xmlns:a16="http://schemas.microsoft.com/office/drawing/2014/main" id="{CC5035C2-352D-EA7C-36BC-4279D3CCACC7}"/>
                </a:ext>
              </a:extLst>
            </p:cNvPr>
            <p:cNvSpPr/>
            <p:nvPr/>
          </p:nvSpPr>
          <p:spPr>
            <a:xfrm>
              <a:off x="3702169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3" name="Полілінія: фігура 582">
              <a:extLst>
                <a:ext uri="{FF2B5EF4-FFF2-40B4-BE49-F238E27FC236}">
                  <a16:creationId xmlns:a16="http://schemas.microsoft.com/office/drawing/2014/main" id="{22ECD4C3-B2ED-E2D9-8FF7-F0C6DB9DBE78}"/>
                </a:ext>
              </a:extLst>
            </p:cNvPr>
            <p:cNvSpPr/>
            <p:nvPr/>
          </p:nvSpPr>
          <p:spPr>
            <a:xfrm>
              <a:off x="3831566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4" name="Полілінія: фігура 583">
              <a:extLst>
                <a:ext uri="{FF2B5EF4-FFF2-40B4-BE49-F238E27FC236}">
                  <a16:creationId xmlns:a16="http://schemas.microsoft.com/office/drawing/2014/main" id="{B0B32467-DAA0-43AB-FD7C-0E7FF039B65E}"/>
                </a:ext>
              </a:extLst>
            </p:cNvPr>
            <p:cNvSpPr/>
            <p:nvPr/>
          </p:nvSpPr>
          <p:spPr>
            <a:xfrm>
              <a:off x="3960962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5" name="Полілінія: фігура 584">
              <a:extLst>
                <a:ext uri="{FF2B5EF4-FFF2-40B4-BE49-F238E27FC236}">
                  <a16:creationId xmlns:a16="http://schemas.microsoft.com/office/drawing/2014/main" id="{2E3D28C8-04ED-BC9A-0500-C597FC5C9C6C}"/>
                </a:ext>
              </a:extLst>
            </p:cNvPr>
            <p:cNvSpPr/>
            <p:nvPr/>
          </p:nvSpPr>
          <p:spPr>
            <a:xfrm>
              <a:off x="4219754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6" name="Полілінія: фігура 585">
              <a:extLst>
                <a:ext uri="{FF2B5EF4-FFF2-40B4-BE49-F238E27FC236}">
                  <a16:creationId xmlns:a16="http://schemas.microsoft.com/office/drawing/2014/main" id="{FC05F7C7-41D4-360A-B387-D7DF269D9282}"/>
                </a:ext>
              </a:extLst>
            </p:cNvPr>
            <p:cNvSpPr/>
            <p:nvPr/>
          </p:nvSpPr>
          <p:spPr>
            <a:xfrm>
              <a:off x="4349150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7" name="Полілінія: фігура 586">
              <a:extLst>
                <a:ext uri="{FF2B5EF4-FFF2-40B4-BE49-F238E27FC236}">
                  <a16:creationId xmlns:a16="http://schemas.microsoft.com/office/drawing/2014/main" id="{2CF87D55-3E42-C9AD-96B8-92C73DE5067E}"/>
                </a:ext>
              </a:extLst>
            </p:cNvPr>
            <p:cNvSpPr/>
            <p:nvPr/>
          </p:nvSpPr>
          <p:spPr>
            <a:xfrm>
              <a:off x="4996132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8" name="Полілінія: фігура 587">
              <a:extLst>
                <a:ext uri="{FF2B5EF4-FFF2-40B4-BE49-F238E27FC236}">
                  <a16:creationId xmlns:a16="http://schemas.microsoft.com/office/drawing/2014/main" id="{8F2B5D32-175A-217D-6BCD-E855263C86F2}"/>
                </a:ext>
              </a:extLst>
            </p:cNvPr>
            <p:cNvSpPr/>
            <p:nvPr/>
          </p:nvSpPr>
          <p:spPr>
            <a:xfrm>
              <a:off x="5125528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89" name="Полілінія: фігура 588">
              <a:extLst>
                <a:ext uri="{FF2B5EF4-FFF2-40B4-BE49-F238E27FC236}">
                  <a16:creationId xmlns:a16="http://schemas.microsoft.com/office/drawing/2014/main" id="{FA724D09-293E-BECF-314F-3B848524504E}"/>
                </a:ext>
              </a:extLst>
            </p:cNvPr>
            <p:cNvSpPr/>
            <p:nvPr/>
          </p:nvSpPr>
          <p:spPr>
            <a:xfrm>
              <a:off x="5513716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0" name="Полілінія: фігура 589">
              <a:extLst>
                <a:ext uri="{FF2B5EF4-FFF2-40B4-BE49-F238E27FC236}">
                  <a16:creationId xmlns:a16="http://schemas.microsoft.com/office/drawing/2014/main" id="{A23A6881-9D43-B6E2-CC69-E6E897D5EDC9}"/>
                </a:ext>
              </a:extLst>
            </p:cNvPr>
            <p:cNvSpPr/>
            <p:nvPr/>
          </p:nvSpPr>
          <p:spPr>
            <a:xfrm>
              <a:off x="5643113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1" name="Полілінія: фігура 590">
              <a:extLst>
                <a:ext uri="{FF2B5EF4-FFF2-40B4-BE49-F238E27FC236}">
                  <a16:creationId xmlns:a16="http://schemas.microsoft.com/office/drawing/2014/main" id="{B35B68A0-E724-69C1-4E8C-60243EEE52DA}"/>
                </a:ext>
              </a:extLst>
            </p:cNvPr>
            <p:cNvSpPr/>
            <p:nvPr/>
          </p:nvSpPr>
          <p:spPr>
            <a:xfrm>
              <a:off x="5772509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2" name="Полілінія: фігура 591">
              <a:extLst>
                <a:ext uri="{FF2B5EF4-FFF2-40B4-BE49-F238E27FC236}">
                  <a16:creationId xmlns:a16="http://schemas.microsoft.com/office/drawing/2014/main" id="{696DBD67-9E69-6537-B848-D3445CE35CA5}"/>
                </a:ext>
              </a:extLst>
            </p:cNvPr>
            <p:cNvSpPr/>
            <p:nvPr/>
          </p:nvSpPr>
          <p:spPr>
            <a:xfrm>
              <a:off x="5901905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3" name="Полілінія: фігура 592">
              <a:extLst>
                <a:ext uri="{FF2B5EF4-FFF2-40B4-BE49-F238E27FC236}">
                  <a16:creationId xmlns:a16="http://schemas.microsoft.com/office/drawing/2014/main" id="{BA1C5925-1A24-3A56-B13A-506FDCEA9A98}"/>
                </a:ext>
              </a:extLst>
            </p:cNvPr>
            <p:cNvSpPr/>
            <p:nvPr/>
          </p:nvSpPr>
          <p:spPr>
            <a:xfrm>
              <a:off x="6031301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4" name="Полілінія: фігура 593">
              <a:extLst>
                <a:ext uri="{FF2B5EF4-FFF2-40B4-BE49-F238E27FC236}">
                  <a16:creationId xmlns:a16="http://schemas.microsoft.com/office/drawing/2014/main" id="{1E443781-D8B5-0153-1411-445405F4E865}"/>
                </a:ext>
              </a:extLst>
            </p:cNvPr>
            <p:cNvSpPr/>
            <p:nvPr/>
          </p:nvSpPr>
          <p:spPr>
            <a:xfrm>
              <a:off x="6160698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5" name="Полілінія: фігура 594">
              <a:extLst>
                <a:ext uri="{FF2B5EF4-FFF2-40B4-BE49-F238E27FC236}">
                  <a16:creationId xmlns:a16="http://schemas.microsoft.com/office/drawing/2014/main" id="{854855E8-0152-2FB6-10B7-F1AC7A9E572D}"/>
                </a:ext>
              </a:extLst>
            </p:cNvPr>
            <p:cNvSpPr/>
            <p:nvPr/>
          </p:nvSpPr>
          <p:spPr>
            <a:xfrm>
              <a:off x="6290094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6" name="Полілінія: фігура 595">
              <a:extLst>
                <a:ext uri="{FF2B5EF4-FFF2-40B4-BE49-F238E27FC236}">
                  <a16:creationId xmlns:a16="http://schemas.microsoft.com/office/drawing/2014/main" id="{92125449-B074-5B30-3123-968D6EB3011B}"/>
                </a:ext>
              </a:extLst>
            </p:cNvPr>
            <p:cNvSpPr/>
            <p:nvPr/>
          </p:nvSpPr>
          <p:spPr>
            <a:xfrm>
              <a:off x="6937075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7" name="Полілінія: фігура 596">
              <a:extLst>
                <a:ext uri="{FF2B5EF4-FFF2-40B4-BE49-F238E27FC236}">
                  <a16:creationId xmlns:a16="http://schemas.microsoft.com/office/drawing/2014/main" id="{0B8B046C-B4D9-0119-3E88-59384E436516}"/>
                </a:ext>
              </a:extLst>
            </p:cNvPr>
            <p:cNvSpPr/>
            <p:nvPr/>
          </p:nvSpPr>
          <p:spPr>
            <a:xfrm>
              <a:off x="7195867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8" name="Полілінія: фігура 597">
              <a:extLst>
                <a:ext uri="{FF2B5EF4-FFF2-40B4-BE49-F238E27FC236}">
                  <a16:creationId xmlns:a16="http://schemas.microsoft.com/office/drawing/2014/main" id="{B379DAB1-DC10-1861-C564-65CE59F59E37}"/>
                </a:ext>
              </a:extLst>
            </p:cNvPr>
            <p:cNvSpPr/>
            <p:nvPr/>
          </p:nvSpPr>
          <p:spPr>
            <a:xfrm>
              <a:off x="7325264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599" name="Полілінія: фігура 598">
              <a:extLst>
                <a:ext uri="{FF2B5EF4-FFF2-40B4-BE49-F238E27FC236}">
                  <a16:creationId xmlns:a16="http://schemas.microsoft.com/office/drawing/2014/main" id="{B82AE548-797A-6335-9951-B5A6DFCEF6A5}"/>
                </a:ext>
              </a:extLst>
            </p:cNvPr>
            <p:cNvSpPr/>
            <p:nvPr/>
          </p:nvSpPr>
          <p:spPr>
            <a:xfrm>
              <a:off x="7454660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0" name="Полілінія: фігура 599">
              <a:extLst>
                <a:ext uri="{FF2B5EF4-FFF2-40B4-BE49-F238E27FC236}">
                  <a16:creationId xmlns:a16="http://schemas.microsoft.com/office/drawing/2014/main" id="{50604411-7DDC-8054-937C-86D158D6C24C}"/>
                </a:ext>
              </a:extLst>
            </p:cNvPr>
            <p:cNvSpPr/>
            <p:nvPr/>
          </p:nvSpPr>
          <p:spPr>
            <a:xfrm>
              <a:off x="7584056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1" name="Полілінія: фігура 600">
              <a:extLst>
                <a:ext uri="{FF2B5EF4-FFF2-40B4-BE49-F238E27FC236}">
                  <a16:creationId xmlns:a16="http://schemas.microsoft.com/office/drawing/2014/main" id="{99BC294A-26D1-3A91-D5DF-9CA57766A74F}"/>
                </a:ext>
              </a:extLst>
            </p:cNvPr>
            <p:cNvSpPr/>
            <p:nvPr/>
          </p:nvSpPr>
          <p:spPr>
            <a:xfrm>
              <a:off x="7713452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2" name="Полілінія: фігура 601">
              <a:extLst>
                <a:ext uri="{FF2B5EF4-FFF2-40B4-BE49-F238E27FC236}">
                  <a16:creationId xmlns:a16="http://schemas.microsoft.com/office/drawing/2014/main" id="{986790CB-CDD3-2E5A-57B6-652E679862FC}"/>
                </a:ext>
              </a:extLst>
            </p:cNvPr>
            <p:cNvSpPr/>
            <p:nvPr/>
          </p:nvSpPr>
          <p:spPr>
            <a:xfrm>
              <a:off x="8101641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3" name="Полілінія: фігура 602">
              <a:extLst>
                <a:ext uri="{FF2B5EF4-FFF2-40B4-BE49-F238E27FC236}">
                  <a16:creationId xmlns:a16="http://schemas.microsoft.com/office/drawing/2014/main" id="{C98FF4F9-E9E0-008D-0CA8-ACE62CBB4906}"/>
                </a:ext>
              </a:extLst>
            </p:cNvPr>
            <p:cNvSpPr/>
            <p:nvPr/>
          </p:nvSpPr>
          <p:spPr>
            <a:xfrm>
              <a:off x="8231037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4" name="Полілінія: фігура 603">
              <a:extLst>
                <a:ext uri="{FF2B5EF4-FFF2-40B4-BE49-F238E27FC236}">
                  <a16:creationId xmlns:a16="http://schemas.microsoft.com/office/drawing/2014/main" id="{958A6CB6-B500-B4FD-A930-CC1A403A6152}"/>
                </a:ext>
              </a:extLst>
            </p:cNvPr>
            <p:cNvSpPr/>
            <p:nvPr/>
          </p:nvSpPr>
          <p:spPr>
            <a:xfrm>
              <a:off x="8360433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5" name="Полілінія: фігура 604">
              <a:extLst>
                <a:ext uri="{FF2B5EF4-FFF2-40B4-BE49-F238E27FC236}">
                  <a16:creationId xmlns:a16="http://schemas.microsoft.com/office/drawing/2014/main" id="{85876539-B22F-488C-C97E-AB7288EFF8E2}"/>
                </a:ext>
              </a:extLst>
            </p:cNvPr>
            <p:cNvSpPr/>
            <p:nvPr/>
          </p:nvSpPr>
          <p:spPr>
            <a:xfrm>
              <a:off x="8489830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6" name="Полілінія: фігура 605">
              <a:extLst>
                <a:ext uri="{FF2B5EF4-FFF2-40B4-BE49-F238E27FC236}">
                  <a16:creationId xmlns:a16="http://schemas.microsoft.com/office/drawing/2014/main" id="{6973E788-5B1C-A82D-AF77-5E54FC798775}"/>
                </a:ext>
              </a:extLst>
            </p:cNvPr>
            <p:cNvSpPr/>
            <p:nvPr/>
          </p:nvSpPr>
          <p:spPr>
            <a:xfrm>
              <a:off x="8619226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7" name="Полілінія: фігура 606">
              <a:extLst>
                <a:ext uri="{FF2B5EF4-FFF2-40B4-BE49-F238E27FC236}">
                  <a16:creationId xmlns:a16="http://schemas.microsoft.com/office/drawing/2014/main" id="{AEF0BCCB-1E36-057B-2539-6F42958397B4}"/>
                </a:ext>
              </a:extLst>
            </p:cNvPr>
            <p:cNvSpPr/>
            <p:nvPr/>
          </p:nvSpPr>
          <p:spPr>
            <a:xfrm>
              <a:off x="8878018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8" name="Полілінія: фігура 607">
              <a:extLst>
                <a:ext uri="{FF2B5EF4-FFF2-40B4-BE49-F238E27FC236}">
                  <a16:creationId xmlns:a16="http://schemas.microsoft.com/office/drawing/2014/main" id="{CF4E6CD1-D06F-1ED9-5611-29084E0B74CE}"/>
                </a:ext>
              </a:extLst>
            </p:cNvPr>
            <p:cNvSpPr/>
            <p:nvPr/>
          </p:nvSpPr>
          <p:spPr>
            <a:xfrm>
              <a:off x="9007415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09" name="Полілінія: фігура 608">
              <a:extLst>
                <a:ext uri="{FF2B5EF4-FFF2-40B4-BE49-F238E27FC236}">
                  <a16:creationId xmlns:a16="http://schemas.microsoft.com/office/drawing/2014/main" id="{B1507937-2533-74FB-6D11-7E7FEA378565}"/>
                </a:ext>
              </a:extLst>
            </p:cNvPr>
            <p:cNvSpPr/>
            <p:nvPr/>
          </p:nvSpPr>
          <p:spPr>
            <a:xfrm>
              <a:off x="9136811" y="310550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0" name="Полілінія: фігура 609">
              <a:extLst>
                <a:ext uri="{FF2B5EF4-FFF2-40B4-BE49-F238E27FC236}">
                  <a16:creationId xmlns:a16="http://schemas.microsoft.com/office/drawing/2014/main" id="{36E39A90-76D6-AE17-4C96-1943C0CCE304}"/>
                </a:ext>
              </a:extLst>
            </p:cNvPr>
            <p:cNvSpPr/>
            <p:nvPr/>
          </p:nvSpPr>
          <p:spPr>
            <a:xfrm>
              <a:off x="3313981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1" name="Полілінія: фігура 610">
              <a:extLst>
                <a:ext uri="{FF2B5EF4-FFF2-40B4-BE49-F238E27FC236}">
                  <a16:creationId xmlns:a16="http://schemas.microsoft.com/office/drawing/2014/main" id="{75BD9812-6490-B6DC-2873-C96A86128814}"/>
                </a:ext>
              </a:extLst>
            </p:cNvPr>
            <p:cNvSpPr/>
            <p:nvPr/>
          </p:nvSpPr>
          <p:spPr>
            <a:xfrm>
              <a:off x="3443377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2" name="Полілінія: фігура 611">
              <a:extLst>
                <a:ext uri="{FF2B5EF4-FFF2-40B4-BE49-F238E27FC236}">
                  <a16:creationId xmlns:a16="http://schemas.microsoft.com/office/drawing/2014/main" id="{968DBFF4-F947-CEFD-A29F-B7B09268A79B}"/>
                </a:ext>
              </a:extLst>
            </p:cNvPr>
            <p:cNvSpPr/>
            <p:nvPr/>
          </p:nvSpPr>
          <p:spPr>
            <a:xfrm>
              <a:off x="3960962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3" name="Полілінія: фігура 612">
              <a:extLst>
                <a:ext uri="{FF2B5EF4-FFF2-40B4-BE49-F238E27FC236}">
                  <a16:creationId xmlns:a16="http://schemas.microsoft.com/office/drawing/2014/main" id="{E896F954-9DB9-8393-AE29-E459B9C09ABB}"/>
                </a:ext>
              </a:extLst>
            </p:cNvPr>
            <p:cNvSpPr/>
            <p:nvPr/>
          </p:nvSpPr>
          <p:spPr>
            <a:xfrm>
              <a:off x="4478547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4" name="Полілінія: фігура 613">
              <a:extLst>
                <a:ext uri="{FF2B5EF4-FFF2-40B4-BE49-F238E27FC236}">
                  <a16:creationId xmlns:a16="http://schemas.microsoft.com/office/drawing/2014/main" id="{B525ACB7-56DB-3F1C-684C-A7A0500E3D31}"/>
                </a:ext>
              </a:extLst>
            </p:cNvPr>
            <p:cNvSpPr/>
            <p:nvPr/>
          </p:nvSpPr>
          <p:spPr>
            <a:xfrm>
              <a:off x="4607943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5" name="Полілінія: фігура 614">
              <a:extLst>
                <a:ext uri="{FF2B5EF4-FFF2-40B4-BE49-F238E27FC236}">
                  <a16:creationId xmlns:a16="http://schemas.microsoft.com/office/drawing/2014/main" id="{7E552DF3-D470-3DE0-63F4-5B844B197843}"/>
                </a:ext>
              </a:extLst>
            </p:cNvPr>
            <p:cNvSpPr/>
            <p:nvPr/>
          </p:nvSpPr>
          <p:spPr>
            <a:xfrm>
              <a:off x="4996132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6" name="Полілінія: фігура 615">
              <a:extLst>
                <a:ext uri="{FF2B5EF4-FFF2-40B4-BE49-F238E27FC236}">
                  <a16:creationId xmlns:a16="http://schemas.microsoft.com/office/drawing/2014/main" id="{3F04A343-6C90-0A44-E0B8-88DDA01ADA48}"/>
                </a:ext>
              </a:extLst>
            </p:cNvPr>
            <p:cNvSpPr/>
            <p:nvPr/>
          </p:nvSpPr>
          <p:spPr>
            <a:xfrm>
              <a:off x="5125528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7" name="Полілінія: фігура 616">
              <a:extLst>
                <a:ext uri="{FF2B5EF4-FFF2-40B4-BE49-F238E27FC236}">
                  <a16:creationId xmlns:a16="http://schemas.microsoft.com/office/drawing/2014/main" id="{889B993F-3E04-232E-4E32-5014980D9177}"/>
                </a:ext>
              </a:extLst>
            </p:cNvPr>
            <p:cNvSpPr/>
            <p:nvPr/>
          </p:nvSpPr>
          <p:spPr>
            <a:xfrm>
              <a:off x="5254924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8" name="Полілінія: фігура 617">
              <a:extLst>
                <a:ext uri="{FF2B5EF4-FFF2-40B4-BE49-F238E27FC236}">
                  <a16:creationId xmlns:a16="http://schemas.microsoft.com/office/drawing/2014/main" id="{3C525101-4625-7310-18F8-61CE3B9D4DDB}"/>
                </a:ext>
              </a:extLst>
            </p:cNvPr>
            <p:cNvSpPr/>
            <p:nvPr/>
          </p:nvSpPr>
          <p:spPr>
            <a:xfrm>
              <a:off x="5384320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19" name="Полілінія: фігура 618">
              <a:extLst>
                <a:ext uri="{FF2B5EF4-FFF2-40B4-BE49-F238E27FC236}">
                  <a16:creationId xmlns:a16="http://schemas.microsoft.com/office/drawing/2014/main" id="{C5836334-853E-2B1B-9344-8DF7C7E3D002}"/>
                </a:ext>
              </a:extLst>
            </p:cNvPr>
            <p:cNvSpPr/>
            <p:nvPr/>
          </p:nvSpPr>
          <p:spPr>
            <a:xfrm>
              <a:off x="5513716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0" name="Полілінія: фігура 619">
              <a:extLst>
                <a:ext uri="{FF2B5EF4-FFF2-40B4-BE49-F238E27FC236}">
                  <a16:creationId xmlns:a16="http://schemas.microsoft.com/office/drawing/2014/main" id="{D82F6D07-BD22-FE5F-07A4-F231A5F274F9}"/>
                </a:ext>
              </a:extLst>
            </p:cNvPr>
            <p:cNvSpPr/>
            <p:nvPr/>
          </p:nvSpPr>
          <p:spPr>
            <a:xfrm>
              <a:off x="5772509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1" name="Полілінія: фігура 620">
              <a:extLst>
                <a:ext uri="{FF2B5EF4-FFF2-40B4-BE49-F238E27FC236}">
                  <a16:creationId xmlns:a16="http://schemas.microsoft.com/office/drawing/2014/main" id="{AF9EDDF3-755F-CAB7-DA0C-5EFE88C00882}"/>
                </a:ext>
              </a:extLst>
            </p:cNvPr>
            <p:cNvSpPr/>
            <p:nvPr/>
          </p:nvSpPr>
          <p:spPr>
            <a:xfrm>
              <a:off x="6290094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2" name="Полілінія: фігура 621">
              <a:extLst>
                <a:ext uri="{FF2B5EF4-FFF2-40B4-BE49-F238E27FC236}">
                  <a16:creationId xmlns:a16="http://schemas.microsoft.com/office/drawing/2014/main" id="{0724F618-8BD4-7D86-BFED-72588AA8E299}"/>
                </a:ext>
              </a:extLst>
            </p:cNvPr>
            <p:cNvSpPr/>
            <p:nvPr/>
          </p:nvSpPr>
          <p:spPr>
            <a:xfrm>
              <a:off x="6678283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3" name="Полілінія: фігура 622">
              <a:extLst>
                <a:ext uri="{FF2B5EF4-FFF2-40B4-BE49-F238E27FC236}">
                  <a16:creationId xmlns:a16="http://schemas.microsoft.com/office/drawing/2014/main" id="{FCF41013-E668-A49E-A5A9-FB0D8DBE8BB9}"/>
                </a:ext>
              </a:extLst>
            </p:cNvPr>
            <p:cNvSpPr/>
            <p:nvPr/>
          </p:nvSpPr>
          <p:spPr>
            <a:xfrm>
              <a:off x="6807679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4" name="Полілінія: фігура 623">
              <a:extLst>
                <a:ext uri="{FF2B5EF4-FFF2-40B4-BE49-F238E27FC236}">
                  <a16:creationId xmlns:a16="http://schemas.microsoft.com/office/drawing/2014/main" id="{E6DC33E6-4555-20F3-6D7B-98FBD64E67EA}"/>
                </a:ext>
              </a:extLst>
            </p:cNvPr>
            <p:cNvSpPr/>
            <p:nvPr/>
          </p:nvSpPr>
          <p:spPr>
            <a:xfrm>
              <a:off x="7066471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5" name="Полілінія: фігура 624">
              <a:extLst>
                <a:ext uri="{FF2B5EF4-FFF2-40B4-BE49-F238E27FC236}">
                  <a16:creationId xmlns:a16="http://schemas.microsoft.com/office/drawing/2014/main" id="{8D6BB257-9138-152E-9B2E-643A3B37655D}"/>
                </a:ext>
              </a:extLst>
            </p:cNvPr>
            <p:cNvSpPr/>
            <p:nvPr/>
          </p:nvSpPr>
          <p:spPr>
            <a:xfrm>
              <a:off x="7454660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6" name="Полілінія: фігура 625">
              <a:extLst>
                <a:ext uri="{FF2B5EF4-FFF2-40B4-BE49-F238E27FC236}">
                  <a16:creationId xmlns:a16="http://schemas.microsoft.com/office/drawing/2014/main" id="{09AC18CE-645D-8F51-C8BE-69AAF8398158}"/>
                </a:ext>
              </a:extLst>
            </p:cNvPr>
            <p:cNvSpPr/>
            <p:nvPr/>
          </p:nvSpPr>
          <p:spPr>
            <a:xfrm>
              <a:off x="7842849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7" name="Полілінія: фігура 626">
              <a:extLst>
                <a:ext uri="{FF2B5EF4-FFF2-40B4-BE49-F238E27FC236}">
                  <a16:creationId xmlns:a16="http://schemas.microsoft.com/office/drawing/2014/main" id="{7379D169-AE7F-9982-D67C-A1E120A5B008}"/>
                </a:ext>
              </a:extLst>
            </p:cNvPr>
            <p:cNvSpPr/>
            <p:nvPr/>
          </p:nvSpPr>
          <p:spPr>
            <a:xfrm>
              <a:off x="8101641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8" name="Полілінія: фігура 627">
              <a:extLst>
                <a:ext uri="{FF2B5EF4-FFF2-40B4-BE49-F238E27FC236}">
                  <a16:creationId xmlns:a16="http://schemas.microsoft.com/office/drawing/2014/main" id="{CCD33A01-30F0-0851-5189-C76893FF5EA9}"/>
                </a:ext>
              </a:extLst>
            </p:cNvPr>
            <p:cNvSpPr/>
            <p:nvPr/>
          </p:nvSpPr>
          <p:spPr>
            <a:xfrm>
              <a:off x="8619226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29" name="Полілінія: фігура 628">
              <a:extLst>
                <a:ext uri="{FF2B5EF4-FFF2-40B4-BE49-F238E27FC236}">
                  <a16:creationId xmlns:a16="http://schemas.microsoft.com/office/drawing/2014/main" id="{7755CF13-A192-6C3D-4C26-0D8EE2284490}"/>
                </a:ext>
              </a:extLst>
            </p:cNvPr>
            <p:cNvSpPr/>
            <p:nvPr/>
          </p:nvSpPr>
          <p:spPr>
            <a:xfrm>
              <a:off x="8878018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0" name="Полілінія: фігура 629">
              <a:extLst>
                <a:ext uri="{FF2B5EF4-FFF2-40B4-BE49-F238E27FC236}">
                  <a16:creationId xmlns:a16="http://schemas.microsoft.com/office/drawing/2014/main" id="{4BD01396-16C0-57ED-DAAC-9AFA43793445}"/>
                </a:ext>
              </a:extLst>
            </p:cNvPr>
            <p:cNvSpPr/>
            <p:nvPr/>
          </p:nvSpPr>
          <p:spPr>
            <a:xfrm>
              <a:off x="9136811" y="323490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1" name="Полілінія: фігура 630">
              <a:extLst>
                <a:ext uri="{FF2B5EF4-FFF2-40B4-BE49-F238E27FC236}">
                  <a16:creationId xmlns:a16="http://schemas.microsoft.com/office/drawing/2014/main" id="{D7961C38-9CC5-2606-9C79-BE17FFFD2479}"/>
                </a:ext>
              </a:extLst>
            </p:cNvPr>
            <p:cNvSpPr/>
            <p:nvPr/>
          </p:nvSpPr>
          <p:spPr>
            <a:xfrm>
              <a:off x="2925792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2" name="Полілінія: фігура 631">
              <a:extLst>
                <a:ext uri="{FF2B5EF4-FFF2-40B4-BE49-F238E27FC236}">
                  <a16:creationId xmlns:a16="http://schemas.microsoft.com/office/drawing/2014/main" id="{54BBEF5B-DEE9-CF4A-A5B8-3B7439E85232}"/>
                </a:ext>
              </a:extLst>
            </p:cNvPr>
            <p:cNvSpPr/>
            <p:nvPr/>
          </p:nvSpPr>
          <p:spPr>
            <a:xfrm>
              <a:off x="3055188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3" name="Полілінія: фігура 632">
              <a:extLst>
                <a:ext uri="{FF2B5EF4-FFF2-40B4-BE49-F238E27FC236}">
                  <a16:creationId xmlns:a16="http://schemas.microsoft.com/office/drawing/2014/main" id="{8DFC0322-7AF5-F6CF-7E61-969B8CE67F0F}"/>
                </a:ext>
              </a:extLst>
            </p:cNvPr>
            <p:cNvSpPr/>
            <p:nvPr/>
          </p:nvSpPr>
          <p:spPr>
            <a:xfrm>
              <a:off x="3184584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4" name="Полілінія: фігура 633">
              <a:extLst>
                <a:ext uri="{FF2B5EF4-FFF2-40B4-BE49-F238E27FC236}">
                  <a16:creationId xmlns:a16="http://schemas.microsoft.com/office/drawing/2014/main" id="{6A851264-A3B6-601A-68EF-DCB84C0A1A05}"/>
                </a:ext>
              </a:extLst>
            </p:cNvPr>
            <p:cNvSpPr/>
            <p:nvPr/>
          </p:nvSpPr>
          <p:spPr>
            <a:xfrm>
              <a:off x="3443377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5" name="Полілінія: фігура 634">
              <a:extLst>
                <a:ext uri="{FF2B5EF4-FFF2-40B4-BE49-F238E27FC236}">
                  <a16:creationId xmlns:a16="http://schemas.microsoft.com/office/drawing/2014/main" id="{2559FCDA-FB90-6D7A-8FED-433561B0F1AF}"/>
                </a:ext>
              </a:extLst>
            </p:cNvPr>
            <p:cNvSpPr/>
            <p:nvPr/>
          </p:nvSpPr>
          <p:spPr>
            <a:xfrm>
              <a:off x="3702169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6" name="Полілінія: фігура 635">
              <a:extLst>
                <a:ext uri="{FF2B5EF4-FFF2-40B4-BE49-F238E27FC236}">
                  <a16:creationId xmlns:a16="http://schemas.microsoft.com/office/drawing/2014/main" id="{59C90F9E-BB56-A96F-56DA-1CB96FA4FF67}"/>
                </a:ext>
              </a:extLst>
            </p:cNvPr>
            <p:cNvSpPr/>
            <p:nvPr/>
          </p:nvSpPr>
          <p:spPr>
            <a:xfrm>
              <a:off x="3960962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7" name="Полілінія: фігура 636">
              <a:extLst>
                <a:ext uri="{FF2B5EF4-FFF2-40B4-BE49-F238E27FC236}">
                  <a16:creationId xmlns:a16="http://schemas.microsoft.com/office/drawing/2014/main" id="{F3D65900-34BA-C9A8-C61A-1DD6EAB5B0E4}"/>
                </a:ext>
              </a:extLst>
            </p:cNvPr>
            <p:cNvSpPr/>
            <p:nvPr/>
          </p:nvSpPr>
          <p:spPr>
            <a:xfrm>
              <a:off x="4349150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8" name="Полілінія: фігура 637">
              <a:extLst>
                <a:ext uri="{FF2B5EF4-FFF2-40B4-BE49-F238E27FC236}">
                  <a16:creationId xmlns:a16="http://schemas.microsoft.com/office/drawing/2014/main" id="{50A89CEA-5120-F08D-D943-2DE40ED234F2}"/>
                </a:ext>
              </a:extLst>
            </p:cNvPr>
            <p:cNvSpPr/>
            <p:nvPr/>
          </p:nvSpPr>
          <p:spPr>
            <a:xfrm>
              <a:off x="4607943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39" name="Полілінія: фігура 638">
              <a:extLst>
                <a:ext uri="{FF2B5EF4-FFF2-40B4-BE49-F238E27FC236}">
                  <a16:creationId xmlns:a16="http://schemas.microsoft.com/office/drawing/2014/main" id="{AA11A7B0-6609-1152-42C5-F935ADF65F59}"/>
                </a:ext>
              </a:extLst>
            </p:cNvPr>
            <p:cNvSpPr/>
            <p:nvPr/>
          </p:nvSpPr>
          <p:spPr>
            <a:xfrm>
              <a:off x="4866735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0" name="Полілінія: фігура 639">
              <a:extLst>
                <a:ext uri="{FF2B5EF4-FFF2-40B4-BE49-F238E27FC236}">
                  <a16:creationId xmlns:a16="http://schemas.microsoft.com/office/drawing/2014/main" id="{C3672604-33DC-CA31-A42C-C0E91CD54BF5}"/>
                </a:ext>
              </a:extLst>
            </p:cNvPr>
            <p:cNvSpPr/>
            <p:nvPr/>
          </p:nvSpPr>
          <p:spPr>
            <a:xfrm>
              <a:off x="5384320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1" name="Полілінія: фігура 640">
              <a:extLst>
                <a:ext uri="{FF2B5EF4-FFF2-40B4-BE49-F238E27FC236}">
                  <a16:creationId xmlns:a16="http://schemas.microsoft.com/office/drawing/2014/main" id="{B3788D3F-D4CB-A502-A547-358E7629CBE8}"/>
                </a:ext>
              </a:extLst>
            </p:cNvPr>
            <p:cNvSpPr/>
            <p:nvPr/>
          </p:nvSpPr>
          <p:spPr>
            <a:xfrm>
              <a:off x="5513716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2" name="Полілінія: фігура 641">
              <a:extLst>
                <a:ext uri="{FF2B5EF4-FFF2-40B4-BE49-F238E27FC236}">
                  <a16:creationId xmlns:a16="http://schemas.microsoft.com/office/drawing/2014/main" id="{EFC87E07-D720-DA88-03F5-0C4E2240C787}"/>
                </a:ext>
              </a:extLst>
            </p:cNvPr>
            <p:cNvSpPr/>
            <p:nvPr/>
          </p:nvSpPr>
          <p:spPr>
            <a:xfrm>
              <a:off x="5643113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3" name="Полілінія: фігура 642">
              <a:extLst>
                <a:ext uri="{FF2B5EF4-FFF2-40B4-BE49-F238E27FC236}">
                  <a16:creationId xmlns:a16="http://schemas.microsoft.com/office/drawing/2014/main" id="{4072C3E2-CE54-AE61-A29E-722D0FBFC1CB}"/>
                </a:ext>
              </a:extLst>
            </p:cNvPr>
            <p:cNvSpPr/>
            <p:nvPr/>
          </p:nvSpPr>
          <p:spPr>
            <a:xfrm>
              <a:off x="5772509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4" name="Полілінія: фігура 643">
              <a:extLst>
                <a:ext uri="{FF2B5EF4-FFF2-40B4-BE49-F238E27FC236}">
                  <a16:creationId xmlns:a16="http://schemas.microsoft.com/office/drawing/2014/main" id="{180338A0-DBF7-9556-289D-0395E5A7B9DB}"/>
                </a:ext>
              </a:extLst>
            </p:cNvPr>
            <p:cNvSpPr/>
            <p:nvPr/>
          </p:nvSpPr>
          <p:spPr>
            <a:xfrm>
              <a:off x="6031301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5" name="Полілінія: фігура 644">
              <a:extLst>
                <a:ext uri="{FF2B5EF4-FFF2-40B4-BE49-F238E27FC236}">
                  <a16:creationId xmlns:a16="http://schemas.microsoft.com/office/drawing/2014/main" id="{9197F267-FE54-5A05-616C-8A7F16086589}"/>
                </a:ext>
              </a:extLst>
            </p:cNvPr>
            <p:cNvSpPr/>
            <p:nvPr/>
          </p:nvSpPr>
          <p:spPr>
            <a:xfrm>
              <a:off x="6290094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6" name="Полілінія: фігура 645">
              <a:extLst>
                <a:ext uri="{FF2B5EF4-FFF2-40B4-BE49-F238E27FC236}">
                  <a16:creationId xmlns:a16="http://schemas.microsoft.com/office/drawing/2014/main" id="{B006A2AE-C47B-6FEA-F034-113F20535B16}"/>
                </a:ext>
              </a:extLst>
            </p:cNvPr>
            <p:cNvSpPr/>
            <p:nvPr/>
          </p:nvSpPr>
          <p:spPr>
            <a:xfrm>
              <a:off x="6807679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7" name="Полілінія: фігура 646">
              <a:extLst>
                <a:ext uri="{FF2B5EF4-FFF2-40B4-BE49-F238E27FC236}">
                  <a16:creationId xmlns:a16="http://schemas.microsoft.com/office/drawing/2014/main" id="{C744D277-CAEE-842C-BC14-4E8BC81DC646}"/>
                </a:ext>
              </a:extLst>
            </p:cNvPr>
            <p:cNvSpPr/>
            <p:nvPr/>
          </p:nvSpPr>
          <p:spPr>
            <a:xfrm>
              <a:off x="7066471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8" name="Полілінія: фігура 647">
              <a:extLst>
                <a:ext uri="{FF2B5EF4-FFF2-40B4-BE49-F238E27FC236}">
                  <a16:creationId xmlns:a16="http://schemas.microsoft.com/office/drawing/2014/main" id="{BAC2C28D-9286-C49C-AAEC-269D267B791B}"/>
                </a:ext>
              </a:extLst>
            </p:cNvPr>
            <p:cNvSpPr/>
            <p:nvPr/>
          </p:nvSpPr>
          <p:spPr>
            <a:xfrm>
              <a:off x="7195867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49" name="Полілінія: фігура 648">
              <a:extLst>
                <a:ext uri="{FF2B5EF4-FFF2-40B4-BE49-F238E27FC236}">
                  <a16:creationId xmlns:a16="http://schemas.microsoft.com/office/drawing/2014/main" id="{2130399B-D2DA-E23F-8CAF-098B1AB66545}"/>
                </a:ext>
              </a:extLst>
            </p:cNvPr>
            <p:cNvSpPr/>
            <p:nvPr/>
          </p:nvSpPr>
          <p:spPr>
            <a:xfrm>
              <a:off x="7454660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0" name="Полілінія: фігура 649">
              <a:extLst>
                <a:ext uri="{FF2B5EF4-FFF2-40B4-BE49-F238E27FC236}">
                  <a16:creationId xmlns:a16="http://schemas.microsoft.com/office/drawing/2014/main" id="{DB702157-1E20-2389-39B2-DB3DA1922F7D}"/>
                </a:ext>
              </a:extLst>
            </p:cNvPr>
            <p:cNvSpPr/>
            <p:nvPr/>
          </p:nvSpPr>
          <p:spPr>
            <a:xfrm>
              <a:off x="8101641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1" name="Полілінія: фігура 650">
              <a:extLst>
                <a:ext uri="{FF2B5EF4-FFF2-40B4-BE49-F238E27FC236}">
                  <a16:creationId xmlns:a16="http://schemas.microsoft.com/office/drawing/2014/main" id="{793150B1-61B2-99A1-FE9F-6607C903BE38}"/>
                </a:ext>
              </a:extLst>
            </p:cNvPr>
            <p:cNvSpPr/>
            <p:nvPr/>
          </p:nvSpPr>
          <p:spPr>
            <a:xfrm>
              <a:off x="8360433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2" name="Полілінія: фігура 651">
              <a:extLst>
                <a:ext uri="{FF2B5EF4-FFF2-40B4-BE49-F238E27FC236}">
                  <a16:creationId xmlns:a16="http://schemas.microsoft.com/office/drawing/2014/main" id="{A0C60187-FAB7-D348-37B1-B36B5C926C1A}"/>
                </a:ext>
              </a:extLst>
            </p:cNvPr>
            <p:cNvSpPr/>
            <p:nvPr/>
          </p:nvSpPr>
          <p:spPr>
            <a:xfrm>
              <a:off x="8619226" y="336430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3" name="Полілінія: фігура 652">
              <a:extLst>
                <a:ext uri="{FF2B5EF4-FFF2-40B4-BE49-F238E27FC236}">
                  <a16:creationId xmlns:a16="http://schemas.microsoft.com/office/drawing/2014/main" id="{375F57D0-C2D9-EC64-8DC4-80A91D0C867A}"/>
                </a:ext>
              </a:extLst>
            </p:cNvPr>
            <p:cNvSpPr/>
            <p:nvPr/>
          </p:nvSpPr>
          <p:spPr>
            <a:xfrm>
              <a:off x="3443377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4" name="Полілінія: фігура 653">
              <a:extLst>
                <a:ext uri="{FF2B5EF4-FFF2-40B4-BE49-F238E27FC236}">
                  <a16:creationId xmlns:a16="http://schemas.microsoft.com/office/drawing/2014/main" id="{27553E8B-D81A-5BE5-1877-C150BC8AB6E6}"/>
                </a:ext>
              </a:extLst>
            </p:cNvPr>
            <p:cNvSpPr/>
            <p:nvPr/>
          </p:nvSpPr>
          <p:spPr>
            <a:xfrm>
              <a:off x="3960962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5" name="Полілінія: фігура 654">
              <a:extLst>
                <a:ext uri="{FF2B5EF4-FFF2-40B4-BE49-F238E27FC236}">
                  <a16:creationId xmlns:a16="http://schemas.microsoft.com/office/drawing/2014/main" id="{2D46B262-2E31-2B0A-C41B-027B599C6F3B}"/>
                </a:ext>
              </a:extLst>
            </p:cNvPr>
            <p:cNvSpPr/>
            <p:nvPr/>
          </p:nvSpPr>
          <p:spPr>
            <a:xfrm>
              <a:off x="4219754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6" name="Полілінія: фігура 655">
              <a:extLst>
                <a:ext uri="{FF2B5EF4-FFF2-40B4-BE49-F238E27FC236}">
                  <a16:creationId xmlns:a16="http://schemas.microsoft.com/office/drawing/2014/main" id="{107EB796-C359-F704-BE69-0E9460B3C019}"/>
                </a:ext>
              </a:extLst>
            </p:cNvPr>
            <p:cNvSpPr/>
            <p:nvPr/>
          </p:nvSpPr>
          <p:spPr>
            <a:xfrm>
              <a:off x="4349150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7" name="Полілінія: фігура 656">
              <a:extLst>
                <a:ext uri="{FF2B5EF4-FFF2-40B4-BE49-F238E27FC236}">
                  <a16:creationId xmlns:a16="http://schemas.microsoft.com/office/drawing/2014/main" id="{F7E3F634-A49F-24C3-5F06-206E1A68ACA2}"/>
                </a:ext>
              </a:extLst>
            </p:cNvPr>
            <p:cNvSpPr/>
            <p:nvPr/>
          </p:nvSpPr>
          <p:spPr>
            <a:xfrm>
              <a:off x="4607943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8" name="Полілінія: фігура 657">
              <a:extLst>
                <a:ext uri="{FF2B5EF4-FFF2-40B4-BE49-F238E27FC236}">
                  <a16:creationId xmlns:a16="http://schemas.microsoft.com/office/drawing/2014/main" id="{6FF5B971-2A2A-95C0-0D74-E70DDEAC1AD5}"/>
                </a:ext>
              </a:extLst>
            </p:cNvPr>
            <p:cNvSpPr/>
            <p:nvPr/>
          </p:nvSpPr>
          <p:spPr>
            <a:xfrm>
              <a:off x="4996132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59" name="Полілінія: фігура 658">
              <a:extLst>
                <a:ext uri="{FF2B5EF4-FFF2-40B4-BE49-F238E27FC236}">
                  <a16:creationId xmlns:a16="http://schemas.microsoft.com/office/drawing/2014/main" id="{B8ACC6B0-C025-727F-558F-B17F0A18A06F}"/>
                </a:ext>
              </a:extLst>
            </p:cNvPr>
            <p:cNvSpPr/>
            <p:nvPr/>
          </p:nvSpPr>
          <p:spPr>
            <a:xfrm>
              <a:off x="5513716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0" name="Полілінія: фігура 659">
              <a:extLst>
                <a:ext uri="{FF2B5EF4-FFF2-40B4-BE49-F238E27FC236}">
                  <a16:creationId xmlns:a16="http://schemas.microsoft.com/office/drawing/2014/main" id="{865FC118-ABD7-4239-0470-250C5317EF4C}"/>
                </a:ext>
              </a:extLst>
            </p:cNvPr>
            <p:cNvSpPr/>
            <p:nvPr/>
          </p:nvSpPr>
          <p:spPr>
            <a:xfrm>
              <a:off x="5643113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1" name="Полілінія: фігура 660">
              <a:extLst>
                <a:ext uri="{FF2B5EF4-FFF2-40B4-BE49-F238E27FC236}">
                  <a16:creationId xmlns:a16="http://schemas.microsoft.com/office/drawing/2014/main" id="{CC512F84-D049-6000-2B3C-9EDACFB73A7F}"/>
                </a:ext>
              </a:extLst>
            </p:cNvPr>
            <p:cNvSpPr/>
            <p:nvPr/>
          </p:nvSpPr>
          <p:spPr>
            <a:xfrm>
              <a:off x="5772509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2" name="Полілінія: фігура 661">
              <a:extLst>
                <a:ext uri="{FF2B5EF4-FFF2-40B4-BE49-F238E27FC236}">
                  <a16:creationId xmlns:a16="http://schemas.microsoft.com/office/drawing/2014/main" id="{0C53E05F-5A44-A2B0-C349-3808ABBF4A42}"/>
                </a:ext>
              </a:extLst>
            </p:cNvPr>
            <p:cNvSpPr/>
            <p:nvPr/>
          </p:nvSpPr>
          <p:spPr>
            <a:xfrm>
              <a:off x="6290094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3" name="Полілінія: фігура 662">
              <a:extLst>
                <a:ext uri="{FF2B5EF4-FFF2-40B4-BE49-F238E27FC236}">
                  <a16:creationId xmlns:a16="http://schemas.microsoft.com/office/drawing/2014/main" id="{BBF35147-691C-58A8-73EB-A3E80F65D9CB}"/>
                </a:ext>
              </a:extLst>
            </p:cNvPr>
            <p:cNvSpPr/>
            <p:nvPr/>
          </p:nvSpPr>
          <p:spPr>
            <a:xfrm>
              <a:off x="6419490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4" name="Полілінія: фігура 663">
              <a:extLst>
                <a:ext uri="{FF2B5EF4-FFF2-40B4-BE49-F238E27FC236}">
                  <a16:creationId xmlns:a16="http://schemas.microsoft.com/office/drawing/2014/main" id="{1EC023D0-EB8A-9A69-1A37-1ED321FE5A68}"/>
                </a:ext>
              </a:extLst>
            </p:cNvPr>
            <p:cNvSpPr/>
            <p:nvPr/>
          </p:nvSpPr>
          <p:spPr>
            <a:xfrm>
              <a:off x="6937075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5" name="Полілінія: фігура 664">
              <a:extLst>
                <a:ext uri="{FF2B5EF4-FFF2-40B4-BE49-F238E27FC236}">
                  <a16:creationId xmlns:a16="http://schemas.microsoft.com/office/drawing/2014/main" id="{3DE910FE-C6F9-13F7-55A4-749A0B7A75AC}"/>
                </a:ext>
              </a:extLst>
            </p:cNvPr>
            <p:cNvSpPr/>
            <p:nvPr/>
          </p:nvSpPr>
          <p:spPr>
            <a:xfrm>
              <a:off x="7325264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6" name="Полілінія: фігура 665">
              <a:extLst>
                <a:ext uri="{FF2B5EF4-FFF2-40B4-BE49-F238E27FC236}">
                  <a16:creationId xmlns:a16="http://schemas.microsoft.com/office/drawing/2014/main" id="{9B990D6A-A994-40D9-05C5-F0E3FB5AFB9C}"/>
                </a:ext>
              </a:extLst>
            </p:cNvPr>
            <p:cNvSpPr/>
            <p:nvPr/>
          </p:nvSpPr>
          <p:spPr>
            <a:xfrm>
              <a:off x="7454660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7" name="Полілінія: фігура 666">
              <a:extLst>
                <a:ext uri="{FF2B5EF4-FFF2-40B4-BE49-F238E27FC236}">
                  <a16:creationId xmlns:a16="http://schemas.microsoft.com/office/drawing/2014/main" id="{BB25E9C9-AC99-D571-86FD-B538469988AC}"/>
                </a:ext>
              </a:extLst>
            </p:cNvPr>
            <p:cNvSpPr/>
            <p:nvPr/>
          </p:nvSpPr>
          <p:spPr>
            <a:xfrm>
              <a:off x="7584056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8" name="Полілінія: фігура 667">
              <a:extLst>
                <a:ext uri="{FF2B5EF4-FFF2-40B4-BE49-F238E27FC236}">
                  <a16:creationId xmlns:a16="http://schemas.microsoft.com/office/drawing/2014/main" id="{BCF9C7EC-AA26-387F-2526-4E30B3715684}"/>
                </a:ext>
              </a:extLst>
            </p:cNvPr>
            <p:cNvSpPr/>
            <p:nvPr/>
          </p:nvSpPr>
          <p:spPr>
            <a:xfrm>
              <a:off x="7972245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69" name="Полілінія: фігура 668">
              <a:extLst>
                <a:ext uri="{FF2B5EF4-FFF2-40B4-BE49-F238E27FC236}">
                  <a16:creationId xmlns:a16="http://schemas.microsoft.com/office/drawing/2014/main" id="{6FD9D15C-0EEC-3506-0012-573609A2F654}"/>
                </a:ext>
              </a:extLst>
            </p:cNvPr>
            <p:cNvSpPr/>
            <p:nvPr/>
          </p:nvSpPr>
          <p:spPr>
            <a:xfrm>
              <a:off x="8101641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0" name="Полілінія: фігура 669">
              <a:extLst>
                <a:ext uri="{FF2B5EF4-FFF2-40B4-BE49-F238E27FC236}">
                  <a16:creationId xmlns:a16="http://schemas.microsoft.com/office/drawing/2014/main" id="{50A0B3AC-104E-23AF-6E4E-EE61120D475E}"/>
                </a:ext>
              </a:extLst>
            </p:cNvPr>
            <p:cNvSpPr/>
            <p:nvPr/>
          </p:nvSpPr>
          <p:spPr>
            <a:xfrm>
              <a:off x="8619226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1" name="Полілінія: фігура 670">
              <a:extLst>
                <a:ext uri="{FF2B5EF4-FFF2-40B4-BE49-F238E27FC236}">
                  <a16:creationId xmlns:a16="http://schemas.microsoft.com/office/drawing/2014/main" id="{A3FDFACA-2FC4-0E8B-3D52-D70BA81DDEB7}"/>
                </a:ext>
              </a:extLst>
            </p:cNvPr>
            <p:cNvSpPr/>
            <p:nvPr/>
          </p:nvSpPr>
          <p:spPr>
            <a:xfrm>
              <a:off x="8878018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2" name="Полілінія: фігура 671">
              <a:extLst>
                <a:ext uri="{FF2B5EF4-FFF2-40B4-BE49-F238E27FC236}">
                  <a16:creationId xmlns:a16="http://schemas.microsoft.com/office/drawing/2014/main" id="{999E2B81-9968-3A33-0B11-56DBEABA9FC1}"/>
                </a:ext>
              </a:extLst>
            </p:cNvPr>
            <p:cNvSpPr/>
            <p:nvPr/>
          </p:nvSpPr>
          <p:spPr>
            <a:xfrm>
              <a:off x="9007415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3" name="Полілінія: фігура 672">
              <a:extLst>
                <a:ext uri="{FF2B5EF4-FFF2-40B4-BE49-F238E27FC236}">
                  <a16:creationId xmlns:a16="http://schemas.microsoft.com/office/drawing/2014/main" id="{FE9F1C38-5F4D-FB4D-23C2-6E45AD97EC76}"/>
                </a:ext>
              </a:extLst>
            </p:cNvPr>
            <p:cNvSpPr/>
            <p:nvPr/>
          </p:nvSpPr>
          <p:spPr>
            <a:xfrm>
              <a:off x="9136811" y="349369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4" name="Полілінія: фігура 673">
              <a:extLst>
                <a:ext uri="{FF2B5EF4-FFF2-40B4-BE49-F238E27FC236}">
                  <a16:creationId xmlns:a16="http://schemas.microsoft.com/office/drawing/2014/main" id="{59C1E504-2094-411D-B165-080C80E1D201}"/>
                </a:ext>
              </a:extLst>
            </p:cNvPr>
            <p:cNvSpPr/>
            <p:nvPr/>
          </p:nvSpPr>
          <p:spPr>
            <a:xfrm>
              <a:off x="3055188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5" name="Полілінія: фігура 674">
              <a:extLst>
                <a:ext uri="{FF2B5EF4-FFF2-40B4-BE49-F238E27FC236}">
                  <a16:creationId xmlns:a16="http://schemas.microsoft.com/office/drawing/2014/main" id="{3860C027-380A-89C7-0110-FEA734436DDE}"/>
                </a:ext>
              </a:extLst>
            </p:cNvPr>
            <p:cNvSpPr/>
            <p:nvPr/>
          </p:nvSpPr>
          <p:spPr>
            <a:xfrm>
              <a:off x="3313981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6" name="Полілінія: фігура 675">
              <a:extLst>
                <a:ext uri="{FF2B5EF4-FFF2-40B4-BE49-F238E27FC236}">
                  <a16:creationId xmlns:a16="http://schemas.microsoft.com/office/drawing/2014/main" id="{E8901EE3-D6A2-92D0-2302-CF21DBEF3487}"/>
                </a:ext>
              </a:extLst>
            </p:cNvPr>
            <p:cNvSpPr/>
            <p:nvPr/>
          </p:nvSpPr>
          <p:spPr>
            <a:xfrm>
              <a:off x="3443377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7" name="Полілінія: фігура 676">
              <a:extLst>
                <a:ext uri="{FF2B5EF4-FFF2-40B4-BE49-F238E27FC236}">
                  <a16:creationId xmlns:a16="http://schemas.microsoft.com/office/drawing/2014/main" id="{85162EBE-67CD-1EAC-08ED-F3E752152B64}"/>
                </a:ext>
              </a:extLst>
            </p:cNvPr>
            <p:cNvSpPr/>
            <p:nvPr/>
          </p:nvSpPr>
          <p:spPr>
            <a:xfrm>
              <a:off x="3572773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8" name="Полілінія: фігура 677">
              <a:extLst>
                <a:ext uri="{FF2B5EF4-FFF2-40B4-BE49-F238E27FC236}">
                  <a16:creationId xmlns:a16="http://schemas.microsoft.com/office/drawing/2014/main" id="{49E7B163-2987-9CF3-1F0B-61A9EE6C872F}"/>
                </a:ext>
              </a:extLst>
            </p:cNvPr>
            <p:cNvSpPr/>
            <p:nvPr/>
          </p:nvSpPr>
          <p:spPr>
            <a:xfrm>
              <a:off x="3702169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79" name="Полілінія: фігура 678">
              <a:extLst>
                <a:ext uri="{FF2B5EF4-FFF2-40B4-BE49-F238E27FC236}">
                  <a16:creationId xmlns:a16="http://schemas.microsoft.com/office/drawing/2014/main" id="{F315F9E1-B734-41C4-CD64-58A4A4BC288F}"/>
                </a:ext>
              </a:extLst>
            </p:cNvPr>
            <p:cNvSpPr/>
            <p:nvPr/>
          </p:nvSpPr>
          <p:spPr>
            <a:xfrm>
              <a:off x="3831566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0" name="Полілінія: фігура 679">
              <a:extLst>
                <a:ext uri="{FF2B5EF4-FFF2-40B4-BE49-F238E27FC236}">
                  <a16:creationId xmlns:a16="http://schemas.microsoft.com/office/drawing/2014/main" id="{2D92B60D-9B97-8B8E-68AB-5DC8FC4B8B12}"/>
                </a:ext>
              </a:extLst>
            </p:cNvPr>
            <p:cNvSpPr/>
            <p:nvPr/>
          </p:nvSpPr>
          <p:spPr>
            <a:xfrm>
              <a:off x="3960962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1" name="Полілінія: фігура 680">
              <a:extLst>
                <a:ext uri="{FF2B5EF4-FFF2-40B4-BE49-F238E27FC236}">
                  <a16:creationId xmlns:a16="http://schemas.microsoft.com/office/drawing/2014/main" id="{0DD6F2A2-5093-C4B8-B36B-E9758A2D85B2}"/>
                </a:ext>
              </a:extLst>
            </p:cNvPr>
            <p:cNvSpPr/>
            <p:nvPr/>
          </p:nvSpPr>
          <p:spPr>
            <a:xfrm>
              <a:off x="4090358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2" name="Полілінія: фігура 681">
              <a:extLst>
                <a:ext uri="{FF2B5EF4-FFF2-40B4-BE49-F238E27FC236}">
                  <a16:creationId xmlns:a16="http://schemas.microsoft.com/office/drawing/2014/main" id="{32875305-385E-3C43-190A-1001E73313DD}"/>
                </a:ext>
              </a:extLst>
            </p:cNvPr>
            <p:cNvSpPr/>
            <p:nvPr/>
          </p:nvSpPr>
          <p:spPr>
            <a:xfrm>
              <a:off x="4219754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3" name="Полілінія: фігура 682">
              <a:extLst>
                <a:ext uri="{FF2B5EF4-FFF2-40B4-BE49-F238E27FC236}">
                  <a16:creationId xmlns:a16="http://schemas.microsoft.com/office/drawing/2014/main" id="{E0751F87-6C33-B37E-C73A-3FC54F6BB93C}"/>
                </a:ext>
              </a:extLst>
            </p:cNvPr>
            <p:cNvSpPr/>
            <p:nvPr/>
          </p:nvSpPr>
          <p:spPr>
            <a:xfrm>
              <a:off x="4866735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4" name="Полілінія: фігура 683">
              <a:extLst>
                <a:ext uri="{FF2B5EF4-FFF2-40B4-BE49-F238E27FC236}">
                  <a16:creationId xmlns:a16="http://schemas.microsoft.com/office/drawing/2014/main" id="{EA3E98C2-CBF4-1342-A3F4-2E9321AB791E}"/>
                </a:ext>
              </a:extLst>
            </p:cNvPr>
            <p:cNvSpPr/>
            <p:nvPr/>
          </p:nvSpPr>
          <p:spPr>
            <a:xfrm>
              <a:off x="4996132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5" name="Полілінія: фігура 684">
              <a:extLst>
                <a:ext uri="{FF2B5EF4-FFF2-40B4-BE49-F238E27FC236}">
                  <a16:creationId xmlns:a16="http://schemas.microsoft.com/office/drawing/2014/main" id="{3A7B96BD-DA5E-1D39-33EA-DE89CED7ABC1}"/>
                </a:ext>
              </a:extLst>
            </p:cNvPr>
            <p:cNvSpPr/>
            <p:nvPr/>
          </p:nvSpPr>
          <p:spPr>
            <a:xfrm>
              <a:off x="5125528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6" name="Полілінія: фігура 685">
              <a:extLst>
                <a:ext uri="{FF2B5EF4-FFF2-40B4-BE49-F238E27FC236}">
                  <a16:creationId xmlns:a16="http://schemas.microsoft.com/office/drawing/2014/main" id="{0918EE06-5EA5-8958-06E1-2C5A744DC0CC}"/>
                </a:ext>
              </a:extLst>
            </p:cNvPr>
            <p:cNvSpPr/>
            <p:nvPr/>
          </p:nvSpPr>
          <p:spPr>
            <a:xfrm>
              <a:off x="5254924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7" name="Полілінія: фігура 686">
              <a:extLst>
                <a:ext uri="{FF2B5EF4-FFF2-40B4-BE49-F238E27FC236}">
                  <a16:creationId xmlns:a16="http://schemas.microsoft.com/office/drawing/2014/main" id="{3FC24A23-E73A-A5FA-0E88-FE27CC8F8B69}"/>
                </a:ext>
              </a:extLst>
            </p:cNvPr>
            <p:cNvSpPr/>
            <p:nvPr/>
          </p:nvSpPr>
          <p:spPr>
            <a:xfrm>
              <a:off x="5384320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8" name="Полілінія: фігура 687">
              <a:extLst>
                <a:ext uri="{FF2B5EF4-FFF2-40B4-BE49-F238E27FC236}">
                  <a16:creationId xmlns:a16="http://schemas.microsoft.com/office/drawing/2014/main" id="{7ECEDF26-60CF-24CC-F449-775384B9647A}"/>
                </a:ext>
              </a:extLst>
            </p:cNvPr>
            <p:cNvSpPr/>
            <p:nvPr/>
          </p:nvSpPr>
          <p:spPr>
            <a:xfrm>
              <a:off x="5513716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89" name="Полілінія: фігура 688">
              <a:extLst>
                <a:ext uri="{FF2B5EF4-FFF2-40B4-BE49-F238E27FC236}">
                  <a16:creationId xmlns:a16="http://schemas.microsoft.com/office/drawing/2014/main" id="{CE046393-7BD6-75D2-7663-07650C061666}"/>
                </a:ext>
              </a:extLst>
            </p:cNvPr>
            <p:cNvSpPr/>
            <p:nvPr/>
          </p:nvSpPr>
          <p:spPr>
            <a:xfrm>
              <a:off x="5643113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0" name="Полілінія: фігура 689">
              <a:extLst>
                <a:ext uri="{FF2B5EF4-FFF2-40B4-BE49-F238E27FC236}">
                  <a16:creationId xmlns:a16="http://schemas.microsoft.com/office/drawing/2014/main" id="{79D7B088-37A7-5D97-0690-C89C40B80D43}"/>
                </a:ext>
              </a:extLst>
            </p:cNvPr>
            <p:cNvSpPr/>
            <p:nvPr/>
          </p:nvSpPr>
          <p:spPr>
            <a:xfrm>
              <a:off x="5772509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1" name="Полілінія: фігура 690">
              <a:extLst>
                <a:ext uri="{FF2B5EF4-FFF2-40B4-BE49-F238E27FC236}">
                  <a16:creationId xmlns:a16="http://schemas.microsoft.com/office/drawing/2014/main" id="{A860EB0B-A0F6-446F-E46B-C7FAB608B5E6}"/>
                </a:ext>
              </a:extLst>
            </p:cNvPr>
            <p:cNvSpPr/>
            <p:nvPr/>
          </p:nvSpPr>
          <p:spPr>
            <a:xfrm>
              <a:off x="5901905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2" name="Полілінія: фігура 691">
              <a:extLst>
                <a:ext uri="{FF2B5EF4-FFF2-40B4-BE49-F238E27FC236}">
                  <a16:creationId xmlns:a16="http://schemas.microsoft.com/office/drawing/2014/main" id="{29134BFC-6A9A-AF23-5EAF-0806F5D6F6A8}"/>
                </a:ext>
              </a:extLst>
            </p:cNvPr>
            <p:cNvSpPr/>
            <p:nvPr/>
          </p:nvSpPr>
          <p:spPr>
            <a:xfrm>
              <a:off x="6031301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3" name="Полілінія: фігура 692">
              <a:extLst>
                <a:ext uri="{FF2B5EF4-FFF2-40B4-BE49-F238E27FC236}">
                  <a16:creationId xmlns:a16="http://schemas.microsoft.com/office/drawing/2014/main" id="{4A7541F8-4B19-8E44-97DD-C1DBE5F5FF23}"/>
                </a:ext>
              </a:extLst>
            </p:cNvPr>
            <p:cNvSpPr/>
            <p:nvPr/>
          </p:nvSpPr>
          <p:spPr>
            <a:xfrm>
              <a:off x="6160698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4" name="Полілінія: фігура 693">
              <a:extLst>
                <a:ext uri="{FF2B5EF4-FFF2-40B4-BE49-F238E27FC236}">
                  <a16:creationId xmlns:a16="http://schemas.microsoft.com/office/drawing/2014/main" id="{D07950BA-09AF-E94E-DD85-77E0CF5542BF}"/>
                </a:ext>
              </a:extLst>
            </p:cNvPr>
            <p:cNvSpPr/>
            <p:nvPr/>
          </p:nvSpPr>
          <p:spPr>
            <a:xfrm>
              <a:off x="6290094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5" name="Полілінія: фігура 694">
              <a:extLst>
                <a:ext uri="{FF2B5EF4-FFF2-40B4-BE49-F238E27FC236}">
                  <a16:creationId xmlns:a16="http://schemas.microsoft.com/office/drawing/2014/main" id="{5F7691D1-BA52-7A32-338A-CF13FB603C83}"/>
                </a:ext>
              </a:extLst>
            </p:cNvPr>
            <p:cNvSpPr/>
            <p:nvPr/>
          </p:nvSpPr>
          <p:spPr>
            <a:xfrm>
              <a:off x="6419490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6" name="Полілінія: фігура 695">
              <a:extLst>
                <a:ext uri="{FF2B5EF4-FFF2-40B4-BE49-F238E27FC236}">
                  <a16:creationId xmlns:a16="http://schemas.microsoft.com/office/drawing/2014/main" id="{F58E48E5-A021-10B5-D800-4C0DD48FC4D3}"/>
                </a:ext>
              </a:extLst>
            </p:cNvPr>
            <p:cNvSpPr/>
            <p:nvPr/>
          </p:nvSpPr>
          <p:spPr>
            <a:xfrm>
              <a:off x="6807679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7" name="Полілінія: фігура 696">
              <a:extLst>
                <a:ext uri="{FF2B5EF4-FFF2-40B4-BE49-F238E27FC236}">
                  <a16:creationId xmlns:a16="http://schemas.microsoft.com/office/drawing/2014/main" id="{309F0FB7-A960-D59B-40B2-9FE85F5DDAE5}"/>
                </a:ext>
              </a:extLst>
            </p:cNvPr>
            <p:cNvSpPr/>
            <p:nvPr/>
          </p:nvSpPr>
          <p:spPr>
            <a:xfrm>
              <a:off x="7195867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8" name="Полілінія: фігура 697">
              <a:extLst>
                <a:ext uri="{FF2B5EF4-FFF2-40B4-BE49-F238E27FC236}">
                  <a16:creationId xmlns:a16="http://schemas.microsoft.com/office/drawing/2014/main" id="{C5049F9A-8648-5FC8-87E9-03F1D8A9A626}"/>
                </a:ext>
              </a:extLst>
            </p:cNvPr>
            <p:cNvSpPr/>
            <p:nvPr/>
          </p:nvSpPr>
          <p:spPr>
            <a:xfrm>
              <a:off x="7325264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699" name="Полілінія: фігура 698">
              <a:extLst>
                <a:ext uri="{FF2B5EF4-FFF2-40B4-BE49-F238E27FC236}">
                  <a16:creationId xmlns:a16="http://schemas.microsoft.com/office/drawing/2014/main" id="{EE6EC77C-C7C3-BE80-035B-55BCA72C0401}"/>
                </a:ext>
              </a:extLst>
            </p:cNvPr>
            <p:cNvSpPr/>
            <p:nvPr/>
          </p:nvSpPr>
          <p:spPr>
            <a:xfrm>
              <a:off x="7584056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0" name="Полілінія: фігура 699">
              <a:extLst>
                <a:ext uri="{FF2B5EF4-FFF2-40B4-BE49-F238E27FC236}">
                  <a16:creationId xmlns:a16="http://schemas.microsoft.com/office/drawing/2014/main" id="{549E4EA5-7EDE-E71B-9B0C-2EAC4A4BC874}"/>
                </a:ext>
              </a:extLst>
            </p:cNvPr>
            <p:cNvSpPr/>
            <p:nvPr/>
          </p:nvSpPr>
          <p:spPr>
            <a:xfrm>
              <a:off x="7713452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1" name="Полілінія: фігура 700">
              <a:extLst>
                <a:ext uri="{FF2B5EF4-FFF2-40B4-BE49-F238E27FC236}">
                  <a16:creationId xmlns:a16="http://schemas.microsoft.com/office/drawing/2014/main" id="{DDB2707D-E9B1-7804-4B41-2456923C9B20}"/>
                </a:ext>
              </a:extLst>
            </p:cNvPr>
            <p:cNvSpPr/>
            <p:nvPr/>
          </p:nvSpPr>
          <p:spPr>
            <a:xfrm>
              <a:off x="7842849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2" name="Полілінія: фігура 701">
              <a:extLst>
                <a:ext uri="{FF2B5EF4-FFF2-40B4-BE49-F238E27FC236}">
                  <a16:creationId xmlns:a16="http://schemas.microsoft.com/office/drawing/2014/main" id="{F7AE63FA-C404-3373-C08B-381D9FDA49E9}"/>
                </a:ext>
              </a:extLst>
            </p:cNvPr>
            <p:cNvSpPr/>
            <p:nvPr/>
          </p:nvSpPr>
          <p:spPr>
            <a:xfrm>
              <a:off x="7972245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3" name="Полілінія: фігура 702">
              <a:extLst>
                <a:ext uri="{FF2B5EF4-FFF2-40B4-BE49-F238E27FC236}">
                  <a16:creationId xmlns:a16="http://schemas.microsoft.com/office/drawing/2014/main" id="{D9CB93C2-B6F0-C356-79CF-7424B009618C}"/>
                </a:ext>
              </a:extLst>
            </p:cNvPr>
            <p:cNvSpPr/>
            <p:nvPr/>
          </p:nvSpPr>
          <p:spPr>
            <a:xfrm>
              <a:off x="8101641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4" name="Полілінія: фігура 703">
              <a:extLst>
                <a:ext uri="{FF2B5EF4-FFF2-40B4-BE49-F238E27FC236}">
                  <a16:creationId xmlns:a16="http://schemas.microsoft.com/office/drawing/2014/main" id="{50B56E83-5805-5B72-64CA-491BD2E79963}"/>
                </a:ext>
              </a:extLst>
            </p:cNvPr>
            <p:cNvSpPr/>
            <p:nvPr/>
          </p:nvSpPr>
          <p:spPr>
            <a:xfrm>
              <a:off x="8231037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5" name="Полілінія: фігура 704">
              <a:extLst>
                <a:ext uri="{FF2B5EF4-FFF2-40B4-BE49-F238E27FC236}">
                  <a16:creationId xmlns:a16="http://schemas.microsoft.com/office/drawing/2014/main" id="{C1707BC8-2063-C75D-49FE-F77542007E58}"/>
                </a:ext>
              </a:extLst>
            </p:cNvPr>
            <p:cNvSpPr/>
            <p:nvPr/>
          </p:nvSpPr>
          <p:spPr>
            <a:xfrm>
              <a:off x="8360433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6" name="Полілінія: фігура 705">
              <a:extLst>
                <a:ext uri="{FF2B5EF4-FFF2-40B4-BE49-F238E27FC236}">
                  <a16:creationId xmlns:a16="http://schemas.microsoft.com/office/drawing/2014/main" id="{0B7FA3AA-71C6-BB38-7E6E-CECCDDB11608}"/>
                </a:ext>
              </a:extLst>
            </p:cNvPr>
            <p:cNvSpPr/>
            <p:nvPr/>
          </p:nvSpPr>
          <p:spPr>
            <a:xfrm>
              <a:off x="8489830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7" name="Полілінія: фігура 706">
              <a:extLst>
                <a:ext uri="{FF2B5EF4-FFF2-40B4-BE49-F238E27FC236}">
                  <a16:creationId xmlns:a16="http://schemas.microsoft.com/office/drawing/2014/main" id="{44B13813-93F0-70FE-21FF-844D4580BA17}"/>
                </a:ext>
              </a:extLst>
            </p:cNvPr>
            <p:cNvSpPr/>
            <p:nvPr/>
          </p:nvSpPr>
          <p:spPr>
            <a:xfrm>
              <a:off x="8619226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8" name="Полілінія: фігура 707">
              <a:extLst>
                <a:ext uri="{FF2B5EF4-FFF2-40B4-BE49-F238E27FC236}">
                  <a16:creationId xmlns:a16="http://schemas.microsoft.com/office/drawing/2014/main" id="{14216F2D-2818-83E3-4B2F-C21D0BD031C2}"/>
                </a:ext>
              </a:extLst>
            </p:cNvPr>
            <p:cNvSpPr/>
            <p:nvPr/>
          </p:nvSpPr>
          <p:spPr>
            <a:xfrm>
              <a:off x="8748622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09" name="Полілінія: фігура 708">
              <a:extLst>
                <a:ext uri="{FF2B5EF4-FFF2-40B4-BE49-F238E27FC236}">
                  <a16:creationId xmlns:a16="http://schemas.microsoft.com/office/drawing/2014/main" id="{3F476A37-8CA5-11E2-3228-7732E461536C}"/>
                </a:ext>
              </a:extLst>
            </p:cNvPr>
            <p:cNvSpPr/>
            <p:nvPr/>
          </p:nvSpPr>
          <p:spPr>
            <a:xfrm>
              <a:off x="9007415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0" name="Полілінія: фігура 709">
              <a:extLst>
                <a:ext uri="{FF2B5EF4-FFF2-40B4-BE49-F238E27FC236}">
                  <a16:creationId xmlns:a16="http://schemas.microsoft.com/office/drawing/2014/main" id="{9C2AC97A-DA82-3001-B516-967F42DD43C1}"/>
                </a:ext>
              </a:extLst>
            </p:cNvPr>
            <p:cNvSpPr/>
            <p:nvPr/>
          </p:nvSpPr>
          <p:spPr>
            <a:xfrm>
              <a:off x="9136811" y="362309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1" name="Полілінія: фігура 710">
              <a:extLst>
                <a:ext uri="{FF2B5EF4-FFF2-40B4-BE49-F238E27FC236}">
                  <a16:creationId xmlns:a16="http://schemas.microsoft.com/office/drawing/2014/main" id="{85EA63D0-6AFB-86C7-CCC1-CAE47FDBF25B}"/>
                </a:ext>
              </a:extLst>
            </p:cNvPr>
            <p:cNvSpPr/>
            <p:nvPr/>
          </p:nvSpPr>
          <p:spPr>
            <a:xfrm>
              <a:off x="3313981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2" name="Полілінія: фігура 711">
              <a:extLst>
                <a:ext uri="{FF2B5EF4-FFF2-40B4-BE49-F238E27FC236}">
                  <a16:creationId xmlns:a16="http://schemas.microsoft.com/office/drawing/2014/main" id="{4A7919D2-4242-D0AB-F7D0-28E3EDCC3DE7}"/>
                </a:ext>
              </a:extLst>
            </p:cNvPr>
            <p:cNvSpPr/>
            <p:nvPr/>
          </p:nvSpPr>
          <p:spPr>
            <a:xfrm>
              <a:off x="3443377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3" name="Полілінія: фігура 712">
              <a:extLst>
                <a:ext uri="{FF2B5EF4-FFF2-40B4-BE49-F238E27FC236}">
                  <a16:creationId xmlns:a16="http://schemas.microsoft.com/office/drawing/2014/main" id="{0E283EC3-B5EB-94DB-762C-EF2DE2130754}"/>
                </a:ext>
              </a:extLst>
            </p:cNvPr>
            <p:cNvSpPr/>
            <p:nvPr/>
          </p:nvSpPr>
          <p:spPr>
            <a:xfrm>
              <a:off x="3572773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4" name="Полілінія: фігура 713">
              <a:extLst>
                <a:ext uri="{FF2B5EF4-FFF2-40B4-BE49-F238E27FC236}">
                  <a16:creationId xmlns:a16="http://schemas.microsoft.com/office/drawing/2014/main" id="{A505BC02-8DD9-1B87-D9A3-A787E7283DCB}"/>
                </a:ext>
              </a:extLst>
            </p:cNvPr>
            <p:cNvSpPr/>
            <p:nvPr/>
          </p:nvSpPr>
          <p:spPr>
            <a:xfrm>
              <a:off x="3831566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5" name="Полілінія: фігура 714">
              <a:extLst>
                <a:ext uri="{FF2B5EF4-FFF2-40B4-BE49-F238E27FC236}">
                  <a16:creationId xmlns:a16="http://schemas.microsoft.com/office/drawing/2014/main" id="{73834B56-91F5-0EF6-D384-0DEA94CE1674}"/>
                </a:ext>
              </a:extLst>
            </p:cNvPr>
            <p:cNvSpPr/>
            <p:nvPr/>
          </p:nvSpPr>
          <p:spPr>
            <a:xfrm>
              <a:off x="3960962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6" name="Полілінія: фігура 715">
              <a:extLst>
                <a:ext uri="{FF2B5EF4-FFF2-40B4-BE49-F238E27FC236}">
                  <a16:creationId xmlns:a16="http://schemas.microsoft.com/office/drawing/2014/main" id="{9C62D495-A774-74AA-E61B-B0A852DBAEBB}"/>
                </a:ext>
              </a:extLst>
            </p:cNvPr>
            <p:cNvSpPr/>
            <p:nvPr/>
          </p:nvSpPr>
          <p:spPr>
            <a:xfrm>
              <a:off x="4219754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7" name="Полілінія: фігура 716">
              <a:extLst>
                <a:ext uri="{FF2B5EF4-FFF2-40B4-BE49-F238E27FC236}">
                  <a16:creationId xmlns:a16="http://schemas.microsoft.com/office/drawing/2014/main" id="{A3D8A4E0-9220-15AB-FAB4-4454CD804D72}"/>
                </a:ext>
              </a:extLst>
            </p:cNvPr>
            <p:cNvSpPr/>
            <p:nvPr/>
          </p:nvSpPr>
          <p:spPr>
            <a:xfrm>
              <a:off x="4607943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8" name="Полілінія: фігура 717">
              <a:extLst>
                <a:ext uri="{FF2B5EF4-FFF2-40B4-BE49-F238E27FC236}">
                  <a16:creationId xmlns:a16="http://schemas.microsoft.com/office/drawing/2014/main" id="{9E1CBC8B-5FD2-832C-6183-E7B031558654}"/>
                </a:ext>
              </a:extLst>
            </p:cNvPr>
            <p:cNvSpPr/>
            <p:nvPr/>
          </p:nvSpPr>
          <p:spPr>
            <a:xfrm>
              <a:off x="4996132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19" name="Полілінія: фігура 718">
              <a:extLst>
                <a:ext uri="{FF2B5EF4-FFF2-40B4-BE49-F238E27FC236}">
                  <a16:creationId xmlns:a16="http://schemas.microsoft.com/office/drawing/2014/main" id="{9A343B2C-05C7-F762-3E2E-CC38507CEB6F}"/>
                </a:ext>
              </a:extLst>
            </p:cNvPr>
            <p:cNvSpPr/>
            <p:nvPr/>
          </p:nvSpPr>
          <p:spPr>
            <a:xfrm>
              <a:off x="5125528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0" name="Полілінія: фігура 719">
              <a:extLst>
                <a:ext uri="{FF2B5EF4-FFF2-40B4-BE49-F238E27FC236}">
                  <a16:creationId xmlns:a16="http://schemas.microsoft.com/office/drawing/2014/main" id="{6CE7C828-509B-B5EF-F2A1-62E64B7373F0}"/>
                </a:ext>
              </a:extLst>
            </p:cNvPr>
            <p:cNvSpPr/>
            <p:nvPr/>
          </p:nvSpPr>
          <p:spPr>
            <a:xfrm>
              <a:off x="5643113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1" name="Полілінія: фігура 720">
              <a:extLst>
                <a:ext uri="{FF2B5EF4-FFF2-40B4-BE49-F238E27FC236}">
                  <a16:creationId xmlns:a16="http://schemas.microsoft.com/office/drawing/2014/main" id="{FECDC59E-53C8-79F7-4DFD-92C49EF14A73}"/>
                </a:ext>
              </a:extLst>
            </p:cNvPr>
            <p:cNvSpPr/>
            <p:nvPr/>
          </p:nvSpPr>
          <p:spPr>
            <a:xfrm>
              <a:off x="6160698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2" name="Полілінія: фігура 721">
              <a:extLst>
                <a:ext uri="{FF2B5EF4-FFF2-40B4-BE49-F238E27FC236}">
                  <a16:creationId xmlns:a16="http://schemas.microsoft.com/office/drawing/2014/main" id="{66E9955C-B052-E37B-693E-F364A06207EE}"/>
                </a:ext>
              </a:extLst>
            </p:cNvPr>
            <p:cNvSpPr/>
            <p:nvPr/>
          </p:nvSpPr>
          <p:spPr>
            <a:xfrm>
              <a:off x="6548886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3" name="Полілінія: фігура 722">
              <a:extLst>
                <a:ext uri="{FF2B5EF4-FFF2-40B4-BE49-F238E27FC236}">
                  <a16:creationId xmlns:a16="http://schemas.microsoft.com/office/drawing/2014/main" id="{51B130C3-AE8C-5FBC-E6A4-8760DF51B552}"/>
                </a:ext>
              </a:extLst>
            </p:cNvPr>
            <p:cNvSpPr/>
            <p:nvPr/>
          </p:nvSpPr>
          <p:spPr>
            <a:xfrm>
              <a:off x="6678283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4" name="Полілінія: фігура 723">
              <a:extLst>
                <a:ext uri="{FF2B5EF4-FFF2-40B4-BE49-F238E27FC236}">
                  <a16:creationId xmlns:a16="http://schemas.microsoft.com/office/drawing/2014/main" id="{60169090-4FEB-DAFF-6E7A-9DE65D0E8655}"/>
                </a:ext>
              </a:extLst>
            </p:cNvPr>
            <p:cNvSpPr/>
            <p:nvPr/>
          </p:nvSpPr>
          <p:spPr>
            <a:xfrm>
              <a:off x="7066471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5" name="Полілінія: фігура 724">
              <a:extLst>
                <a:ext uri="{FF2B5EF4-FFF2-40B4-BE49-F238E27FC236}">
                  <a16:creationId xmlns:a16="http://schemas.microsoft.com/office/drawing/2014/main" id="{74B44C1A-0ED8-F92B-EED0-550F46EC586F}"/>
                </a:ext>
              </a:extLst>
            </p:cNvPr>
            <p:cNvSpPr/>
            <p:nvPr/>
          </p:nvSpPr>
          <p:spPr>
            <a:xfrm>
              <a:off x="7195867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6" name="Полілінія: фігура 725">
              <a:extLst>
                <a:ext uri="{FF2B5EF4-FFF2-40B4-BE49-F238E27FC236}">
                  <a16:creationId xmlns:a16="http://schemas.microsoft.com/office/drawing/2014/main" id="{332443D8-CBF1-47A2-1440-4BB4697D23F6}"/>
                </a:ext>
              </a:extLst>
            </p:cNvPr>
            <p:cNvSpPr/>
            <p:nvPr/>
          </p:nvSpPr>
          <p:spPr>
            <a:xfrm>
              <a:off x="7584056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7" name="Полілінія: фігура 726">
              <a:extLst>
                <a:ext uri="{FF2B5EF4-FFF2-40B4-BE49-F238E27FC236}">
                  <a16:creationId xmlns:a16="http://schemas.microsoft.com/office/drawing/2014/main" id="{51EB2D9A-3D56-BBF4-BC90-AD359E0B332C}"/>
                </a:ext>
              </a:extLst>
            </p:cNvPr>
            <p:cNvSpPr/>
            <p:nvPr/>
          </p:nvSpPr>
          <p:spPr>
            <a:xfrm>
              <a:off x="8231037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8" name="Полілінія: фігура 727">
              <a:extLst>
                <a:ext uri="{FF2B5EF4-FFF2-40B4-BE49-F238E27FC236}">
                  <a16:creationId xmlns:a16="http://schemas.microsoft.com/office/drawing/2014/main" id="{564C3C59-7CE1-14BD-D9C7-88891E525D4D}"/>
                </a:ext>
              </a:extLst>
            </p:cNvPr>
            <p:cNvSpPr/>
            <p:nvPr/>
          </p:nvSpPr>
          <p:spPr>
            <a:xfrm>
              <a:off x="8748622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29" name="Полілінія: фігура 728">
              <a:extLst>
                <a:ext uri="{FF2B5EF4-FFF2-40B4-BE49-F238E27FC236}">
                  <a16:creationId xmlns:a16="http://schemas.microsoft.com/office/drawing/2014/main" id="{18F5FD3C-A14B-600E-EEAB-F66E031B61CC}"/>
                </a:ext>
              </a:extLst>
            </p:cNvPr>
            <p:cNvSpPr/>
            <p:nvPr/>
          </p:nvSpPr>
          <p:spPr>
            <a:xfrm>
              <a:off x="8878018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0" name="Полілінія: фігура 729">
              <a:extLst>
                <a:ext uri="{FF2B5EF4-FFF2-40B4-BE49-F238E27FC236}">
                  <a16:creationId xmlns:a16="http://schemas.microsoft.com/office/drawing/2014/main" id="{6FA59449-74C7-11A0-BD71-18EE0B5DAA37}"/>
                </a:ext>
              </a:extLst>
            </p:cNvPr>
            <p:cNvSpPr/>
            <p:nvPr/>
          </p:nvSpPr>
          <p:spPr>
            <a:xfrm>
              <a:off x="9136811" y="375249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1" name="Полілінія: фігура 730">
              <a:extLst>
                <a:ext uri="{FF2B5EF4-FFF2-40B4-BE49-F238E27FC236}">
                  <a16:creationId xmlns:a16="http://schemas.microsoft.com/office/drawing/2014/main" id="{8F4150E5-29E5-30A5-EC55-32DED2F0F216}"/>
                </a:ext>
              </a:extLst>
            </p:cNvPr>
            <p:cNvSpPr/>
            <p:nvPr/>
          </p:nvSpPr>
          <p:spPr>
            <a:xfrm>
              <a:off x="3055188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2" name="Полілінія: фігура 731">
              <a:extLst>
                <a:ext uri="{FF2B5EF4-FFF2-40B4-BE49-F238E27FC236}">
                  <a16:creationId xmlns:a16="http://schemas.microsoft.com/office/drawing/2014/main" id="{542F5FC5-98FB-8F16-157B-F571899994F7}"/>
                </a:ext>
              </a:extLst>
            </p:cNvPr>
            <p:cNvSpPr/>
            <p:nvPr/>
          </p:nvSpPr>
          <p:spPr>
            <a:xfrm>
              <a:off x="3184584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3" name="Полілінія: фігура 732">
              <a:extLst>
                <a:ext uri="{FF2B5EF4-FFF2-40B4-BE49-F238E27FC236}">
                  <a16:creationId xmlns:a16="http://schemas.microsoft.com/office/drawing/2014/main" id="{37CFDB15-98AB-E419-2ECB-E0BF9A0FE6BC}"/>
                </a:ext>
              </a:extLst>
            </p:cNvPr>
            <p:cNvSpPr/>
            <p:nvPr/>
          </p:nvSpPr>
          <p:spPr>
            <a:xfrm>
              <a:off x="3313981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4" name="Полілінія: фігура 733">
              <a:extLst>
                <a:ext uri="{FF2B5EF4-FFF2-40B4-BE49-F238E27FC236}">
                  <a16:creationId xmlns:a16="http://schemas.microsoft.com/office/drawing/2014/main" id="{E4AC311A-265C-7ECA-50A3-603591A1806F}"/>
                </a:ext>
              </a:extLst>
            </p:cNvPr>
            <p:cNvSpPr/>
            <p:nvPr/>
          </p:nvSpPr>
          <p:spPr>
            <a:xfrm>
              <a:off x="3443377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5" name="Полілінія: фігура 734">
              <a:extLst>
                <a:ext uri="{FF2B5EF4-FFF2-40B4-BE49-F238E27FC236}">
                  <a16:creationId xmlns:a16="http://schemas.microsoft.com/office/drawing/2014/main" id="{1B199C04-1918-72AE-5EDF-468EAB72C8EB}"/>
                </a:ext>
              </a:extLst>
            </p:cNvPr>
            <p:cNvSpPr/>
            <p:nvPr/>
          </p:nvSpPr>
          <p:spPr>
            <a:xfrm>
              <a:off x="3702169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6" name="Полілінія: фігура 735">
              <a:extLst>
                <a:ext uri="{FF2B5EF4-FFF2-40B4-BE49-F238E27FC236}">
                  <a16:creationId xmlns:a16="http://schemas.microsoft.com/office/drawing/2014/main" id="{1FFC083B-2423-B805-D183-2408A39504B7}"/>
                </a:ext>
              </a:extLst>
            </p:cNvPr>
            <p:cNvSpPr/>
            <p:nvPr/>
          </p:nvSpPr>
          <p:spPr>
            <a:xfrm>
              <a:off x="3831566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7" name="Полілінія: фігура 736">
              <a:extLst>
                <a:ext uri="{FF2B5EF4-FFF2-40B4-BE49-F238E27FC236}">
                  <a16:creationId xmlns:a16="http://schemas.microsoft.com/office/drawing/2014/main" id="{2170A074-C422-F77C-3103-39FBED12F31D}"/>
                </a:ext>
              </a:extLst>
            </p:cNvPr>
            <p:cNvSpPr/>
            <p:nvPr/>
          </p:nvSpPr>
          <p:spPr>
            <a:xfrm>
              <a:off x="3960962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8" name="Полілінія: фігура 737">
              <a:extLst>
                <a:ext uri="{FF2B5EF4-FFF2-40B4-BE49-F238E27FC236}">
                  <a16:creationId xmlns:a16="http://schemas.microsoft.com/office/drawing/2014/main" id="{24A4BF21-E4C7-2E4B-343C-CAC43A04E3EA}"/>
                </a:ext>
              </a:extLst>
            </p:cNvPr>
            <p:cNvSpPr/>
            <p:nvPr/>
          </p:nvSpPr>
          <p:spPr>
            <a:xfrm>
              <a:off x="4090358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39" name="Полілінія: фігура 738">
              <a:extLst>
                <a:ext uri="{FF2B5EF4-FFF2-40B4-BE49-F238E27FC236}">
                  <a16:creationId xmlns:a16="http://schemas.microsoft.com/office/drawing/2014/main" id="{1662AB63-53C8-B7E2-2FC0-9901D6491E22}"/>
                </a:ext>
              </a:extLst>
            </p:cNvPr>
            <p:cNvSpPr/>
            <p:nvPr/>
          </p:nvSpPr>
          <p:spPr>
            <a:xfrm>
              <a:off x="4349150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0" name="Полілінія: фігура 739">
              <a:extLst>
                <a:ext uri="{FF2B5EF4-FFF2-40B4-BE49-F238E27FC236}">
                  <a16:creationId xmlns:a16="http://schemas.microsoft.com/office/drawing/2014/main" id="{FCB1C1CE-878F-D1B6-B96C-2B128F25EC75}"/>
                </a:ext>
              </a:extLst>
            </p:cNvPr>
            <p:cNvSpPr/>
            <p:nvPr/>
          </p:nvSpPr>
          <p:spPr>
            <a:xfrm>
              <a:off x="4478547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1" name="Полілінія: фігура 740">
              <a:extLst>
                <a:ext uri="{FF2B5EF4-FFF2-40B4-BE49-F238E27FC236}">
                  <a16:creationId xmlns:a16="http://schemas.microsoft.com/office/drawing/2014/main" id="{AC58E29D-CEBA-2FD6-D07C-D185ECD85544}"/>
                </a:ext>
              </a:extLst>
            </p:cNvPr>
            <p:cNvSpPr/>
            <p:nvPr/>
          </p:nvSpPr>
          <p:spPr>
            <a:xfrm>
              <a:off x="4607943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2" name="Полілінія: фігура 741">
              <a:extLst>
                <a:ext uri="{FF2B5EF4-FFF2-40B4-BE49-F238E27FC236}">
                  <a16:creationId xmlns:a16="http://schemas.microsoft.com/office/drawing/2014/main" id="{4E782106-4E1E-75F7-32F0-EACE3C54541B}"/>
                </a:ext>
              </a:extLst>
            </p:cNvPr>
            <p:cNvSpPr/>
            <p:nvPr/>
          </p:nvSpPr>
          <p:spPr>
            <a:xfrm>
              <a:off x="4866735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3" name="Полілінія: фігура 742">
              <a:extLst>
                <a:ext uri="{FF2B5EF4-FFF2-40B4-BE49-F238E27FC236}">
                  <a16:creationId xmlns:a16="http://schemas.microsoft.com/office/drawing/2014/main" id="{6B82ECF0-514C-7FE3-4F3A-FFC2AA313FAE}"/>
                </a:ext>
              </a:extLst>
            </p:cNvPr>
            <p:cNvSpPr/>
            <p:nvPr/>
          </p:nvSpPr>
          <p:spPr>
            <a:xfrm>
              <a:off x="5125528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4" name="Полілінія: фігура 743">
              <a:extLst>
                <a:ext uri="{FF2B5EF4-FFF2-40B4-BE49-F238E27FC236}">
                  <a16:creationId xmlns:a16="http://schemas.microsoft.com/office/drawing/2014/main" id="{E9753200-A191-18E7-2EC6-A1A352013118}"/>
                </a:ext>
              </a:extLst>
            </p:cNvPr>
            <p:cNvSpPr/>
            <p:nvPr/>
          </p:nvSpPr>
          <p:spPr>
            <a:xfrm>
              <a:off x="5254924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5" name="Полілінія: фігура 744">
              <a:extLst>
                <a:ext uri="{FF2B5EF4-FFF2-40B4-BE49-F238E27FC236}">
                  <a16:creationId xmlns:a16="http://schemas.microsoft.com/office/drawing/2014/main" id="{DDA62417-F396-2777-EC21-36ED247F6319}"/>
                </a:ext>
              </a:extLst>
            </p:cNvPr>
            <p:cNvSpPr/>
            <p:nvPr/>
          </p:nvSpPr>
          <p:spPr>
            <a:xfrm>
              <a:off x="5384320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6" name="Полілінія: фігура 745">
              <a:extLst>
                <a:ext uri="{FF2B5EF4-FFF2-40B4-BE49-F238E27FC236}">
                  <a16:creationId xmlns:a16="http://schemas.microsoft.com/office/drawing/2014/main" id="{9B39F273-561D-B820-CF96-A72462C4735E}"/>
                </a:ext>
              </a:extLst>
            </p:cNvPr>
            <p:cNvSpPr/>
            <p:nvPr/>
          </p:nvSpPr>
          <p:spPr>
            <a:xfrm>
              <a:off x="5643113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7" name="Полілінія: фігура 746">
              <a:extLst>
                <a:ext uri="{FF2B5EF4-FFF2-40B4-BE49-F238E27FC236}">
                  <a16:creationId xmlns:a16="http://schemas.microsoft.com/office/drawing/2014/main" id="{99D7864D-35D5-5461-BDF2-1634752ED5E4}"/>
                </a:ext>
              </a:extLst>
            </p:cNvPr>
            <p:cNvSpPr/>
            <p:nvPr/>
          </p:nvSpPr>
          <p:spPr>
            <a:xfrm>
              <a:off x="5901905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8" name="Полілінія: фігура 747">
              <a:extLst>
                <a:ext uri="{FF2B5EF4-FFF2-40B4-BE49-F238E27FC236}">
                  <a16:creationId xmlns:a16="http://schemas.microsoft.com/office/drawing/2014/main" id="{26067ACE-C190-75DC-FBD5-92FE8F363D63}"/>
                </a:ext>
              </a:extLst>
            </p:cNvPr>
            <p:cNvSpPr/>
            <p:nvPr/>
          </p:nvSpPr>
          <p:spPr>
            <a:xfrm>
              <a:off x="6031301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49" name="Полілінія: фігура 748">
              <a:extLst>
                <a:ext uri="{FF2B5EF4-FFF2-40B4-BE49-F238E27FC236}">
                  <a16:creationId xmlns:a16="http://schemas.microsoft.com/office/drawing/2014/main" id="{A91D567A-4012-404C-6888-1BD5507D14E0}"/>
                </a:ext>
              </a:extLst>
            </p:cNvPr>
            <p:cNvSpPr/>
            <p:nvPr/>
          </p:nvSpPr>
          <p:spPr>
            <a:xfrm>
              <a:off x="6419490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0" name="Полілінія: фігура 749">
              <a:extLst>
                <a:ext uri="{FF2B5EF4-FFF2-40B4-BE49-F238E27FC236}">
                  <a16:creationId xmlns:a16="http://schemas.microsoft.com/office/drawing/2014/main" id="{DE933385-9BEB-478D-64BB-D66FCA7B0145}"/>
                </a:ext>
              </a:extLst>
            </p:cNvPr>
            <p:cNvSpPr/>
            <p:nvPr/>
          </p:nvSpPr>
          <p:spPr>
            <a:xfrm>
              <a:off x="6807679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1" name="Полілінія: фігура 750">
              <a:extLst>
                <a:ext uri="{FF2B5EF4-FFF2-40B4-BE49-F238E27FC236}">
                  <a16:creationId xmlns:a16="http://schemas.microsoft.com/office/drawing/2014/main" id="{509C1380-D490-4050-2282-7D8EF091DA9C}"/>
                </a:ext>
              </a:extLst>
            </p:cNvPr>
            <p:cNvSpPr/>
            <p:nvPr/>
          </p:nvSpPr>
          <p:spPr>
            <a:xfrm>
              <a:off x="7325264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2" name="Полілінія: фігура 751">
              <a:extLst>
                <a:ext uri="{FF2B5EF4-FFF2-40B4-BE49-F238E27FC236}">
                  <a16:creationId xmlns:a16="http://schemas.microsoft.com/office/drawing/2014/main" id="{13FBFC55-B706-9292-19D8-1B42B28BA70E}"/>
                </a:ext>
              </a:extLst>
            </p:cNvPr>
            <p:cNvSpPr/>
            <p:nvPr/>
          </p:nvSpPr>
          <p:spPr>
            <a:xfrm>
              <a:off x="7454660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3" name="Полілінія: фігура 752">
              <a:extLst>
                <a:ext uri="{FF2B5EF4-FFF2-40B4-BE49-F238E27FC236}">
                  <a16:creationId xmlns:a16="http://schemas.microsoft.com/office/drawing/2014/main" id="{F06C66BC-2FDA-4006-0AB0-A6F747AB1901}"/>
                </a:ext>
              </a:extLst>
            </p:cNvPr>
            <p:cNvSpPr/>
            <p:nvPr/>
          </p:nvSpPr>
          <p:spPr>
            <a:xfrm>
              <a:off x="7713452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4" name="Полілінія: фігура 753">
              <a:extLst>
                <a:ext uri="{FF2B5EF4-FFF2-40B4-BE49-F238E27FC236}">
                  <a16:creationId xmlns:a16="http://schemas.microsoft.com/office/drawing/2014/main" id="{222B7602-B78D-E245-3695-530E74CA19A0}"/>
                </a:ext>
              </a:extLst>
            </p:cNvPr>
            <p:cNvSpPr/>
            <p:nvPr/>
          </p:nvSpPr>
          <p:spPr>
            <a:xfrm>
              <a:off x="8231037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5" name="Полілінія: фігура 754">
              <a:extLst>
                <a:ext uri="{FF2B5EF4-FFF2-40B4-BE49-F238E27FC236}">
                  <a16:creationId xmlns:a16="http://schemas.microsoft.com/office/drawing/2014/main" id="{555D3996-7B00-E57F-55A8-A370D8A0E0CE}"/>
                </a:ext>
              </a:extLst>
            </p:cNvPr>
            <p:cNvSpPr/>
            <p:nvPr/>
          </p:nvSpPr>
          <p:spPr>
            <a:xfrm>
              <a:off x="8360433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6" name="Полілінія: фігура 755">
              <a:extLst>
                <a:ext uri="{FF2B5EF4-FFF2-40B4-BE49-F238E27FC236}">
                  <a16:creationId xmlns:a16="http://schemas.microsoft.com/office/drawing/2014/main" id="{23933C64-3724-F489-3EBC-84559B07D828}"/>
                </a:ext>
              </a:extLst>
            </p:cNvPr>
            <p:cNvSpPr/>
            <p:nvPr/>
          </p:nvSpPr>
          <p:spPr>
            <a:xfrm>
              <a:off x="8489830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7" name="Полілінія: фігура 756">
              <a:extLst>
                <a:ext uri="{FF2B5EF4-FFF2-40B4-BE49-F238E27FC236}">
                  <a16:creationId xmlns:a16="http://schemas.microsoft.com/office/drawing/2014/main" id="{B0D36115-F4E4-5053-FF8F-44CC153C674D}"/>
                </a:ext>
              </a:extLst>
            </p:cNvPr>
            <p:cNvSpPr/>
            <p:nvPr/>
          </p:nvSpPr>
          <p:spPr>
            <a:xfrm>
              <a:off x="8748622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8" name="Полілінія: фігура 757">
              <a:extLst>
                <a:ext uri="{FF2B5EF4-FFF2-40B4-BE49-F238E27FC236}">
                  <a16:creationId xmlns:a16="http://schemas.microsoft.com/office/drawing/2014/main" id="{818CCD57-9DF9-AC0B-E186-774623738454}"/>
                </a:ext>
              </a:extLst>
            </p:cNvPr>
            <p:cNvSpPr/>
            <p:nvPr/>
          </p:nvSpPr>
          <p:spPr>
            <a:xfrm>
              <a:off x="9136811" y="388188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59" name="Полілінія: фігура 758">
              <a:extLst>
                <a:ext uri="{FF2B5EF4-FFF2-40B4-BE49-F238E27FC236}">
                  <a16:creationId xmlns:a16="http://schemas.microsoft.com/office/drawing/2014/main" id="{B1B158D8-79A3-EC74-7342-538EAD579ACC}"/>
                </a:ext>
              </a:extLst>
            </p:cNvPr>
            <p:cNvSpPr/>
            <p:nvPr/>
          </p:nvSpPr>
          <p:spPr>
            <a:xfrm>
              <a:off x="2925792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0" name="Полілінія: фігура 759">
              <a:extLst>
                <a:ext uri="{FF2B5EF4-FFF2-40B4-BE49-F238E27FC236}">
                  <a16:creationId xmlns:a16="http://schemas.microsoft.com/office/drawing/2014/main" id="{F320ED6D-2D29-D528-6717-EA7B8F33839B}"/>
                </a:ext>
              </a:extLst>
            </p:cNvPr>
            <p:cNvSpPr/>
            <p:nvPr/>
          </p:nvSpPr>
          <p:spPr>
            <a:xfrm>
              <a:off x="3184584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1" name="Полілінія: фігура 760">
              <a:extLst>
                <a:ext uri="{FF2B5EF4-FFF2-40B4-BE49-F238E27FC236}">
                  <a16:creationId xmlns:a16="http://schemas.microsoft.com/office/drawing/2014/main" id="{5CF76341-A4C2-DF76-6DA4-66813BD09C15}"/>
                </a:ext>
              </a:extLst>
            </p:cNvPr>
            <p:cNvSpPr/>
            <p:nvPr/>
          </p:nvSpPr>
          <p:spPr>
            <a:xfrm>
              <a:off x="3313981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2" name="Полілінія: фігура 761">
              <a:extLst>
                <a:ext uri="{FF2B5EF4-FFF2-40B4-BE49-F238E27FC236}">
                  <a16:creationId xmlns:a16="http://schemas.microsoft.com/office/drawing/2014/main" id="{92219900-ACFE-AD01-44E9-D2072C3F7E3C}"/>
                </a:ext>
              </a:extLst>
            </p:cNvPr>
            <p:cNvSpPr/>
            <p:nvPr/>
          </p:nvSpPr>
          <p:spPr>
            <a:xfrm>
              <a:off x="3443377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3" name="Полілінія: фігура 762">
              <a:extLst>
                <a:ext uri="{FF2B5EF4-FFF2-40B4-BE49-F238E27FC236}">
                  <a16:creationId xmlns:a16="http://schemas.microsoft.com/office/drawing/2014/main" id="{5AE43E1A-2F2C-AC98-DB6E-FE6328A42917}"/>
                </a:ext>
              </a:extLst>
            </p:cNvPr>
            <p:cNvSpPr/>
            <p:nvPr/>
          </p:nvSpPr>
          <p:spPr>
            <a:xfrm>
              <a:off x="3831566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4" name="Полілінія: фігура 763">
              <a:extLst>
                <a:ext uri="{FF2B5EF4-FFF2-40B4-BE49-F238E27FC236}">
                  <a16:creationId xmlns:a16="http://schemas.microsoft.com/office/drawing/2014/main" id="{62269470-C455-682D-74DC-C8DF2D8BC36D}"/>
                </a:ext>
              </a:extLst>
            </p:cNvPr>
            <p:cNvSpPr/>
            <p:nvPr/>
          </p:nvSpPr>
          <p:spPr>
            <a:xfrm>
              <a:off x="3960962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5" name="Полілінія: фігура 764">
              <a:extLst>
                <a:ext uri="{FF2B5EF4-FFF2-40B4-BE49-F238E27FC236}">
                  <a16:creationId xmlns:a16="http://schemas.microsoft.com/office/drawing/2014/main" id="{0F1637D3-2C71-95D1-250C-18C564D7C12A}"/>
                </a:ext>
              </a:extLst>
            </p:cNvPr>
            <p:cNvSpPr/>
            <p:nvPr/>
          </p:nvSpPr>
          <p:spPr>
            <a:xfrm>
              <a:off x="4090358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6" name="Полілінія: фігура 765">
              <a:extLst>
                <a:ext uri="{FF2B5EF4-FFF2-40B4-BE49-F238E27FC236}">
                  <a16:creationId xmlns:a16="http://schemas.microsoft.com/office/drawing/2014/main" id="{6AF185A7-2019-0B95-E2A4-4C2DEE5E0DC7}"/>
                </a:ext>
              </a:extLst>
            </p:cNvPr>
            <p:cNvSpPr/>
            <p:nvPr/>
          </p:nvSpPr>
          <p:spPr>
            <a:xfrm>
              <a:off x="4349150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7" name="Полілінія: фігура 766">
              <a:extLst>
                <a:ext uri="{FF2B5EF4-FFF2-40B4-BE49-F238E27FC236}">
                  <a16:creationId xmlns:a16="http://schemas.microsoft.com/office/drawing/2014/main" id="{024D1897-91A5-56FD-1264-0265EEE9AAAB}"/>
                </a:ext>
              </a:extLst>
            </p:cNvPr>
            <p:cNvSpPr/>
            <p:nvPr/>
          </p:nvSpPr>
          <p:spPr>
            <a:xfrm>
              <a:off x="4478547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8" name="Полілінія: фігура 767">
              <a:extLst>
                <a:ext uri="{FF2B5EF4-FFF2-40B4-BE49-F238E27FC236}">
                  <a16:creationId xmlns:a16="http://schemas.microsoft.com/office/drawing/2014/main" id="{867524A1-53F4-0A6C-B7EC-1B0AC7371833}"/>
                </a:ext>
              </a:extLst>
            </p:cNvPr>
            <p:cNvSpPr/>
            <p:nvPr/>
          </p:nvSpPr>
          <p:spPr>
            <a:xfrm>
              <a:off x="5384320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69" name="Полілінія: фігура 768">
              <a:extLst>
                <a:ext uri="{FF2B5EF4-FFF2-40B4-BE49-F238E27FC236}">
                  <a16:creationId xmlns:a16="http://schemas.microsoft.com/office/drawing/2014/main" id="{D2E058D0-7133-5F31-9849-82A8D4160FE0}"/>
                </a:ext>
              </a:extLst>
            </p:cNvPr>
            <p:cNvSpPr/>
            <p:nvPr/>
          </p:nvSpPr>
          <p:spPr>
            <a:xfrm>
              <a:off x="5772509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0" name="Полілінія: фігура 769">
              <a:extLst>
                <a:ext uri="{FF2B5EF4-FFF2-40B4-BE49-F238E27FC236}">
                  <a16:creationId xmlns:a16="http://schemas.microsoft.com/office/drawing/2014/main" id="{7D9EA335-0A94-774B-D220-316A310286AA}"/>
                </a:ext>
              </a:extLst>
            </p:cNvPr>
            <p:cNvSpPr/>
            <p:nvPr/>
          </p:nvSpPr>
          <p:spPr>
            <a:xfrm>
              <a:off x="6160698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1" name="Полілінія: фігура 770">
              <a:extLst>
                <a:ext uri="{FF2B5EF4-FFF2-40B4-BE49-F238E27FC236}">
                  <a16:creationId xmlns:a16="http://schemas.microsoft.com/office/drawing/2014/main" id="{9FCBA44A-90CC-CFDE-0A1D-B61FE3DDB096}"/>
                </a:ext>
              </a:extLst>
            </p:cNvPr>
            <p:cNvSpPr/>
            <p:nvPr/>
          </p:nvSpPr>
          <p:spPr>
            <a:xfrm>
              <a:off x="6419490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2" name="Полілінія: фігура 771">
              <a:extLst>
                <a:ext uri="{FF2B5EF4-FFF2-40B4-BE49-F238E27FC236}">
                  <a16:creationId xmlns:a16="http://schemas.microsoft.com/office/drawing/2014/main" id="{D3E3EBBA-2E27-AC48-D693-E03E2741A8D8}"/>
                </a:ext>
              </a:extLst>
            </p:cNvPr>
            <p:cNvSpPr/>
            <p:nvPr/>
          </p:nvSpPr>
          <p:spPr>
            <a:xfrm>
              <a:off x="6807679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3" name="Полілінія: фігура 772">
              <a:extLst>
                <a:ext uri="{FF2B5EF4-FFF2-40B4-BE49-F238E27FC236}">
                  <a16:creationId xmlns:a16="http://schemas.microsoft.com/office/drawing/2014/main" id="{E62F5196-B33D-D8C7-6757-720151D6D6DA}"/>
                </a:ext>
              </a:extLst>
            </p:cNvPr>
            <p:cNvSpPr/>
            <p:nvPr/>
          </p:nvSpPr>
          <p:spPr>
            <a:xfrm>
              <a:off x="6937075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4" name="Полілінія: фігура 773">
              <a:extLst>
                <a:ext uri="{FF2B5EF4-FFF2-40B4-BE49-F238E27FC236}">
                  <a16:creationId xmlns:a16="http://schemas.microsoft.com/office/drawing/2014/main" id="{C20A7266-77AE-6E54-5F91-0CEB6D70861B}"/>
                </a:ext>
              </a:extLst>
            </p:cNvPr>
            <p:cNvSpPr/>
            <p:nvPr/>
          </p:nvSpPr>
          <p:spPr>
            <a:xfrm>
              <a:off x="7325264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5" name="Полілінія: фігура 774">
              <a:extLst>
                <a:ext uri="{FF2B5EF4-FFF2-40B4-BE49-F238E27FC236}">
                  <a16:creationId xmlns:a16="http://schemas.microsoft.com/office/drawing/2014/main" id="{669C1EEB-E2D5-C8F9-161B-D21456670358}"/>
                </a:ext>
              </a:extLst>
            </p:cNvPr>
            <p:cNvSpPr/>
            <p:nvPr/>
          </p:nvSpPr>
          <p:spPr>
            <a:xfrm>
              <a:off x="7584056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6" name="Полілінія: фігура 775">
              <a:extLst>
                <a:ext uri="{FF2B5EF4-FFF2-40B4-BE49-F238E27FC236}">
                  <a16:creationId xmlns:a16="http://schemas.microsoft.com/office/drawing/2014/main" id="{D5B72D2C-2EAB-FC1E-0777-199BB57E042E}"/>
                </a:ext>
              </a:extLst>
            </p:cNvPr>
            <p:cNvSpPr/>
            <p:nvPr/>
          </p:nvSpPr>
          <p:spPr>
            <a:xfrm>
              <a:off x="7972245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7" name="Полілінія: фігура 776">
              <a:extLst>
                <a:ext uri="{FF2B5EF4-FFF2-40B4-BE49-F238E27FC236}">
                  <a16:creationId xmlns:a16="http://schemas.microsoft.com/office/drawing/2014/main" id="{F9C620B6-B0A3-70B2-212E-7B056103BEFE}"/>
                </a:ext>
              </a:extLst>
            </p:cNvPr>
            <p:cNvSpPr/>
            <p:nvPr/>
          </p:nvSpPr>
          <p:spPr>
            <a:xfrm>
              <a:off x="8101641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8" name="Полілінія: фігура 777">
              <a:extLst>
                <a:ext uri="{FF2B5EF4-FFF2-40B4-BE49-F238E27FC236}">
                  <a16:creationId xmlns:a16="http://schemas.microsoft.com/office/drawing/2014/main" id="{0BD2ECFC-386B-B604-62C2-C22818E7186A}"/>
                </a:ext>
              </a:extLst>
            </p:cNvPr>
            <p:cNvSpPr/>
            <p:nvPr/>
          </p:nvSpPr>
          <p:spPr>
            <a:xfrm>
              <a:off x="8360433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79" name="Полілінія: фігура 778">
              <a:extLst>
                <a:ext uri="{FF2B5EF4-FFF2-40B4-BE49-F238E27FC236}">
                  <a16:creationId xmlns:a16="http://schemas.microsoft.com/office/drawing/2014/main" id="{BB5E7462-4FCD-56AF-1166-E710919D5C4C}"/>
                </a:ext>
              </a:extLst>
            </p:cNvPr>
            <p:cNvSpPr/>
            <p:nvPr/>
          </p:nvSpPr>
          <p:spPr>
            <a:xfrm>
              <a:off x="9007415" y="401128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0" name="Полілінія: фігура 779">
              <a:extLst>
                <a:ext uri="{FF2B5EF4-FFF2-40B4-BE49-F238E27FC236}">
                  <a16:creationId xmlns:a16="http://schemas.microsoft.com/office/drawing/2014/main" id="{55FC3786-A581-B7AD-3AA9-4770AE808B62}"/>
                </a:ext>
              </a:extLst>
            </p:cNvPr>
            <p:cNvSpPr/>
            <p:nvPr/>
          </p:nvSpPr>
          <p:spPr>
            <a:xfrm>
              <a:off x="2925792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1" name="Полілінія: фігура 780">
              <a:extLst>
                <a:ext uri="{FF2B5EF4-FFF2-40B4-BE49-F238E27FC236}">
                  <a16:creationId xmlns:a16="http://schemas.microsoft.com/office/drawing/2014/main" id="{A3296676-9467-2671-ECCE-765715D06F16}"/>
                </a:ext>
              </a:extLst>
            </p:cNvPr>
            <p:cNvSpPr/>
            <p:nvPr/>
          </p:nvSpPr>
          <p:spPr>
            <a:xfrm>
              <a:off x="3184584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2" name="Полілінія: фігура 781">
              <a:extLst>
                <a:ext uri="{FF2B5EF4-FFF2-40B4-BE49-F238E27FC236}">
                  <a16:creationId xmlns:a16="http://schemas.microsoft.com/office/drawing/2014/main" id="{4847C759-B1D8-8C86-E4DD-65BF420A34D0}"/>
                </a:ext>
              </a:extLst>
            </p:cNvPr>
            <p:cNvSpPr/>
            <p:nvPr/>
          </p:nvSpPr>
          <p:spPr>
            <a:xfrm>
              <a:off x="3443377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3" name="Полілінія: фігура 782">
              <a:extLst>
                <a:ext uri="{FF2B5EF4-FFF2-40B4-BE49-F238E27FC236}">
                  <a16:creationId xmlns:a16="http://schemas.microsoft.com/office/drawing/2014/main" id="{65713FA3-AAA8-277B-C9AB-F443347E886F}"/>
                </a:ext>
              </a:extLst>
            </p:cNvPr>
            <p:cNvSpPr/>
            <p:nvPr/>
          </p:nvSpPr>
          <p:spPr>
            <a:xfrm>
              <a:off x="3572773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4" name="Полілінія: фігура 783">
              <a:extLst>
                <a:ext uri="{FF2B5EF4-FFF2-40B4-BE49-F238E27FC236}">
                  <a16:creationId xmlns:a16="http://schemas.microsoft.com/office/drawing/2014/main" id="{840F31C9-FA71-2CE3-9288-7E277BFBDE0D}"/>
                </a:ext>
              </a:extLst>
            </p:cNvPr>
            <p:cNvSpPr/>
            <p:nvPr/>
          </p:nvSpPr>
          <p:spPr>
            <a:xfrm>
              <a:off x="3702169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5" name="Полілінія: фігура 784">
              <a:extLst>
                <a:ext uri="{FF2B5EF4-FFF2-40B4-BE49-F238E27FC236}">
                  <a16:creationId xmlns:a16="http://schemas.microsoft.com/office/drawing/2014/main" id="{4D8CBD5B-757B-FE30-CEBB-B020843BE902}"/>
                </a:ext>
              </a:extLst>
            </p:cNvPr>
            <p:cNvSpPr/>
            <p:nvPr/>
          </p:nvSpPr>
          <p:spPr>
            <a:xfrm>
              <a:off x="4090358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6" name="Полілінія: фігура 785">
              <a:extLst>
                <a:ext uri="{FF2B5EF4-FFF2-40B4-BE49-F238E27FC236}">
                  <a16:creationId xmlns:a16="http://schemas.microsoft.com/office/drawing/2014/main" id="{4D97BFD0-4912-2673-E694-5D58A33BA442}"/>
                </a:ext>
              </a:extLst>
            </p:cNvPr>
            <p:cNvSpPr/>
            <p:nvPr/>
          </p:nvSpPr>
          <p:spPr>
            <a:xfrm>
              <a:off x="4219754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7" name="Полілінія: фігура 786">
              <a:extLst>
                <a:ext uri="{FF2B5EF4-FFF2-40B4-BE49-F238E27FC236}">
                  <a16:creationId xmlns:a16="http://schemas.microsoft.com/office/drawing/2014/main" id="{1BDB9AB9-8981-79D6-FF25-568D5E5016A6}"/>
                </a:ext>
              </a:extLst>
            </p:cNvPr>
            <p:cNvSpPr/>
            <p:nvPr/>
          </p:nvSpPr>
          <p:spPr>
            <a:xfrm>
              <a:off x="4737339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8" name="Полілінія: фігура 787">
              <a:extLst>
                <a:ext uri="{FF2B5EF4-FFF2-40B4-BE49-F238E27FC236}">
                  <a16:creationId xmlns:a16="http://schemas.microsoft.com/office/drawing/2014/main" id="{F64C967B-7190-EA0C-CFF4-0C61C84A5072}"/>
                </a:ext>
              </a:extLst>
            </p:cNvPr>
            <p:cNvSpPr/>
            <p:nvPr/>
          </p:nvSpPr>
          <p:spPr>
            <a:xfrm>
              <a:off x="4866735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89" name="Полілінія: фігура 788">
              <a:extLst>
                <a:ext uri="{FF2B5EF4-FFF2-40B4-BE49-F238E27FC236}">
                  <a16:creationId xmlns:a16="http://schemas.microsoft.com/office/drawing/2014/main" id="{7F07152E-CA35-0DAE-7673-3122E2D78AF0}"/>
                </a:ext>
              </a:extLst>
            </p:cNvPr>
            <p:cNvSpPr/>
            <p:nvPr/>
          </p:nvSpPr>
          <p:spPr>
            <a:xfrm>
              <a:off x="5125528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0" name="Полілінія: фігура 789">
              <a:extLst>
                <a:ext uri="{FF2B5EF4-FFF2-40B4-BE49-F238E27FC236}">
                  <a16:creationId xmlns:a16="http://schemas.microsoft.com/office/drawing/2014/main" id="{201FCAAD-DD28-F078-D37E-72E167826DC9}"/>
                </a:ext>
              </a:extLst>
            </p:cNvPr>
            <p:cNvSpPr/>
            <p:nvPr/>
          </p:nvSpPr>
          <p:spPr>
            <a:xfrm>
              <a:off x="5384320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1" name="Полілінія: фігура 790">
              <a:extLst>
                <a:ext uri="{FF2B5EF4-FFF2-40B4-BE49-F238E27FC236}">
                  <a16:creationId xmlns:a16="http://schemas.microsoft.com/office/drawing/2014/main" id="{63D99597-DC08-25DD-1667-CFA5E6FFB61D}"/>
                </a:ext>
              </a:extLst>
            </p:cNvPr>
            <p:cNvSpPr/>
            <p:nvPr/>
          </p:nvSpPr>
          <p:spPr>
            <a:xfrm>
              <a:off x="5772509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2" name="Полілінія: фігура 791">
              <a:extLst>
                <a:ext uri="{FF2B5EF4-FFF2-40B4-BE49-F238E27FC236}">
                  <a16:creationId xmlns:a16="http://schemas.microsoft.com/office/drawing/2014/main" id="{B95DDE65-5A75-EA66-4393-10DD1D0C3D45}"/>
                </a:ext>
              </a:extLst>
            </p:cNvPr>
            <p:cNvSpPr/>
            <p:nvPr/>
          </p:nvSpPr>
          <p:spPr>
            <a:xfrm>
              <a:off x="5901905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3" name="Полілінія: фігура 792">
              <a:extLst>
                <a:ext uri="{FF2B5EF4-FFF2-40B4-BE49-F238E27FC236}">
                  <a16:creationId xmlns:a16="http://schemas.microsoft.com/office/drawing/2014/main" id="{52C3EE49-DD37-D044-E290-75B51716BAA6}"/>
                </a:ext>
              </a:extLst>
            </p:cNvPr>
            <p:cNvSpPr/>
            <p:nvPr/>
          </p:nvSpPr>
          <p:spPr>
            <a:xfrm>
              <a:off x="6031301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4" name="Полілінія: фігура 793">
              <a:extLst>
                <a:ext uri="{FF2B5EF4-FFF2-40B4-BE49-F238E27FC236}">
                  <a16:creationId xmlns:a16="http://schemas.microsoft.com/office/drawing/2014/main" id="{7E22AF60-63B6-3713-4F62-A2DAA3F042F0}"/>
                </a:ext>
              </a:extLst>
            </p:cNvPr>
            <p:cNvSpPr/>
            <p:nvPr/>
          </p:nvSpPr>
          <p:spPr>
            <a:xfrm>
              <a:off x="6419490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5" name="Полілінія: фігура 794">
              <a:extLst>
                <a:ext uri="{FF2B5EF4-FFF2-40B4-BE49-F238E27FC236}">
                  <a16:creationId xmlns:a16="http://schemas.microsoft.com/office/drawing/2014/main" id="{FE4E9663-300B-1528-6634-431498774773}"/>
                </a:ext>
              </a:extLst>
            </p:cNvPr>
            <p:cNvSpPr/>
            <p:nvPr/>
          </p:nvSpPr>
          <p:spPr>
            <a:xfrm>
              <a:off x="6548886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6" name="Полілінія: фігура 795">
              <a:extLst>
                <a:ext uri="{FF2B5EF4-FFF2-40B4-BE49-F238E27FC236}">
                  <a16:creationId xmlns:a16="http://schemas.microsoft.com/office/drawing/2014/main" id="{FE4AA16E-1E09-C94C-46D9-EBC95127FA10}"/>
                </a:ext>
              </a:extLst>
            </p:cNvPr>
            <p:cNvSpPr/>
            <p:nvPr/>
          </p:nvSpPr>
          <p:spPr>
            <a:xfrm>
              <a:off x="6807679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7" name="Полілінія: фігура 796">
              <a:extLst>
                <a:ext uri="{FF2B5EF4-FFF2-40B4-BE49-F238E27FC236}">
                  <a16:creationId xmlns:a16="http://schemas.microsoft.com/office/drawing/2014/main" id="{B15161DB-148D-FCBE-3D11-9741F3B16525}"/>
                </a:ext>
              </a:extLst>
            </p:cNvPr>
            <p:cNvSpPr/>
            <p:nvPr/>
          </p:nvSpPr>
          <p:spPr>
            <a:xfrm>
              <a:off x="7066471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8" name="Полілінія: фігура 797">
              <a:extLst>
                <a:ext uri="{FF2B5EF4-FFF2-40B4-BE49-F238E27FC236}">
                  <a16:creationId xmlns:a16="http://schemas.microsoft.com/office/drawing/2014/main" id="{A8BE79EF-3640-0C7E-FF4A-9657E558AB10}"/>
                </a:ext>
              </a:extLst>
            </p:cNvPr>
            <p:cNvSpPr/>
            <p:nvPr/>
          </p:nvSpPr>
          <p:spPr>
            <a:xfrm>
              <a:off x="7195867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799" name="Полілінія: фігура 798">
              <a:extLst>
                <a:ext uri="{FF2B5EF4-FFF2-40B4-BE49-F238E27FC236}">
                  <a16:creationId xmlns:a16="http://schemas.microsoft.com/office/drawing/2014/main" id="{83D307A8-DB21-4B7E-393F-E1D8E3158682}"/>
                </a:ext>
              </a:extLst>
            </p:cNvPr>
            <p:cNvSpPr/>
            <p:nvPr/>
          </p:nvSpPr>
          <p:spPr>
            <a:xfrm>
              <a:off x="7584056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0" name="Полілінія: фігура 799">
              <a:extLst>
                <a:ext uri="{FF2B5EF4-FFF2-40B4-BE49-F238E27FC236}">
                  <a16:creationId xmlns:a16="http://schemas.microsoft.com/office/drawing/2014/main" id="{0D386253-E73C-9944-48B3-EFD6E090048F}"/>
                </a:ext>
              </a:extLst>
            </p:cNvPr>
            <p:cNvSpPr/>
            <p:nvPr/>
          </p:nvSpPr>
          <p:spPr>
            <a:xfrm>
              <a:off x="8231037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1" name="Полілінія: фігура 800">
              <a:extLst>
                <a:ext uri="{FF2B5EF4-FFF2-40B4-BE49-F238E27FC236}">
                  <a16:creationId xmlns:a16="http://schemas.microsoft.com/office/drawing/2014/main" id="{FF1E0E58-8802-6F2D-C03A-95D129463F50}"/>
                </a:ext>
              </a:extLst>
            </p:cNvPr>
            <p:cNvSpPr/>
            <p:nvPr/>
          </p:nvSpPr>
          <p:spPr>
            <a:xfrm>
              <a:off x="8360433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2" name="Полілінія: фігура 801">
              <a:extLst>
                <a:ext uri="{FF2B5EF4-FFF2-40B4-BE49-F238E27FC236}">
                  <a16:creationId xmlns:a16="http://schemas.microsoft.com/office/drawing/2014/main" id="{69F9F29D-1219-C586-7616-A1A262AD5DDB}"/>
                </a:ext>
              </a:extLst>
            </p:cNvPr>
            <p:cNvSpPr/>
            <p:nvPr/>
          </p:nvSpPr>
          <p:spPr>
            <a:xfrm>
              <a:off x="8748622" y="414067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3" name="Полілінія: фігура 802">
              <a:extLst>
                <a:ext uri="{FF2B5EF4-FFF2-40B4-BE49-F238E27FC236}">
                  <a16:creationId xmlns:a16="http://schemas.microsoft.com/office/drawing/2014/main" id="{4012B405-5C4D-E288-8303-812FAF212D66}"/>
                </a:ext>
              </a:extLst>
            </p:cNvPr>
            <p:cNvSpPr/>
            <p:nvPr/>
          </p:nvSpPr>
          <p:spPr>
            <a:xfrm>
              <a:off x="2925792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4" name="Полілінія: фігура 803">
              <a:extLst>
                <a:ext uri="{FF2B5EF4-FFF2-40B4-BE49-F238E27FC236}">
                  <a16:creationId xmlns:a16="http://schemas.microsoft.com/office/drawing/2014/main" id="{84363D0E-B380-1C91-062D-6208F6BA770F}"/>
                </a:ext>
              </a:extLst>
            </p:cNvPr>
            <p:cNvSpPr/>
            <p:nvPr/>
          </p:nvSpPr>
          <p:spPr>
            <a:xfrm>
              <a:off x="3572773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5" name="Полілінія: фігура 804">
              <a:extLst>
                <a:ext uri="{FF2B5EF4-FFF2-40B4-BE49-F238E27FC236}">
                  <a16:creationId xmlns:a16="http://schemas.microsoft.com/office/drawing/2014/main" id="{22ED5BCE-F4B1-E14C-F934-2F6AA05E3D53}"/>
                </a:ext>
              </a:extLst>
            </p:cNvPr>
            <p:cNvSpPr/>
            <p:nvPr/>
          </p:nvSpPr>
          <p:spPr>
            <a:xfrm>
              <a:off x="3831566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6" name="Полілінія: фігура 805">
              <a:extLst>
                <a:ext uri="{FF2B5EF4-FFF2-40B4-BE49-F238E27FC236}">
                  <a16:creationId xmlns:a16="http://schemas.microsoft.com/office/drawing/2014/main" id="{EADFD5C8-42A4-3C99-C787-61A7B0EE33B4}"/>
                </a:ext>
              </a:extLst>
            </p:cNvPr>
            <p:cNvSpPr/>
            <p:nvPr/>
          </p:nvSpPr>
          <p:spPr>
            <a:xfrm>
              <a:off x="4219754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7" name="Полілінія: фігура 806">
              <a:extLst>
                <a:ext uri="{FF2B5EF4-FFF2-40B4-BE49-F238E27FC236}">
                  <a16:creationId xmlns:a16="http://schemas.microsoft.com/office/drawing/2014/main" id="{FD55E3D7-8743-C503-B378-DD984CD112D1}"/>
                </a:ext>
              </a:extLst>
            </p:cNvPr>
            <p:cNvSpPr/>
            <p:nvPr/>
          </p:nvSpPr>
          <p:spPr>
            <a:xfrm>
              <a:off x="4349150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8" name="Полілінія: фігура 807">
              <a:extLst>
                <a:ext uri="{FF2B5EF4-FFF2-40B4-BE49-F238E27FC236}">
                  <a16:creationId xmlns:a16="http://schemas.microsoft.com/office/drawing/2014/main" id="{5143F960-1D25-63E0-ADE0-A74278E6EC08}"/>
                </a:ext>
              </a:extLst>
            </p:cNvPr>
            <p:cNvSpPr/>
            <p:nvPr/>
          </p:nvSpPr>
          <p:spPr>
            <a:xfrm>
              <a:off x="4478547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09" name="Полілінія: фігура 808">
              <a:extLst>
                <a:ext uri="{FF2B5EF4-FFF2-40B4-BE49-F238E27FC236}">
                  <a16:creationId xmlns:a16="http://schemas.microsoft.com/office/drawing/2014/main" id="{C6E69ED0-62B0-B72D-A188-A7242B03E3A4}"/>
                </a:ext>
              </a:extLst>
            </p:cNvPr>
            <p:cNvSpPr/>
            <p:nvPr/>
          </p:nvSpPr>
          <p:spPr>
            <a:xfrm>
              <a:off x="4607943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0" name="Полілінія: фігура 809">
              <a:extLst>
                <a:ext uri="{FF2B5EF4-FFF2-40B4-BE49-F238E27FC236}">
                  <a16:creationId xmlns:a16="http://schemas.microsoft.com/office/drawing/2014/main" id="{7C59D0A0-2670-C204-7A18-A0713CA11231}"/>
                </a:ext>
              </a:extLst>
            </p:cNvPr>
            <p:cNvSpPr/>
            <p:nvPr/>
          </p:nvSpPr>
          <p:spPr>
            <a:xfrm>
              <a:off x="4737339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1" name="Полілінія: фігура 810">
              <a:extLst>
                <a:ext uri="{FF2B5EF4-FFF2-40B4-BE49-F238E27FC236}">
                  <a16:creationId xmlns:a16="http://schemas.microsoft.com/office/drawing/2014/main" id="{1D47993D-5E28-57F7-78B2-69CB9386A8D0}"/>
                </a:ext>
              </a:extLst>
            </p:cNvPr>
            <p:cNvSpPr/>
            <p:nvPr/>
          </p:nvSpPr>
          <p:spPr>
            <a:xfrm>
              <a:off x="4866735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2" name="Полілінія: фігура 811">
              <a:extLst>
                <a:ext uri="{FF2B5EF4-FFF2-40B4-BE49-F238E27FC236}">
                  <a16:creationId xmlns:a16="http://schemas.microsoft.com/office/drawing/2014/main" id="{9CDEA4E8-8C4B-470E-0D40-862B87C8A226}"/>
                </a:ext>
              </a:extLst>
            </p:cNvPr>
            <p:cNvSpPr/>
            <p:nvPr/>
          </p:nvSpPr>
          <p:spPr>
            <a:xfrm>
              <a:off x="4996132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3" name="Полілінія: фігура 812">
              <a:extLst>
                <a:ext uri="{FF2B5EF4-FFF2-40B4-BE49-F238E27FC236}">
                  <a16:creationId xmlns:a16="http://schemas.microsoft.com/office/drawing/2014/main" id="{E66DF3C3-62FE-9DDA-043A-F218768687A6}"/>
                </a:ext>
              </a:extLst>
            </p:cNvPr>
            <p:cNvSpPr/>
            <p:nvPr/>
          </p:nvSpPr>
          <p:spPr>
            <a:xfrm>
              <a:off x="5125528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4" name="Полілінія: фігура 813">
              <a:extLst>
                <a:ext uri="{FF2B5EF4-FFF2-40B4-BE49-F238E27FC236}">
                  <a16:creationId xmlns:a16="http://schemas.microsoft.com/office/drawing/2014/main" id="{41CFB903-4CC9-62C5-DB27-CCB4CB6977F1}"/>
                </a:ext>
              </a:extLst>
            </p:cNvPr>
            <p:cNvSpPr/>
            <p:nvPr/>
          </p:nvSpPr>
          <p:spPr>
            <a:xfrm>
              <a:off x="5513716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5" name="Полілінія: фігура 814">
              <a:extLst>
                <a:ext uri="{FF2B5EF4-FFF2-40B4-BE49-F238E27FC236}">
                  <a16:creationId xmlns:a16="http://schemas.microsoft.com/office/drawing/2014/main" id="{FBA12A9B-C1AE-8184-2E8D-FB3CB43DD6DA}"/>
                </a:ext>
              </a:extLst>
            </p:cNvPr>
            <p:cNvSpPr/>
            <p:nvPr/>
          </p:nvSpPr>
          <p:spPr>
            <a:xfrm>
              <a:off x="5643113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6" name="Полілінія: фігура 815">
              <a:extLst>
                <a:ext uri="{FF2B5EF4-FFF2-40B4-BE49-F238E27FC236}">
                  <a16:creationId xmlns:a16="http://schemas.microsoft.com/office/drawing/2014/main" id="{F6C42347-3B74-F414-366F-9948EC3C0C58}"/>
                </a:ext>
              </a:extLst>
            </p:cNvPr>
            <p:cNvSpPr/>
            <p:nvPr/>
          </p:nvSpPr>
          <p:spPr>
            <a:xfrm>
              <a:off x="5901905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7" name="Полілінія: фігура 816">
              <a:extLst>
                <a:ext uri="{FF2B5EF4-FFF2-40B4-BE49-F238E27FC236}">
                  <a16:creationId xmlns:a16="http://schemas.microsoft.com/office/drawing/2014/main" id="{D840F106-711B-FA08-0C88-6FF7EE667E85}"/>
                </a:ext>
              </a:extLst>
            </p:cNvPr>
            <p:cNvSpPr/>
            <p:nvPr/>
          </p:nvSpPr>
          <p:spPr>
            <a:xfrm>
              <a:off x="6031301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8" name="Полілінія: фігура 817">
              <a:extLst>
                <a:ext uri="{FF2B5EF4-FFF2-40B4-BE49-F238E27FC236}">
                  <a16:creationId xmlns:a16="http://schemas.microsoft.com/office/drawing/2014/main" id="{E29D0AAD-0EF0-8626-0405-4FADB75AE69F}"/>
                </a:ext>
              </a:extLst>
            </p:cNvPr>
            <p:cNvSpPr/>
            <p:nvPr/>
          </p:nvSpPr>
          <p:spPr>
            <a:xfrm>
              <a:off x="6160698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19" name="Полілінія: фігура 818">
              <a:extLst>
                <a:ext uri="{FF2B5EF4-FFF2-40B4-BE49-F238E27FC236}">
                  <a16:creationId xmlns:a16="http://schemas.microsoft.com/office/drawing/2014/main" id="{0A2E9EAA-BBD7-1C42-C1D8-335A23011CDC}"/>
                </a:ext>
              </a:extLst>
            </p:cNvPr>
            <p:cNvSpPr/>
            <p:nvPr/>
          </p:nvSpPr>
          <p:spPr>
            <a:xfrm>
              <a:off x="6290094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0" name="Полілінія: фігура 819">
              <a:extLst>
                <a:ext uri="{FF2B5EF4-FFF2-40B4-BE49-F238E27FC236}">
                  <a16:creationId xmlns:a16="http://schemas.microsoft.com/office/drawing/2014/main" id="{5AB1450F-B831-DDF7-458E-4650F0A1D786}"/>
                </a:ext>
              </a:extLst>
            </p:cNvPr>
            <p:cNvSpPr/>
            <p:nvPr/>
          </p:nvSpPr>
          <p:spPr>
            <a:xfrm>
              <a:off x="6419490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1" name="Полілінія: фігура 820">
              <a:extLst>
                <a:ext uri="{FF2B5EF4-FFF2-40B4-BE49-F238E27FC236}">
                  <a16:creationId xmlns:a16="http://schemas.microsoft.com/office/drawing/2014/main" id="{1458F722-024D-0FE8-8B47-48FF34C217E4}"/>
                </a:ext>
              </a:extLst>
            </p:cNvPr>
            <p:cNvSpPr/>
            <p:nvPr/>
          </p:nvSpPr>
          <p:spPr>
            <a:xfrm>
              <a:off x="6548886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2" name="Полілінія: фігура 821">
              <a:extLst>
                <a:ext uri="{FF2B5EF4-FFF2-40B4-BE49-F238E27FC236}">
                  <a16:creationId xmlns:a16="http://schemas.microsoft.com/office/drawing/2014/main" id="{0284501F-AD55-1536-2D59-DDDD347D120D}"/>
                </a:ext>
              </a:extLst>
            </p:cNvPr>
            <p:cNvSpPr/>
            <p:nvPr/>
          </p:nvSpPr>
          <p:spPr>
            <a:xfrm>
              <a:off x="6678283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3" name="Полілінія: фігура 822">
              <a:extLst>
                <a:ext uri="{FF2B5EF4-FFF2-40B4-BE49-F238E27FC236}">
                  <a16:creationId xmlns:a16="http://schemas.microsoft.com/office/drawing/2014/main" id="{DE528F66-1304-9514-970A-40D5D41B7DB8}"/>
                </a:ext>
              </a:extLst>
            </p:cNvPr>
            <p:cNvSpPr/>
            <p:nvPr/>
          </p:nvSpPr>
          <p:spPr>
            <a:xfrm>
              <a:off x="6807679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4" name="Полілінія: фігура 823">
              <a:extLst>
                <a:ext uri="{FF2B5EF4-FFF2-40B4-BE49-F238E27FC236}">
                  <a16:creationId xmlns:a16="http://schemas.microsoft.com/office/drawing/2014/main" id="{6716EE34-0BF0-9A06-4DEA-87769D7DB8C3}"/>
                </a:ext>
              </a:extLst>
            </p:cNvPr>
            <p:cNvSpPr/>
            <p:nvPr/>
          </p:nvSpPr>
          <p:spPr>
            <a:xfrm>
              <a:off x="7325264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5" name="Полілінія: фігура 824">
              <a:extLst>
                <a:ext uri="{FF2B5EF4-FFF2-40B4-BE49-F238E27FC236}">
                  <a16:creationId xmlns:a16="http://schemas.microsoft.com/office/drawing/2014/main" id="{97DF9144-D081-9F14-12E2-CD5D016C84F2}"/>
                </a:ext>
              </a:extLst>
            </p:cNvPr>
            <p:cNvSpPr/>
            <p:nvPr/>
          </p:nvSpPr>
          <p:spPr>
            <a:xfrm>
              <a:off x="7454660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6" name="Полілінія: фігура 825">
              <a:extLst>
                <a:ext uri="{FF2B5EF4-FFF2-40B4-BE49-F238E27FC236}">
                  <a16:creationId xmlns:a16="http://schemas.microsoft.com/office/drawing/2014/main" id="{8D581DDD-9666-64D5-3C30-054B1BD383B6}"/>
                </a:ext>
              </a:extLst>
            </p:cNvPr>
            <p:cNvSpPr/>
            <p:nvPr/>
          </p:nvSpPr>
          <p:spPr>
            <a:xfrm>
              <a:off x="7713452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7" name="Полілінія: фігура 826">
              <a:extLst>
                <a:ext uri="{FF2B5EF4-FFF2-40B4-BE49-F238E27FC236}">
                  <a16:creationId xmlns:a16="http://schemas.microsoft.com/office/drawing/2014/main" id="{342325B5-35FF-22AF-5B50-0FA12043AEB8}"/>
                </a:ext>
              </a:extLst>
            </p:cNvPr>
            <p:cNvSpPr/>
            <p:nvPr/>
          </p:nvSpPr>
          <p:spPr>
            <a:xfrm>
              <a:off x="8360433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8" name="Полілінія: фігура 827">
              <a:extLst>
                <a:ext uri="{FF2B5EF4-FFF2-40B4-BE49-F238E27FC236}">
                  <a16:creationId xmlns:a16="http://schemas.microsoft.com/office/drawing/2014/main" id="{DCE1CAB2-AE2C-F8B5-D2D1-300A2021A167}"/>
                </a:ext>
              </a:extLst>
            </p:cNvPr>
            <p:cNvSpPr/>
            <p:nvPr/>
          </p:nvSpPr>
          <p:spPr>
            <a:xfrm>
              <a:off x="8748622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29" name="Полілінія: фігура 828">
              <a:extLst>
                <a:ext uri="{FF2B5EF4-FFF2-40B4-BE49-F238E27FC236}">
                  <a16:creationId xmlns:a16="http://schemas.microsoft.com/office/drawing/2014/main" id="{0C767E6C-A254-C194-5114-0A4863ACA0D5}"/>
                </a:ext>
              </a:extLst>
            </p:cNvPr>
            <p:cNvSpPr/>
            <p:nvPr/>
          </p:nvSpPr>
          <p:spPr>
            <a:xfrm>
              <a:off x="8878018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0" name="Полілінія: фігура 829">
              <a:extLst>
                <a:ext uri="{FF2B5EF4-FFF2-40B4-BE49-F238E27FC236}">
                  <a16:creationId xmlns:a16="http://schemas.microsoft.com/office/drawing/2014/main" id="{6F7021DC-AC0C-745D-AFD3-1FD835627995}"/>
                </a:ext>
              </a:extLst>
            </p:cNvPr>
            <p:cNvSpPr/>
            <p:nvPr/>
          </p:nvSpPr>
          <p:spPr>
            <a:xfrm>
              <a:off x="9136811" y="427007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1" name="Полілінія: фігура 830">
              <a:extLst>
                <a:ext uri="{FF2B5EF4-FFF2-40B4-BE49-F238E27FC236}">
                  <a16:creationId xmlns:a16="http://schemas.microsoft.com/office/drawing/2014/main" id="{1FF40DA3-25CB-3FC2-9534-B07E169C7CA4}"/>
                </a:ext>
              </a:extLst>
            </p:cNvPr>
            <p:cNvSpPr/>
            <p:nvPr/>
          </p:nvSpPr>
          <p:spPr>
            <a:xfrm>
              <a:off x="3055188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2" name="Полілінія: фігура 831">
              <a:extLst>
                <a:ext uri="{FF2B5EF4-FFF2-40B4-BE49-F238E27FC236}">
                  <a16:creationId xmlns:a16="http://schemas.microsoft.com/office/drawing/2014/main" id="{4EE4C54D-7383-AAC0-7E75-94DD99C01036}"/>
                </a:ext>
              </a:extLst>
            </p:cNvPr>
            <p:cNvSpPr/>
            <p:nvPr/>
          </p:nvSpPr>
          <p:spPr>
            <a:xfrm>
              <a:off x="3184584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3" name="Полілінія: фігура 832">
              <a:extLst>
                <a:ext uri="{FF2B5EF4-FFF2-40B4-BE49-F238E27FC236}">
                  <a16:creationId xmlns:a16="http://schemas.microsoft.com/office/drawing/2014/main" id="{862033E3-CF2C-483F-DC37-60D29AA91632}"/>
                </a:ext>
              </a:extLst>
            </p:cNvPr>
            <p:cNvSpPr/>
            <p:nvPr/>
          </p:nvSpPr>
          <p:spPr>
            <a:xfrm>
              <a:off x="3313981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4" name="Полілінія: фігура 833">
              <a:extLst>
                <a:ext uri="{FF2B5EF4-FFF2-40B4-BE49-F238E27FC236}">
                  <a16:creationId xmlns:a16="http://schemas.microsoft.com/office/drawing/2014/main" id="{D59507DB-BD24-C296-9409-17A68B381288}"/>
                </a:ext>
              </a:extLst>
            </p:cNvPr>
            <p:cNvSpPr/>
            <p:nvPr/>
          </p:nvSpPr>
          <p:spPr>
            <a:xfrm>
              <a:off x="3572773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5" name="Полілінія: фігура 834">
              <a:extLst>
                <a:ext uri="{FF2B5EF4-FFF2-40B4-BE49-F238E27FC236}">
                  <a16:creationId xmlns:a16="http://schemas.microsoft.com/office/drawing/2014/main" id="{B4ACA0B2-D7BD-6D2E-6720-6FEB754A1067}"/>
                </a:ext>
              </a:extLst>
            </p:cNvPr>
            <p:cNvSpPr/>
            <p:nvPr/>
          </p:nvSpPr>
          <p:spPr>
            <a:xfrm>
              <a:off x="3702169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6" name="Полілінія: фігура 835">
              <a:extLst>
                <a:ext uri="{FF2B5EF4-FFF2-40B4-BE49-F238E27FC236}">
                  <a16:creationId xmlns:a16="http://schemas.microsoft.com/office/drawing/2014/main" id="{EB453407-226E-4065-9775-3861EEA0A9BD}"/>
                </a:ext>
              </a:extLst>
            </p:cNvPr>
            <p:cNvSpPr/>
            <p:nvPr/>
          </p:nvSpPr>
          <p:spPr>
            <a:xfrm>
              <a:off x="3831566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7" name="Полілінія: фігура 836">
              <a:extLst>
                <a:ext uri="{FF2B5EF4-FFF2-40B4-BE49-F238E27FC236}">
                  <a16:creationId xmlns:a16="http://schemas.microsoft.com/office/drawing/2014/main" id="{28BBBCC7-4A3A-6662-A76C-5D51BBEA10C0}"/>
                </a:ext>
              </a:extLst>
            </p:cNvPr>
            <p:cNvSpPr/>
            <p:nvPr/>
          </p:nvSpPr>
          <p:spPr>
            <a:xfrm>
              <a:off x="4349150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8" name="Полілінія: фігура 837">
              <a:extLst>
                <a:ext uri="{FF2B5EF4-FFF2-40B4-BE49-F238E27FC236}">
                  <a16:creationId xmlns:a16="http://schemas.microsoft.com/office/drawing/2014/main" id="{06013862-C6BF-B23E-3AB3-A6217BAF67F9}"/>
                </a:ext>
              </a:extLst>
            </p:cNvPr>
            <p:cNvSpPr/>
            <p:nvPr/>
          </p:nvSpPr>
          <p:spPr>
            <a:xfrm>
              <a:off x="4607943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39" name="Полілінія: фігура 838">
              <a:extLst>
                <a:ext uri="{FF2B5EF4-FFF2-40B4-BE49-F238E27FC236}">
                  <a16:creationId xmlns:a16="http://schemas.microsoft.com/office/drawing/2014/main" id="{4BA61010-8645-B193-0DAE-5E0FD19B54FA}"/>
                </a:ext>
              </a:extLst>
            </p:cNvPr>
            <p:cNvSpPr/>
            <p:nvPr/>
          </p:nvSpPr>
          <p:spPr>
            <a:xfrm>
              <a:off x="4866735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0" name="Полілінія: фігура 839">
              <a:extLst>
                <a:ext uri="{FF2B5EF4-FFF2-40B4-BE49-F238E27FC236}">
                  <a16:creationId xmlns:a16="http://schemas.microsoft.com/office/drawing/2014/main" id="{84296DE8-5DCB-02C1-B81B-FD292537E25B}"/>
                </a:ext>
              </a:extLst>
            </p:cNvPr>
            <p:cNvSpPr/>
            <p:nvPr/>
          </p:nvSpPr>
          <p:spPr>
            <a:xfrm>
              <a:off x="4996132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1" name="Полілінія: фігура 840">
              <a:extLst>
                <a:ext uri="{FF2B5EF4-FFF2-40B4-BE49-F238E27FC236}">
                  <a16:creationId xmlns:a16="http://schemas.microsoft.com/office/drawing/2014/main" id="{5E6C9B04-9AC5-74EB-BAF5-FC264A2D8E19}"/>
                </a:ext>
              </a:extLst>
            </p:cNvPr>
            <p:cNvSpPr/>
            <p:nvPr/>
          </p:nvSpPr>
          <p:spPr>
            <a:xfrm>
              <a:off x="5254924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2" name="Полілінія: фігура 841">
              <a:extLst>
                <a:ext uri="{FF2B5EF4-FFF2-40B4-BE49-F238E27FC236}">
                  <a16:creationId xmlns:a16="http://schemas.microsoft.com/office/drawing/2014/main" id="{FF5EC4A4-1F18-6338-841E-6584BA3583DD}"/>
                </a:ext>
              </a:extLst>
            </p:cNvPr>
            <p:cNvSpPr/>
            <p:nvPr/>
          </p:nvSpPr>
          <p:spPr>
            <a:xfrm>
              <a:off x="5643113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3" name="Полілінія: фігура 842">
              <a:extLst>
                <a:ext uri="{FF2B5EF4-FFF2-40B4-BE49-F238E27FC236}">
                  <a16:creationId xmlns:a16="http://schemas.microsoft.com/office/drawing/2014/main" id="{87BA8642-E8D5-9B02-D149-02A3264BCDEA}"/>
                </a:ext>
              </a:extLst>
            </p:cNvPr>
            <p:cNvSpPr/>
            <p:nvPr/>
          </p:nvSpPr>
          <p:spPr>
            <a:xfrm>
              <a:off x="6290094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4" name="Полілінія: фігура 843">
              <a:extLst>
                <a:ext uri="{FF2B5EF4-FFF2-40B4-BE49-F238E27FC236}">
                  <a16:creationId xmlns:a16="http://schemas.microsoft.com/office/drawing/2014/main" id="{E7650673-858B-C3B4-0859-6E8EA7303E05}"/>
                </a:ext>
              </a:extLst>
            </p:cNvPr>
            <p:cNvSpPr/>
            <p:nvPr/>
          </p:nvSpPr>
          <p:spPr>
            <a:xfrm>
              <a:off x="6678283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5" name="Полілінія: фігура 844">
              <a:extLst>
                <a:ext uri="{FF2B5EF4-FFF2-40B4-BE49-F238E27FC236}">
                  <a16:creationId xmlns:a16="http://schemas.microsoft.com/office/drawing/2014/main" id="{D9B622A4-267F-B763-506A-DF9FA20FBF6C}"/>
                </a:ext>
              </a:extLst>
            </p:cNvPr>
            <p:cNvSpPr/>
            <p:nvPr/>
          </p:nvSpPr>
          <p:spPr>
            <a:xfrm>
              <a:off x="6937075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6" name="Полілінія: фігура 845">
              <a:extLst>
                <a:ext uri="{FF2B5EF4-FFF2-40B4-BE49-F238E27FC236}">
                  <a16:creationId xmlns:a16="http://schemas.microsoft.com/office/drawing/2014/main" id="{651A29BD-1887-29DF-2758-3080B7D33A75}"/>
                </a:ext>
              </a:extLst>
            </p:cNvPr>
            <p:cNvSpPr/>
            <p:nvPr/>
          </p:nvSpPr>
          <p:spPr>
            <a:xfrm>
              <a:off x="7066471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7" name="Полілінія: фігура 846">
              <a:extLst>
                <a:ext uri="{FF2B5EF4-FFF2-40B4-BE49-F238E27FC236}">
                  <a16:creationId xmlns:a16="http://schemas.microsoft.com/office/drawing/2014/main" id="{BCA9D8B3-54C6-9CF5-A32F-03E2B794A0C4}"/>
                </a:ext>
              </a:extLst>
            </p:cNvPr>
            <p:cNvSpPr/>
            <p:nvPr/>
          </p:nvSpPr>
          <p:spPr>
            <a:xfrm>
              <a:off x="7842849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8" name="Полілінія: фігура 847">
              <a:extLst>
                <a:ext uri="{FF2B5EF4-FFF2-40B4-BE49-F238E27FC236}">
                  <a16:creationId xmlns:a16="http://schemas.microsoft.com/office/drawing/2014/main" id="{4F25F756-8F3A-9291-F11E-E66DD1EB7348}"/>
                </a:ext>
              </a:extLst>
            </p:cNvPr>
            <p:cNvSpPr/>
            <p:nvPr/>
          </p:nvSpPr>
          <p:spPr>
            <a:xfrm>
              <a:off x="8101641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49" name="Полілінія: фігура 848">
              <a:extLst>
                <a:ext uri="{FF2B5EF4-FFF2-40B4-BE49-F238E27FC236}">
                  <a16:creationId xmlns:a16="http://schemas.microsoft.com/office/drawing/2014/main" id="{3E382F71-64FE-5384-F481-5A7B0A478402}"/>
                </a:ext>
              </a:extLst>
            </p:cNvPr>
            <p:cNvSpPr/>
            <p:nvPr/>
          </p:nvSpPr>
          <p:spPr>
            <a:xfrm>
              <a:off x="8360433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0" name="Полілінія: фігура 849">
              <a:extLst>
                <a:ext uri="{FF2B5EF4-FFF2-40B4-BE49-F238E27FC236}">
                  <a16:creationId xmlns:a16="http://schemas.microsoft.com/office/drawing/2014/main" id="{1C62BAAC-5749-873F-B769-F4ED5864815F}"/>
                </a:ext>
              </a:extLst>
            </p:cNvPr>
            <p:cNvSpPr/>
            <p:nvPr/>
          </p:nvSpPr>
          <p:spPr>
            <a:xfrm>
              <a:off x="8489830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1" name="Полілінія: фігура 850">
              <a:extLst>
                <a:ext uri="{FF2B5EF4-FFF2-40B4-BE49-F238E27FC236}">
                  <a16:creationId xmlns:a16="http://schemas.microsoft.com/office/drawing/2014/main" id="{993A1D94-1B81-4AFE-B477-7DD4E3AF7B72}"/>
                </a:ext>
              </a:extLst>
            </p:cNvPr>
            <p:cNvSpPr/>
            <p:nvPr/>
          </p:nvSpPr>
          <p:spPr>
            <a:xfrm>
              <a:off x="9136811" y="439947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2" name="Полілінія: фігура 851">
              <a:extLst>
                <a:ext uri="{FF2B5EF4-FFF2-40B4-BE49-F238E27FC236}">
                  <a16:creationId xmlns:a16="http://schemas.microsoft.com/office/drawing/2014/main" id="{3063841B-ADEF-3AE5-1943-6D4B225F3B5E}"/>
                </a:ext>
              </a:extLst>
            </p:cNvPr>
            <p:cNvSpPr/>
            <p:nvPr/>
          </p:nvSpPr>
          <p:spPr>
            <a:xfrm>
              <a:off x="3055188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3" name="Полілінія: фігура 852">
              <a:extLst>
                <a:ext uri="{FF2B5EF4-FFF2-40B4-BE49-F238E27FC236}">
                  <a16:creationId xmlns:a16="http://schemas.microsoft.com/office/drawing/2014/main" id="{A4C186EC-8AD2-6A7B-FB50-38518CAC694B}"/>
                </a:ext>
              </a:extLst>
            </p:cNvPr>
            <p:cNvSpPr/>
            <p:nvPr/>
          </p:nvSpPr>
          <p:spPr>
            <a:xfrm>
              <a:off x="3313981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4" name="Полілінія: фігура 853">
              <a:extLst>
                <a:ext uri="{FF2B5EF4-FFF2-40B4-BE49-F238E27FC236}">
                  <a16:creationId xmlns:a16="http://schemas.microsoft.com/office/drawing/2014/main" id="{025C047D-BAE4-F9FE-FE03-D04167AE8A47}"/>
                </a:ext>
              </a:extLst>
            </p:cNvPr>
            <p:cNvSpPr/>
            <p:nvPr/>
          </p:nvSpPr>
          <p:spPr>
            <a:xfrm>
              <a:off x="3831566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5" name="Полілінія: фігура 854">
              <a:extLst>
                <a:ext uri="{FF2B5EF4-FFF2-40B4-BE49-F238E27FC236}">
                  <a16:creationId xmlns:a16="http://schemas.microsoft.com/office/drawing/2014/main" id="{FB72B959-CE44-976F-3FC6-4975C75FB44E}"/>
                </a:ext>
              </a:extLst>
            </p:cNvPr>
            <p:cNvSpPr/>
            <p:nvPr/>
          </p:nvSpPr>
          <p:spPr>
            <a:xfrm>
              <a:off x="4478547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6" name="Полілінія: фігура 855">
              <a:extLst>
                <a:ext uri="{FF2B5EF4-FFF2-40B4-BE49-F238E27FC236}">
                  <a16:creationId xmlns:a16="http://schemas.microsoft.com/office/drawing/2014/main" id="{EEE9E766-D4CA-155C-7388-99A182AB1A59}"/>
                </a:ext>
              </a:extLst>
            </p:cNvPr>
            <p:cNvSpPr/>
            <p:nvPr/>
          </p:nvSpPr>
          <p:spPr>
            <a:xfrm>
              <a:off x="4737339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7" name="Полілінія: фігура 856">
              <a:extLst>
                <a:ext uri="{FF2B5EF4-FFF2-40B4-BE49-F238E27FC236}">
                  <a16:creationId xmlns:a16="http://schemas.microsoft.com/office/drawing/2014/main" id="{3998F4D0-62CE-9835-9DEE-1CCB27C94F20}"/>
                </a:ext>
              </a:extLst>
            </p:cNvPr>
            <p:cNvSpPr/>
            <p:nvPr/>
          </p:nvSpPr>
          <p:spPr>
            <a:xfrm>
              <a:off x="4866735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8" name="Полілінія: фігура 857">
              <a:extLst>
                <a:ext uri="{FF2B5EF4-FFF2-40B4-BE49-F238E27FC236}">
                  <a16:creationId xmlns:a16="http://schemas.microsoft.com/office/drawing/2014/main" id="{EBD5CB8A-6564-902D-00FB-CF73D75E363C}"/>
                </a:ext>
              </a:extLst>
            </p:cNvPr>
            <p:cNvSpPr/>
            <p:nvPr/>
          </p:nvSpPr>
          <p:spPr>
            <a:xfrm>
              <a:off x="4996132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59" name="Полілінія: фігура 858">
              <a:extLst>
                <a:ext uri="{FF2B5EF4-FFF2-40B4-BE49-F238E27FC236}">
                  <a16:creationId xmlns:a16="http://schemas.microsoft.com/office/drawing/2014/main" id="{7CF389D7-A496-AA2A-36D1-89AF209F609F}"/>
                </a:ext>
              </a:extLst>
            </p:cNvPr>
            <p:cNvSpPr/>
            <p:nvPr/>
          </p:nvSpPr>
          <p:spPr>
            <a:xfrm>
              <a:off x="5125528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0" name="Полілінія: фігура 859">
              <a:extLst>
                <a:ext uri="{FF2B5EF4-FFF2-40B4-BE49-F238E27FC236}">
                  <a16:creationId xmlns:a16="http://schemas.microsoft.com/office/drawing/2014/main" id="{F163D62B-9B26-2930-FC18-38681217B7DE}"/>
                </a:ext>
              </a:extLst>
            </p:cNvPr>
            <p:cNvSpPr/>
            <p:nvPr/>
          </p:nvSpPr>
          <p:spPr>
            <a:xfrm>
              <a:off x="5643113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1" name="Полілінія: фігура 860">
              <a:extLst>
                <a:ext uri="{FF2B5EF4-FFF2-40B4-BE49-F238E27FC236}">
                  <a16:creationId xmlns:a16="http://schemas.microsoft.com/office/drawing/2014/main" id="{F675555E-8280-9183-D3FB-B793674722A8}"/>
                </a:ext>
              </a:extLst>
            </p:cNvPr>
            <p:cNvSpPr/>
            <p:nvPr/>
          </p:nvSpPr>
          <p:spPr>
            <a:xfrm>
              <a:off x="5772509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2" name="Полілінія: фігура 861">
              <a:extLst>
                <a:ext uri="{FF2B5EF4-FFF2-40B4-BE49-F238E27FC236}">
                  <a16:creationId xmlns:a16="http://schemas.microsoft.com/office/drawing/2014/main" id="{E4A5AAC9-0A83-DCA3-7064-C46DD8B40BC8}"/>
                </a:ext>
              </a:extLst>
            </p:cNvPr>
            <p:cNvSpPr/>
            <p:nvPr/>
          </p:nvSpPr>
          <p:spPr>
            <a:xfrm>
              <a:off x="6031301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3" name="Полілінія: фігура 862">
              <a:extLst>
                <a:ext uri="{FF2B5EF4-FFF2-40B4-BE49-F238E27FC236}">
                  <a16:creationId xmlns:a16="http://schemas.microsoft.com/office/drawing/2014/main" id="{D4B96FC8-1DBC-2E75-BABD-9FA39D37E8C9}"/>
                </a:ext>
              </a:extLst>
            </p:cNvPr>
            <p:cNvSpPr/>
            <p:nvPr/>
          </p:nvSpPr>
          <p:spPr>
            <a:xfrm>
              <a:off x="6419490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4" name="Полілінія: фігура 863">
              <a:extLst>
                <a:ext uri="{FF2B5EF4-FFF2-40B4-BE49-F238E27FC236}">
                  <a16:creationId xmlns:a16="http://schemas.microsoft.com/office/drawing/2014/main" id="{ED2C8DAA-A6E4-6AA6-E92D-740455867C66}"/>
                </a:ext>
              </a:extLst>
            </p:cNvPr>
            <p:cNvSpPr/>
            <p:nvPr/>
          </p:nvSpPr>
          <p:spPr>
            <a:xfrm>
              <a:off x="6548886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5" name="Полілінія: фігура 864">
              <a:extLst>
                <a:ext uri="{FF2B5EF4-FFF2-40B4-BE49-F238E27FC236}">
                  <a16:creationId xmlns:a16="http://schemas.microsoft.com/office/drawing/2014/main" id="{24F6F784-1695-8829-71BB-0709FBC20439}"/>
                </a:ext>
              </a:extLst>
            </p:cNvPr>
            <p:cNvSpPr/>
            <p:nvPr/>
          </p:nvSpPr>
          <p:spPr>
            <a:xfrm>
              <a:off x="6678283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6" name="Полілінія: фігура 865">
              <a:extLst>
                <a:ext uri="{FF2B5EF4-FFF2-40B4-BE49-F238E27FC236}">
                  <a16:creationId xmlns:a16="http://schemas.microsoft.com/office/drawing/2014/main" id="{492C18E2-73CF-52C8-5C47-02D8991E9E4A}"/>
                </a:ext>
              </a:extLst>
            </p:cNvPr>
            <p:cNvSpPr/>
            <p:nvPr/>
          </p:nvSpPr>
          <p:spPr>
            <a:xfrm>
              <a:off x="6807679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7" name="Полілінія: фігура 866">
              <a:extLst>
                <a:ext uri="{FF2B5EF4-FFF2-40B4-BE49-F238E27FC236}">
                  <a16:creationId xmlns:a16="http://schemas.microsoft.com/office/drawing/2014/main" id="{C6D85C7D-DC3B-FE97-56AB-B6DE35B33313}"/>
                </a:ext>
              </a:extLst>
            </p:cNvPr>
            <p:cNvSpPr/>
            <p:nvPr/>
          </p:nvSpPr>
          <p:spPr>
            <a:xfrm>
              <a:off x="6937075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8" name="Полілінія: фігура 867">
              <a:extLst>
                <a:ext uri="{FF2B5EF4-FFF2-40B4-BE49-F238E27FC236}">
                  <a16:creationId xmlns:a16="http://schemas.microsoft.com/office/drawing/2014/main" id="{579D5321-BC71-4210-7F9B-C3299EFF0EF1}"/>
                </a:ext>
              </a:extLst>
            </p:cNvPr>
            <p:cNvSpPr/>
            <p:nvPr/>
          </p:nvSpPr>
          <p:spPr>
            <a:xfrm>
              <a:off x="7066471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69" name="Полілінія: фігура 868">
              <a:extLst>
                <a:ext uri="{FF2B5EF4-FFF2-40B4-BE49-F238E27FC236}">
                  <a16:creationId xmlns:a16="http://schemas.microsoft.com/office/drawing/2014/main" id="{7126E3EB-F56A-AEFC-4EDC-0B82306823B2}"/>
                </a:ext>
              </a:extLst>
            </p:cNvPr>
            <p:cNvSpPr/>
            <p:nvPr/>
          </p:nvSpPr>
          <p:spPr>
            <a:xfrm>
              <a:off x="7195867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0" name="Полілінія: фігура 869">
              <a:extLst>
                <a:ext uri="{FF2B5EF4-FFF2-40B4-BE49-F238E27FC236}">
                  <a16:creationId xmlns:a16="http://schemas.microsoft.com/office/drawing/2014/main" id="{C92B2630-6E99-034D-CEF3-E2D85461A8A2}"/>
                </a:ext>
              </a:extLst>
            </p:cNvPr>
            <p:cNvSpPr/>
            <p:nvPr/>
          </p:nvSpPr>
          <p:spPr>
            <a:xfrm>
              <a:off x="7325264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1" name="Полілінія: фігура 870">
              <a:extLst>
                <a:ext uri="{FF2B5EF4-FFF2-40B4-BE49-F238E27FC236}">
                  <a16:creationId xmlns:a16="http://schemas.microsoft.com/office/drawing/2014/main" id="{54F27C85-9077-C9CB-2493-EA32E4A246B3}"/>
                </a:ext>
              </a:extLst>
            </p:cNvPr>
            <p:cNvSpPr/>
            <p:nvPr/>
          </p:nvSpPr>
          <p:spPr>
            <a:xfrm>
              <a:off x="7454660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2" name="Полілінія: фігура 871">
              <a:extLst>
                <a:ext uri="{FF2B5EF4-FFF2-40B4-BE49-F238E27FC236}">
                  <a16:creationId xmlns:a16="http://schemas.microsoft.com/office/drawing/2014/main" id="{362232DE-A475-516A-67F0-CE40DEC00DB5}"/>
                </a:ext>
              </a:extLst>
            </p:cNvPr>
            <p:cNvSpPr/>
            <p:nvPr/>
          </p:nvSpPr>
          <p:spPr>
            <a:xfrm>
              <a:off x="7584056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3" name="Полілінія: фігура 872">
              <a:extLst>
                <a:ext uri="{FF2B5EF4-FFF2-40B4-BE49-F238E27FC236}">
                  <a16:creationId xmlns:a16="http://schemas.microsoft.com/office/drawing/2014/main" id="{02ECC9A6-E357-BEB2-0A45-203496A59824}"/>
                </a:ext>
              </a:extLst>
            </p:cNvPr>
            <p:cNvSpPr/>
            <p:nvPr/>
          </p:nvSpPr>
          <p:spPr>
            <a:xfrm>
              <a:off x="7842849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4" name="Полілінія: фігура 873">
              <a:extLst>
                <a:ext uri="{FF2B5EF4-FFF2-40B4-BE49-F238E27FC236}">
                  <a16:creationId xmlns:a16="http://schemas.microsoft.com/office/drawing/2014/main" id="{E43DD9F4-15A2-208D-AC28-B47286713FC1}"/>
                </a:ext>
              </a:extLst>
            </p:cNvPr>
            <p:cNvSpPr/>
            <p:nvPr/>
          </p:nvSpPr>
          <p:spPr>
            <a:xfrm>
              <a:off x="8101641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5" name="Полілінія: фігура 874">
              <a:extLst>
                <a:ext uri="{FF2B5EF4-FFF2-40B4-BE49-F238E27FC236}">
                  <a16:creationId xmlns:a16="http://schemas.microsoft.com/office/drawing/2014/main" id="{6DE7A7AA-50FB-49A1-A0A9-0F32A8267AAE}"/>
                </a:ext>
              </a:extLst>
            </p:cNvPr>
            <p:cNvSpPr/>
            <p:nvPr/>
          </p:nvSpPr>
          <p:spPr>
            <a:xfrm>
              <a:off x="8360433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6" name="Полілінія: фігура 875">
              <a:extLst>
                <a:ext uri="{FF2B5EF4-FFF2-40B4-BE49-F238E27FC236}">
                  <a16:creationId xmlns:a16="http://schemas.microsoft.com/office/drawing/2014/main" id="{075A6FD3-980C-A35D-018D-9CA14C106116}"/>
                </a:ext>
              </a:extLst>
            </p:cNvPr>
            <p:cNvSpPr/>
            <p:nvPr/>
          </p:nvSpPr>
          <p:spPr>
            <a:xfrm>
              <a:off x="9007415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7" name="Полілінія: фігура 876">
              <a:extLst>
                <a:ext uri="{FF2B5EF4-FFF2-40B4-BE49-F238E27FC236}">
                  <a16:creationId xmlns:a16="http://schemas.microsoft.com/office/drawing/2014/main" id="{B26EAA58-4491-7806-B188-2C9E8F959FC5}"/>
                </a:ext>
              </a:extLst>
            </p:cNvPr>
            <p:cNvSpPr/>
            <p:nvPr/>
          </p:nvSpPr>
          <p:spPr>
            <a:xfrm>
              <a:off x="9136811" y="452886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8" name="Полілінія: фігура 877">
              <a:extLst>
                <a:ext uri="{FF2B5EF4-FFF2-40B4-BE49-F238E27FC236}">
                  <a16:creationId xmlns:a16="http://schemas.microsoft.com/office/drawing/2014/main" id="{B7A126D4-BCC5-65CD-14D6-5027A1F17DD6}"/>
                </a:ext>
              </a:extLst>
            </p:cNvPr>
            <p:cNvSpPr/>
            <p:nvPr/>
          </p:nvSpPr>
          <p:spPr>
            <a:xfrm>
              <a:off x="3184584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79" name="Полілінія: фігура 878">
              <a:extLst>
                <a:ext uri="{FF2B5EF4-FFF2-40B4-BE49-F238E27FC236}">
                  <a16:creationId xmlns:a16="http://schemas.microsoft.com/office/drawing/2014/main" id="{BA6CC0CE-2905-48FF-A83F-E71782DCFC6E}"/>
                </a:ext>
              </a:extLst>
            </p:cNvPr>
            <p:cNvSpPr/>
            <p:nvPr/>
          </p:nvSpPr>
          <p:spPr>
            <a:xfrm>
              <a:off x="3313981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0" name="Полілінія: фігура 879">
              <a:extLst>
                <a:ext uri="{FF2B5EF4-FFF2-40B4-BE49-F238E27FC236}">
                  <a16:creationId xmlns:a16="http://schemas.microsoft.com/office/drawing/2014/main" id="{F5575DB8-63FE-2297-3257-83528DB1A195}"/>
                </a:ext>
              </a:extLst>
            </p:cNvPr>
            <p:cNvSpPr/>
            <p:nvPr/>
          </p:nvSpPr>
          <p:spPr>
            <a:xfrm>
              <a:off x="3702169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1" name="Полілінія: фігура 880">
              <a:extLst>
                <a:ext uri="{FF2B5EF4-FFF2-40B4-BE49-F238E27FC236}">
                  <a16:creationId xmlns:a16="http://schemas.microsoft.com/office/drawing/2014/main" id="{AD43EC99-C6B8-7A60-A0D7-9AB4C5FF5645}"/>
                </a:ext>
              </a:extLst>
            </p:cNvPr>
            <p:cNvSpPr/>
            <p:nvPr/>
          </p:nvSpPr>
          <p:spPr>
            <a:xfrm>
              <a:off x="3831566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2" name="Полілінія: фігура 881">
              <a:extLst>
                <a:ext uri="{FF2B5EF4-FFF2-40B4-BE49-F238E27FC236}">
                  <a16:creationId xmlns:a16="http://schemas.microsoft.com/office/drawing/2014/main" id="{CC585CBF-F7F5-A6F4-AB22-98B5EEFDA2AB}"/>
                </a:ext>
              </a:extLst>
            </p:cNvPr>
            <p:cNvSpPr/>
            <p:nvPr/>
          </p:nvSpPr>
          <p:spPr>
            <a:xfrm>
              <a:off x="3960962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3" name="Полілінія: фігура 882">
              <a:extLst>
                <a:ext uri="{FF2B5EF4-FFF2-40B4-BE49-F238E27FC236}">
                  <a16:creationId xmlns:a16="http://schemas.microsoft.com/office/drawing/2014/main" id="{DF856CAA-DF73-1F54-6562-CD1F27B37C13}"/>
                </a:ext>
              </a:extLst>
            </p:cNvPr>
            <p:cNvSpPr/>
            <p:nvPr/>
          </p:nvSpPr>
          <p:spPr>
            <a:xfrm>
              <a:off x="4090358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4" name="Полілінія: фігура 883">
              <a:extLst>
                <a:ext uri="{FF2B5EF4-FFF2-40B4-BE49-F238E27FC236}">
                  <a16:creationId xmlns:a16="http://schemas.microsoft.com/office/drawing/2014/main" id="{F9F7F896-4A8C-20C1-0EE3-EE5450CCBA5C}"/>
                </a:ext>
              </a:extLst>
            </p:cNvPr>
            <p:cNvSpPr/>
            <p:nvPr/>
          </p:nvSpPr>
          <p:spPr>
            <a:xfrm>
              <a:off x="4219754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5" name="Полілінія: фігура 884">
              <a:extLst>
                <a:ext uri="{FF2B5EF4-FFF2-40B4-BE49-F238E27FC236}">
                  <a16:creationId xmlns:a16="http://schemas.microsoft.com/office/drawing/2014/main" id="{1486D2B8-2433-4C2D-5F88-965A87A06FD0}"/>
                </a:ext>
              </a:extLst>
            </p:cNvPr>
            <p:cNvSpPr/>
            <p:nvPr/>
          </p:nvSpPr>
          <p:spPr>
            <a:xfrm>
              <a:off x="4866735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6" name="Полілінія: фігура 885">
              <a:extLst>
                <a:ext uri="{FF2B5EF4-FFF2-40B4-BE49-F238E27FC236}">
                  <a16:creationId xmlns:a16="http://schemas.microsoft.com/office/drawing/2014/main" id="{F980D097-3FEE-82D3-4D3A-CF7418783A76}"/>
                </a:ext>
              </a:extLst>
            </p:cNvPr>
            <p:cNvSpPr/>
            <p:nvPr/>
          </p:nvSpPr>
          <p:spPr>
            <a:xfrm>
              <a:off x="4996132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7" name="Полілінія: фігура 886">
              <a:extLst>
                <a:ext uri="{FF2B5EF4-FFF2-40B4-BE49-F238E27FC236}">
                  <a16:creationId xmlns:a16="http://schemas.microsoft.com/office/drawing/2014/main" id="{D8A37562-A21F-6071-A437-5F5AB826B038}"/>
                </a:ext>
              </a:extLst>
            </p:cNvPr>
            <p:cNvSpPr/>
            <p:nvPr/>
          </p:nvSpPr>
          <p:spPr>
            <a:xfrm>
              <a:off x="5125528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8" name="Полілінія: фігура 887">
              <a:extLst>
                <a:ext uri="{FF2B5EF4-FFF2-40B4-BE49-F238E27FC236}">
                  <a16:creationId xmlns:a16="http://schemas.microsoft.com/office/drawing/2014/main" id="{65D15108-D0D1-A980-07FD-3E1FC12A3667}"/>
                </a:ext>
              </a:extLst>
            </p:cNvPr>
            <p:cNvSpPr/>
            <p:nvPr/>
          </p:nvSpPr>
          <p:spPr>
            <a:xfrm>
              <a:off x="5254924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89" name="Полілінія: фігура 888">
              <a:extLst>
                <a:ext uri="{FF2B5EF4-FFF2-40B4-BE49-F238E27FC236}">
                  <a16:creationId xmlns:a16="http://schemas.microsoft.com/office/drawing/2014/main" id="{57E1B6BD-58C2-5A82-517D-C1E6BE3FD937}"/>
                </a:ext>
              </a:extLst>
            </p:cNvPr>
            <p:cNvSpPr/>
            <p:nvPr/>
          </p:nvSpPr>
          <p:spPr>
            <a:xfrm>
              <a:off x="5384320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0" name="Полілінія: фігура 889">
              <a:extLst>
                <a:ext uri="{FF2B5EF4-FFF2-40B4-BE49-F238E27FC236}">
                  <a16:creationId xmlns:a16="http://schemas.microsoft.com/office/drawing/2014/main" id="{EE5AEF7D-DC3B-7409-3A9E-88659CB44D31}"/>
                </a:ext>
              </a:extLst>
            </p:cNvPr>
            <p:cNvSpPr/>
            <p:nvPr/>
          </p:nvSpPr>
          <p:spPr>
            <a:xfrm>
              <a:off x="5513716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1" name="Полілінія: фігура 890">
              <a:extLst>
                <a:ext uri="{FF2B5EF4-FFF2-40B4-BE49-F238E27FC236}">
                  <a16:creationId xmlns:a16="http://schemas.microsoft.com/office/drawing/2014/main" id="{D6BF50D7-ABED-F2C4-BF80-3665245AEC6A}"/>
                </a:ext>
              </a:extLst>
            </p:cNvPr>
            <p:cNvSpPr/>
            <p:nvPr/>
          </p:nvSpPr>
          <p:spPr>
            <a:xfrm>
              <a:off x="6160698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2" name="Полілінія: фігура 891">
              <a:extLst>
                <a:ext uri="{FF2B5EF4-FFF2-40B4-BE49-F238E27FC236}">
                  <a16:creationId xmlns:a16="http://schemas.microsoft.com/office/drawing/2014/main" id="{0660DA0E-521D-72B1-2192-3697B9D23C37}"/>
                </a:ext>
              </a:extLst>
            </p:cNvPr>
            <p:cNvSpPr/>
            <p:nvPr/>
          </p:nvSpPr>
          <p:spPr>
            <a:xfrm>
              <a:off x="6548886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3" name="Полілінія: фігура 892">
              <a:extLst>
                <a:ext uri="{FF2B5EF4-FFF2-40B4-BE49-F238E27FC236}">
                  <a16:creationId xmlns:a16="http://schemas.microsoft.com/office/drawing/2014/main" id="{5A59C5D7-7680-B2F3-0FF0-4463A562EAD1}"/>
                </a:ext>
              </a:extLst>
            </p:cNvPr>
            <p:cNvSpPr/>
            <p:nvPr/>
          </p:nvSpPr>
          <p:spPr>
            <a:xfrm>
              <a:off x="6807679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4" name="Полілінія: фігура 893">
              <a:extLst>
                <a:ext uri="{FF2B5EF4-FFF2-40B4-BE49-F238E27FC236}">
                  <a16:creationId xmlns:a16="http://schemas.microsoft.com/office/drawing/2014/main" id="{6EA62579-A7F6-3934-44D3-47DE676F51C4}"/>
                </a:ext>
              </a:extLst>
            </p:cNvPr>
            <p:cNvSpPr/>
            <p:nvPr/>
          </p:nvSpPr>
          <p:spPr>
            <a:xfrm>
              <a:off x="7195867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5" name="Полілінія: фігура 894">
              <a:extLst>
                <a:ext uri="{FF2B5EF4-FFF2-40B4-BE49-F238E27FC236}">
                  <a16:creationId xmlns:a16="http://schemas.microsoft.com/office/drawing/2014/main" id="{152A773D-83FA-B406-84E1-A18E5F60D333}"/>
                </a:ext>
              </a:extLst>
            </p:cNvPr>
            <p:cNvSpPr/>
            <p:nvPr/>
          </p:nvSpPr>
          <p:spPr>
            <a:xfrm>
              <a:off x="7454660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6" name="Полілінія: фігура 895">
              <a:extLst>
                <a:ext uri="{FF2B5EF4-FFF2-40B4-BE49-F238E27FC236}">
                  <a16:creationId xmlns:a16="http://schemas.microsoft.com/office/drawing/2014/main" id="{2324DD30-F1E1-DDF2-0363-03516863EAB0}"/>
                </a:ext>
              </a:extLst>
            </p:cNvPr>
            <p:cNvSpPr/>
            <p:nvPr/>
          </p:nvSpPr>
          <p:spPr>
            <a:xfrm>
              <a:off x="7842849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7" name="Полілінія: фігура 896">
              <a:extLst>
                <a:ext uri="{FF2B5EF4-FFF2-40B4-BE49-F238E27FC236}">
                  <a16:creationId xmlns:a16="http://schemas.microsoft.com/office/drawing/2014/main" id="{47743C56-EEAC-2AD5-3508-A6A394B7208D}"/>
                </a:ext>
              </a:extLst>
            </p:cNvPr>
            <p:cNvSpPr/>
            <p:nvPr/>
          </p:nvSpPr>
          <p:spPr>
            <a:xfrm>
              <a:off x="8101641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8" name="Полілінія: фігура 897">
              <a:extLst>
                <a:ext uri="{FF2B5EF4-FFF2-40B4-BE49-F238E27FC236}">
                  <a16:creationId xmlns:a16="http://schemas.microsoft.com/office/drawing/2014/main" id="{9BA48BBD-2251-3CAB-6AD2-9F3CE4A479D5}"/>
                </a:ext>
              </a:extLst>
            </p:cNvPr>
            <p:cNvSpPr/>
            <p:nvPr/>
          </p:nvSpPr>
          <p:spPr>
            <a:xfrm>
              <a:off x="8360433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899" name="Полілінія: фігура 898">
              <a:extLst>
                <a:ext uri="{FF2B5EF4-FFF2-40B4-BE49-F238E27FC236}">
                  <a16:creationId xmlns:a16="http://schemas.microsoft.com/office/drawing/2014/main" id="{6DD00C5E-7338-1FD6-A10A-8FBCDB9803F5}"/>
                </a:ext>
              </a:extLst>
            </p:cNvPr>
            <p:cNvSpPr/>
            <p:nvPr/>
          </p:nvSpPr>
          <p:spPr>
            <a:xfrm>
              <a:off x="8489830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0" name="Полілінія: фігура 899">
              <a:extLst>
                <a:ext uri="{FF2B5EF4-FFF2-40B4-BE49-F238E27FC236}">
                  <a16:creationId xmlns:a16="http://schemas.microsoft.com/office/drawing/2014/main" id="{7CF5F67C-51D0-E931-9A64-B5B2D8598D8D}"/>
                </a:ext>
              </a:extLst>
            </p:cNvPr>
            <p:cNvSpPr/>
            <p:nvPr/>
          </p:nvSpPr>
          <p:spPr>
            <a:xfrm>
              <a:off x="9007415" y="4658264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1" name="Полілінія: фігура 900">
              <a:extLst>
                <a:ext uri="{FF2B5EF4-FFF2-40B4-BE49-F238E27FC236}">
                  <a16:creationId xmlns:a16="http://schemas.microsoft.com/office/drawing/2014/main" id="{2AA64D77-9D01-8A2C-0BC7-1FD9F48C643B}"/>
                </a:ext>
              </a:extLst>
            </p:cNvPr>
            <p:cNvSpPr/>
            <p:nvPr/>
          </p:nvSpPr>
          <p:spPr>
            <a:xfrm>
              <a:off x="2925792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2" name="Полілінія: фігура 901">
              <a:extLst>
                <a:ext uri="{FF2B5EF4-FFF2-40B4-BE49-F238E27FC236}">
                  <a16:creationId xmlns:a16="http://schemas.microsoft.com/office/drawing/2014/main" id="{BB4B463E-DBDC-2C8F-4EAE-DFD97920F15B}"/>
                </a:ext>
              </a:extLst>
            </p:cNvPr>
            <p:cNvSpPr/>
            <p:nvPr/>
          </p:nvSpPr>
          <p:spPr>
            <a:xfrm>
              <a:off x="3184584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3" name="Полілінія: фігура 902">
              <a:extLst>
                <a:ext uri="{FF2B5EF4-FFF2-40B4-BE49-F238E27FC236}">
                  <a16:creationId xmlns:a16="http://schemas.microsoft.com/office/drawing/2014/main" id="{D1B86BA4-870E-381C-8760-81292BB0DC58}"/>
                </a:ext>
              </a:extLst>
            </p:cNvPr>
            <p:cNvSpPr/>
            <p:nvPr/>
          </p:nvSpPr>
          <p:spPr>
            <a:xfrm>
              <a:off x="3313981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4" name="Полілінія: фігура 903">
              <a:extLst>
                <a:ext uri="{FF2B5EF4-FFF2-40B4-BE49-F238E27FC236}">
                  <a16:creationId xmlns:a16="http://schemas.microsoft.com/office/drawing/2014/main" id="{74CF4FC3-353D-DE7C-C4B5-900883657395}"/>
                </a:ext>
              </a:extLst>
            </p:cNvPr>
            <p:cNvSpPr/>
            <p:nvPr/>
          </p:nvSpPr>
          <p:spPr>
            <a:xfrm>
              <a:off x="3572773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5" name="Полілінія: фігура 904">
              <a:extLst>
                <a:ext uri="{FF2B5EF4-FFF2-40B4-BE49-F238E27FC236}">
                  <a16:creationId xmlns:a16="http://schemas.microsoft.com/office/drawing/2014/main" id="{E64E8455-C3DF-A1BF-488A-19D34D4430E4}"/>
                </a:ext>
              </a:extLst>
            </p:cNvPr>
            <p:cNvSpPr/>
            <p:nvPr/>
          </p:nvSpPr>
          <p:spPr>
            <a:xfrm>
              <a:off x="3831566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6" name="Полілінія: фігура 905">
              <a:extLst>
                <a:ext uri="{FF2B5EF4-FFF2-40B4-BE49-F238E27FC236}">
                  <a16:creationId xmlns:a16="http://schemas.microsoft.com/office/drawing/2014/main" id="{0772A044-22B9-6E48-89C7-A54E0A7828FC}"/>
                </a:ext>
              </a:extLst>
            </p:cNvPr>
            <p:cNvSpPr/>
            <p:nvPr/>
          </p:nvSpPr>
          <p:spPr>
            <a:xfrm>
              <a:off x="4219754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7" name="Полілінія: фігура 906">
              <a:extLst>
                <a:ext uri="{FF2B5EF4-FFF2-40B4-BE49-F238E27FC236}">
                  <a16:creationId xmlns:a16="http://schemas.microsoft.com/office/drawing/2014/main" id="{E0A775EB-7DA3-BC06-F5EC-7D7EDD0BF5CD}"/>
                </a:ext>
              </a:extLst>
            </p:cNvPr>
            <p:cNvSpPr/>
            <p:nvPr/>
          </p:nvSpPr>
          <p:spPr>
            <a:xfrm>
              <a:off x="4478547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8" name="Полілінія: фігура 907">
              <a:extLst>
                <a:ext uri="{FF2B5EF4-FFF2-40B4-BE49-F238E27FC236}">
                  <a16:creationId xmlns:a16="http://schemas.microsoft.com/office/drawing/2014/main" id="{68DB255A-331E-938B-1B02-44994EBA1334}"/>
                </a:ext>
              </a:extLst>
            </p:cNvPr>
            <p:cNvSpPr/>
            <p:nvPr/>
          </p:nvSpPr>
          <p:spPr>
            <a:xfrm>
              <a:off x="4996132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09" name="Полілінія: фігура 908">
              <a:extLst>
                <a:ext uri="{FF2B5EF4-FFF2-40B4-BE49-F238E27FC236}">
                  <a16:creationId xmlns:a16="http://schemas.microsoft.com/office/drawing/2014/main" id="{F4EF66B9-B004-0A50-2C0E-2D78CC93B428}"/>
                </a:ext>
              </a:extLst>
            </p:cNvPr>
            <p:cNvSpPr/>
            <p:nvPr/>
          </p:nvSpPr>
          <p:spPr>
            <a:xfrm>
              <a:off x="5254924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0" name="Полілінія: фігура 909">
              <a:extLst>
                <a:ext uri="{FF2B5EF4-FFF2-40B4-BE49-F238E27FC236}">
                  <a16:creationId xmlns:a16="http://schemas.microsoft.com/office/drawing/2014/main" id="{BC8DB21E-79CE-4616-C60C-52C399B342E1}"/>
                </a:ext>
              </a:extLst>
            </p:cNvPr>
            <p:cNvSpPr/>
            <p:nvPr/>
          </p:nvSpPr>
          <p:spPr>
            <a:xfrm>
              <a:off x="5772509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1" name="Полілінія: фігура 910">
              <a:extLst>
                <a:ext uri="{FF2B5EF4-FFF2-40B4-BE49-F238E27FC236}">
                  <a16:creationId xmlns:a16="http://schemas.microsoft.com/office/drawing/2014/main" id="{1C50A78D-89FB-2C43-AC51-975107362869}"/>
                </a:ext>
              </a:extLst>
            </p:cNvPr>
            <p:cNvSpPr/>
            <p:nvPr/>
          </p:nvSpPr>
          <p:spPr>
            <a:xfrm>
              <a:off x="5901905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2" name="Полілінія: фігура 911">
              <a:extLst>
                <a:ext uri="{FF2B5EF4-FFF2-40B4-BE49-F238E27FC236}">
                  <a16:creationId xmlns:a16="http://schemas.microsoft.com/office/drawing/2014/main" id="{447B050E-E0C7-CC09-1AEF-C30096469166}"/>
                </a:ext>
              </a:extLst>
            </p:cNvPr>
            <p:cNvSpPr/>
            <p:nvPr/>
          </p:nvSpPr>
          <p:spPr>
            <a:xfrm>
              <a:off x="6419490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3" name="Полілінія: фігура 912">
              <a:extLst>
                <a:ext uri="{FF2B5EF4-FFF2-40B4-BE49-F238E27FC236}">
                  <a16:creationId xmlns:a16="http://schemas.microsoft.com/office/drawing/2014/main" id="{90AF7EA5-4FD5-4E24-9AE9-E79EAAC302A2}"/>
                </a:ext>
              </a:extLst>
            </p:cNvPr>
            <p:cNvSpPr/>
            <p:nvPr/>
          </p:nvSpPr>
          <p:spPr>
            <a:xfrm>
              <a:off x="6548886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4" name="Полілінія: фігура 913">
              <a:extLst>
                <a:ext uri="{FF2B5EF4-FFF2-40B4-BE49-F238E27FC236}">
                  <a16:creationId xmlns:a16="http://schemas.microsoft.com/office/drawing/2014/main" id="{6A657CB6-D28B-19AD-8022-C9F9E960B2E1}"/>
                </a:ext>
              </a:extLst>
            </p:cNvPr>
            <p:cNvSpPr/>
            <p:nvPr/>
          </p:nvSpPr>
          <p:spPr>
            <a:xfrm>
              <a:off x="6678283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5" name="Полілінія: фігура 914">
              <a:extLst>
                <a:ext uri="{FF2B5EF4-FFF2-40B4-BE49-F238E27FC236}">
                  <a16:creationId xmlns:a16="http://schemas.microsoft.com/office/drawing/2014/main" id="{F9F34E79-51D4-44D6-621D-462F268C164E}"/>
                </a:ext>
              </a:extLst>
            </p:cNvPr>
            <p:cNvSpPr/>
            <p:nvPr/>
          </p:nvSpPr>
          <p:spPr>
            <a:xfrm>
              <a:off x="6807679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6" name="Полілінія: фігура 915">
              <a:extLst>
                <a:ext uri="{FF2B5EF4-FFF2-40B4-BE49-F238E27FC236}">
                  <a16:creationId xmlns:a16="http://schemas.microsoft.com/office/drawing/2014/main" id="{2F36D593-D742-6C4B-1144-4C5ECA3EE9D7}"/>
                </a:ext>
              </a:extLst>
            </p:cNvPr>
            <p:cNvSpPr/>
            <p:nvPr/>
          </p:nvSpPr>
          <p:spPr>
            <a:xfrm>
              <a:off x="7195867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7" name="Полілінія: фігура 916">
              <a:extLst>
                <a:ext uri="{FF2B5EF4-FFF2-40B4-BE49-F238E27FC236}">
                  <a16:creationId xmlns:a16="http://schemas.microsoft.com/office/drawing/2014/main" id="{76B0366E-490B-3BDB-CC07-77496FF5B6EA}"/>
                </a:ext>
              </a:extLst>
            </p:cNvPr>
            <p:cNvSpPr/>
            <p:nvPr/>
          </p:nvSpPr>
          <p:spPr>
            <a:xfrm>
              <a:off x="7584056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8" name="Полілінія: фігура 917">
              <a:extLst>
                <a:ext uri="{FF2B5EF4-FFF2-40B4-BE49-F238E27FC236}">
                  <a16:creationId xmlns:a16="http://schemas.microsoft.com/office/drawing/2014/main" id="{6B608A14-BEE0-3781-5C71-6DF8EE7802C1}"/>
                </a:ext>
              </a:extLst>
            </p:cNvPr>
            <p:cNvSpPr/>
            <p:nvPr/>
          </p:nvSpPr>
          <p:spPr>
            <a:xfrm>
              <a:off x="7713452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19" name="Полілінія: фігура 918">
              <a:extLst>
                <a:ext uri="{FF2B5EF4-FFF2-40B4-BE49-F238E27FC236}">
                  <a16:creationId xmlns:a16="http://schemas.microsoft.com/office/drawing/2014/main" id="{09966651-C6AB-49DB-6BEF-2F0C3BD6BC41}"/>
                </a:ext>
              </a:extLst>
            </p:cNvPr>
            <p:cNvSpPr/>
            <p:nvPr/>
          </p:nvSpPr>
          <p:spPr>
            <a:xfrm>
              <a:off x="7842849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0" name="Полілінія: фігура 919">
              <a:extLst>
                <a:ext uri="{FF2B5EF4-FFF2-40B4-BE49-F238E27FC236}">
                  <a16:creationId xmlns:a16="http://schemas.microsoft.com/office/drawing/2014/main" id="{97197C07-8B69-299E-C4C7-A88C9524E1D2}"/>
                </a:ext>
              </a:extLst>
            </p:cNvPr>
            <p:cNvSpPr/>
            <p:nvPr/>
          </p:nvSpPr>
          <p:spPr>
            <a:xfrm>
              <a:off x="7972245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1" name="Полілінія: фігура 920">
              <a:extLst>
                <a:ext uri="{FF2B5EF4-FFF2-40B4-BE49-F238E27FC236}">
                  <a16:creationId xmlns:a16="http://schemas.microsoft.com/office/drawing/2014/main" id="{2A76C276-02A6-16D9-07FC-D15FE1936F57}"/>
                </a:ext>
              </a:extLst>
            </p:cNvPr>
            <p:cNvSpPr/>
            <p:nvPr/>
          </p:nvSpPr>
          <p:spPr>
            <a:xfrm>
              <a:off x="8360433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2" name="Полілінія: фігура 921">
              <a:extLst>
                <a:ext uri="{FF2B5EF4-FFF2-40B4-BE49-F238E27FC236}">
                  <a16:creationId xmlns:a16="http://schemas.microsoft.com/office/drawing/2014/main" id="{7CEF6C08-BDB4-77AD-A8B0-43E3F2D2BE2A}"/>
                </a:ext>
              </a:extLst>
            </p:cNvPr>
            <p:cNvSpPr/>
            <p:nvPr/>
          </p:nvSpPr>
          <p:spPr>
            <a:xfrm>
              <a:off x="8619226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3" name="Полілінія: фігура 922">
              <a:extLst>
                <a:ext uri="{FF2B5EF4-FFF2-40B4-BE49-F238E27FC236}">
                  <a16:creationId xmlns:a16="http://schemas.microsoft.com/office/drawing/2014/main" id="{3E63AE2F-D985-1EB5-AC05-F9B887BF477F}"/>
                </a:ext>
              </a:extLst>
            </p:cNvPr>
            <p:cNvSpPr/>
            <p:nvPr/>
          </p:nvSpPr>
          <p:spPr>
            <a:xfrm>
              <a:off x="8878018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4" name="Полілінія: фігура 923">
              <a:extLst>
                <a:ext uri="{FF2B5EF4-FFF2-40B4-BE49-F238E27FC236}">
                  <a16:creationId xmlns:a16="http://schemas.microsoft.com/office/drawing/2014/main" id="{7A68E4EA-377D-4F68-917D-C75CBC85DEA0}"/>
                </a:ext>
              </a:extLst>
            </p:cNvPr>
            <p:cNvSpPr/>
            <p:nvPr/>
          </p:nvSpPr>
          <p:spPr>
            <a:xfrm>
              <a:off x="9136811" y="478766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5" name="Полілінія: фігура 924">
              <a:extLst>
                <a:ext uri="{FF2B5EF4-FFF2-40B4-BE49-F238E27FC236}">
                  <a16:creationId xmlns:a16="http://schemas.microsoft.com/office/drawing/2014/main" id="{7154C367-5F93-7F46-8B63-CFE2C812D006}"/>
                </a:ext>
              </a:extLst>
            </p:cNvPr>
            <p:cNvSpPr/>
            <p:nvPr/>
          </p:nvSpPr>
          <p:spPr>
            <a:xfrm>
              <a:off x="2925792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6" name="Полілінія: фігура 925">
              <a:extLst>
                <a:ext uri="{FF2B5EF4-FFF2-40B4-BE49-F238E27FC236}">
                  <a16:creationId xmlns:a16="http://schemas.microsoft.com/office/drawing/2014/main" id="{F5A9FC17-49FE-C0EE-BE09-F947EDB4894C}"/>
                </a:ext>
              </a:extLst>
            </p:cNvPr>
            <p:cNvSpPr/>
            <p:nvPr/>
          </p:nvSpPr>
          <p:spPr>
            <a:xfrm>
              <a:off x="3055188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7" name="Полілінія: фігура 926">
              <a:extLst>
                <a:ext uri="{FF2B5EF4-FFF2-40B4-BE49-F238E27FC236}">
                  <a16:creationId xmlns:a16="http://schemas.microsoft.com/office/drawing/2014/main" id="{F8431479-38C9-3FFF-2292-C8EDC11466E8}"/>
                </a:ext>
              </a:extLst>
            </p:cNvPr>
            <p:cNvSpPr/>
            <p:nvPr/>
          </p:nvSpPr>
          <p:spPr>
            <a:xfrm>
              <a:off x="3443377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8" name="Полілінія: фігура 927">
              <a:extLst>
                <a:ext uri="{FF2B5EF4-FFF2-40B4-BE49-F238E27FC236}">
                  <a16:creationId xmlns:a16="http://schemas.microsoft.com/office/drawing/2014/main" id="{B4A3AC1A-D1E7-3D1C-50FF-8B39607FE94E}"/>
                </a:ext>
              </a:extLst>
            </p:cNvPr>
            <p:cNvSpPr/>
            <p:nvPr/>
          </p:nvSpPr>
          <p:spPr>
            <a:xfrm>
              <a:off x="3572773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29" name="Полілінія: фігура 928">
              <a:extLst>
                <a:ext uri="{FF2B5EF4-FFF2-40B4-BE49-F238E27FC236}">
                  <a16:creationId xmlns:a16="http://schemas.microsoft.com/office/drawing/2014/main" id="{F9538A59-B0F9-34B9-8AB3-D90A1EACB011}"/>
                </a:ext>
              </a:extLst>
            </p:cNvPr>
            <p:cNvSpPr/>
            <p:nvPr/>
          </p:nvSpPr>
          <p:spPr>
            <a:xfrm>
              <a:off x="3702169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0" name="Полілінія: фігура 929">
              <a:extLst>
                <a:ext uri="{FF2B5EF4-FFF2-40B4-BE49-F238E27FC236}">
                  <a16:creationId xmlns:a16="http://schemas.microsoft.com/office/drawing/2014/main" id="{34491085-C235-0AA4-C7A0-BD7E1B791D37}"/>
                </a:ext>
              </a:extLst>
            </p:cNvPr>
            <p:cNvSpPr/>
            <p:nvPr/>
          </p:nvSpPr>
          <p:spPr>
            <a:xfrm>
              <a:off x="3960962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1" name="Полілінія: фігура 930">
              <a:extLst>
                <a:ext uri="{FF2B5EF4-FFF2-40B4-BE49-F238E27FC236}">
                  <a16:creationId xmlns:a16="http://schemas.microsoft.com/office/drawing/2014/main" id="{5746E861-A092-E370-862B-331F6CAD6759}"/>
                </a:ext>
              </a:extLst>
            </p:cNvPr>
            <p:cNvSpPr/>
            <p:nvPr/>
          </p:nvSpPr>
          <p:spPr>
            <a:xfrm>
              <a:off x="4349150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2" name="Полілінія: фігура 931">
              <a:extLst>
                <a:ext uri="{FF2B5EF4-FFF2-40B4-BE49-F238E27FC236}">
                  <a16:creationId xmlns:a16="http://schemas.microsoft.com/office/drawing/2014/main" id="{FCC59441-95F3-8AA8-7526-6F9FD2671479}"/>
                </a:ext>
              </a:extLst>
            </p:cNvPr>
            <p:cNvSpPr/>
            <p:nvPr/>
          </p:nvSpPr>
          <p:spPr>
            <a:xfrm>
              <a:off x="4607943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3" name="Полілінія: фігура 932">
              <a:extLst>
                <a:ext uri="{FF2B5EF4-FFF2-40B4-BE49-F238E27FC236}">
                  <a16:creationId xmlns:a16="http://schemas.microsoft.com/office/drawing/2014/main" id="{5A415E69-FA65-217D-89C4-9FE6D555FC22}"/>
                </a:ext>
              </a:extLst>
            </p:cNvPr>
            <p:cNvSpPr/>
            <p:nvPr/>
          </p:nvSpPr>
          <p:spPr>
            <a:xfrm>
              <a:off x="4737339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4" name="Полілінія: фігура 933">
              <a:extLst>
                <a:ext uri="{FF2B5EF4-FFF2-40B4-BE49-F238E27FC236}">
                  <a16:creationId xmlns:a16="http://schemas.microsoft.com/office/drawing/2014/main" id="{0D7580B1-B16A-B8CC-0936-851119115030}"/>
                </a:ext>
              </a:extLst>
            </p:cNvPr>
            <p:cNvSpPr/>
            <p:nvPr/>
          </p:nvSpPr>
          <p:spPr>
            <a:xfrm>
              <a:off x="4996132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5" name="Полілінія: фігура 934">
              <a:extLst>
                <a:ext uri="{FF2B5EF4-FFF2-40B4-BE49-F238E27FC236}">
                  <a16:creationId xmlns:a16="http://schemas.microsoft.com/office/drawing/2014/main" id="{139705F7-1537-A62D-63B9-3431101192AD}"/>
                </a:ext>
              </a:extLst>
            </p:cNvPr>
            <p:cNvSpPr/>
            <p:nvPr/>
          </p:nvSpPr>
          <p:spPr>
            <a:xfrm>
              <a:off x="5254924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6" name="Полілінія: фігура 935">
              <a:extLst>
                <a:ext uri="{FF2B5EF4-FFF2-40B4-BE49-F238E27FC236}">
                  <a16:creationId xmlns:a16="http://schemas.microsoft.com/office/drawing/2014/main" id="{481AA847-E91A-57C9-AB16-E26EB6A1FBBA}"/>
                </a:ext>
              </a:extLst>
            </p:cNvPr>
            <p:cNvSpPr/>
            <p:nvPr/>
          </p:nvSpPr>
          <p:spPr>
            <a:xfrm>
              <a:off x="6419490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7" name="Полілінія: фігура 936">
              <a:extLst>
                <a:ext uri="{FF2B5EF4-FFF2-40B4-BE49-F238E27FC236}">
                  <a16:creationId xmlns:a16="http://schemas.microsoft.com/office/drawing/2014/main" id="{E343E1BA-16AB-5291-D1A6-44C646DED09F}"/>
                </a:ext>
              </a:extLst>
            </p:cNvPr>
            <p:cNvSpPr/>
            <p:nvPr/>
          </p:nvSpPr>
          <p:spPr>
            <a:xfrm>
              <a:off x="6548886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8" name="Полілінія: фігура 937">
              <a:extLst>
                <a:ext uri="{FF2B5EF4-FFF2-40B4-BE49-F238E27FC236}">
                  <a16:creationId xmlns:a16="http://schemas.microsoft.com/office/drawing/2014/main" id="{F5AC81F1-9F07-B56D-2844-069A5BEA34AB}"/>
                </a:ext>
              </a:extLst>
            </p:cNvPr>
            <p:cNvSpPr/>
            <p:nvPr/>
          </p:nvSpPr>
          <p:spPr>
            <a:xfrm>
              <a:off x="6807679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39" name="Полілінія: фігура 938">
              <a:extLst>
                <a:ext uri="{FF2B5EF4-FFF2-40B4-BE49-F238E27FC236}">
                  <a16:creationId xmlns:a16="http://schemas.microsoft.com/office/drawing/2014/main" id="{2B30FD42-4B7B-428F-A1FA-DC8DB84C64C1}"/>
                </a:ext>
              </a:extLst>
            </p:cNvPr>
            <p:cNvSpPr/>
            <p:nvPr/>
          </p:nvSpPr>
          <p:spPr>
            <a:xfrm>
              <a:off x="7066471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0" name="Полілінія: фігура 939">
              <a:extLst>
                <a:ext uri="{FF2B5EF4-FFF2-40B4-BE49-F238E27FC236}">
                  <a16:creationId xmlns:a16="http://schemas.microsoft.com/office/drawing/2014/main" id="{924BADFB-19C5-7784-1F21-A830C31F04F6}"/>
                </a:ext>
              </a:extLst>
            </p:cNvPr>
            <p:cNvSpPr/>
            <p:nvPr/>
          </p:nvSpPr>
          <p:spPr>
            <a:xfrm>
              <a:off x="7195867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1" name="Полілінія: фігура 940">
              <a:extLst>
                <a:ext uri="{FF2B5EF4-FFF2-40B4-BE49-F238E27FC236}">
                  <a16:creationId xmlns:a16="http://schemas.microsoft.com/office/drawing/2014/main" id="{BFCE9B2B-C721-3F17-3DD9-31EDD1E84C54}"/>
                </a:ext>
              </a:extLst>
            </p:cNvPr>
            <p:cNvSpPr/>
            <p:nvPr/>
          </p:nvSpPr>
          <p:spPr>
            <a:xfrm>
              <a:off x="7584056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2" name="Полілінія: фігура 941">
              <a:extLst>
                <a:ext uri="{FF2B5EF4-FFF2-40B4-BE49-F238E27FC236}">
                  <a16:creationId xmlns:a16="http://schemas.microsoft.com/office/drawing/2014/main" id="{6E355F45-B2F7-98F6-6076-FE622476AB40}"/>
                </a:ext>
              </a:extLst>
            </p:cNvPr>
            <p:cNvSpPr/>
            <p:nvPr/>
          </p:nvSpPr>
          <p:spPr>
            <a:xfrm>
              <a:off x="7713452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3" name="Полілінія: фігура 942">
              <a:extLst>
                <a:ext uri="{FF2B5EF4-FFF2-40B4-BE49-F238E27FC236}">
                  <a16:creationId xmlns:a16="http://schemas.microsoft.com/office/drawing/2014/main" id="{CD02E014-7417-C3DD-352D-51790722C2AC}"/>
                </a:ext>
              </a:extLst>
            </p:cNvPr>
            <p:cNvSpPr/>
            <p:nvPr/>
          </p:nvSpPr>
          <p:spPr>
            <a:xfrm>
              <a:off x="7972245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4" name="Полілінія: фігура 943">
              <a:extLst>
                <a:ext uri="{FF2B5EF4-FFF2-40B4-BE49-F238E27FC236}">
                  <a16:creationId xmlns:a16="http://schemas.microsoft.com/office/drawing/2014/main" id="{52D5E290-31EF-0304-9382-15F498E32765}"/>
                </a:ext>
              </a:extLst>
            </p:cNvPr>
            <p:cNvSpPr/>
            <p:nvPr/>
          </p:nvSpPr>
          <p:spPr>
            <a:xfrm>
              <a:off x="8360433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5" name="Полілінія: фігура 944">
              <a:extLst>
                <a:ext uri="{FF2B5EF4-FFF2-40B4-BE49-F238E27FC236}">
                  <a16:creationId xmlns:a16="http://schemas.microsoft.com/office/drawing/2014/main" id="{7060E861-DA1C-32F1-277F-CEABF8854C6C}"/>
                </a:ext>
              </a:extLst>
            </p:cNvPr>
            <p:cNvSpPr/>
            <p:nvPr/>
          </p:nvSpPr>
          <p:spPr>
            <a:xfrm>
              <a:off x="8489830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6" name="Полілінія: фігура 945">
              <a:extLst>
                <a:ext uri="{FF2B5EF4-FFF2-40B4-BE49-F238E27FC236}">
                  <a16:creationId xmlns:a16="http://schemas.microsoft.com/office/drawing/2014/main" id="{363946A9-7C87-C3C8-8E1D-D7F94D741341}"/>
                </a:ext>
              </a:extLst>
            </p:cNvPr>
            <p:cNvSpPr/>
            <p:nvPr/>
          </p:nvSpPr>
          <p:spPr>
            <a:xfrm>
              <a:off x="9007415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7" name="Полілінія: фігура 946">
              <a:extLst>
                <a:ext uri="{FF2B5EF4-FFF2-40B4-BE49-F238E27FC236}">
                  <a16:creationId xmlns:a16="http://schemas.microsoft.com/office/drawing/2014/main" id="{17F8CA88-FCB2-6DB4-D2DA-6D358E07AD06}"/>
                </a:ext>
              </a:extLst>
            </p:cNvPr>
            <p:cNvSpPr/>
            <p:nvPr/>
          </p:nvSpPr>
          <p:spPr>
            <a:xfrm>
              <a:off x="9136811" y="491705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8" name="Полілінія: фігура 947">
              <a:extLst>
                <a:ext uri="{FF2B5EF4-FFF2-40B4-BE49-F238E27FC236}">
                  <a16:creationId xmlns:a16="http://schemas.microsoft.com/office/drawing/2014/main" id="{3FDFF326-9040-CE16-4A05-E38D7F14CF07}"/>
                </a:ext>
              </a:extLst>
            </p:cNvPr>
            <p:cNvSpPr/>
            <p:nvPr/>
          </p:nvSpPr>
          <p:spPr>
            <a:xfrm>
              <a:off x="3184584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49" name="Полілінія: фігура 948">
              <a:extLst>
                <a:ext uri="{FF2B5EF4-FFF2-40B4-BE49-F238E27FC236}">
                  <a16:creationId xmlns:a16="http://schemas.microsoft.com/office/drawing/2014/main" id="{5BA893BA-1F98-F674-039F-6DEEA76B3D05}"/>
                </a:ext>
              </a:extLst>
            </p:cNvPr>
            <p:cNvSpPr/>
            <p:nvPr/>
          </p:nvSpPr>
          <p:spPr>
            <a:xfrm>
              <a:off x="3313981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0" name="Полілінія: фігура 949">
              <a:extLst>
                <a:ext uri="{FF2B5EF4-FFF2-40B4-BE49-F238E27FC236}">
                  <a16:creationId xmlns:a16="http://schemas.microsoft.com/office/drawing/2014/main" id="{C570546B-1EED-3D58-9E1E-C1251E09FD98}"/>
                </a:ext>
              </a:extLst>
            </p:cNvPr>
            <p:cNvSpPr/>
            <p:nvPr/>
          </p:nvSpPr>
          <p:spPr>
            <a:xfrm>
              <a:off x="3443377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1" name="Полілінія: фігура 950">
              <a:extLst>
                <a:ext uri="{FF2B5EF4-FFF2-40B4-BE49-F238E27FC236}">
                  <a16:creationId xmlns:a16="http://schemas.microsoft.com/office/drawing/2014/main" id="{47BDD144-1A7A-E7CE-0D99-393F641528D7}"/>
                </a:ext>
              </a:extLst>
            </p:cNvPr>
            <p:cNvSpPr/>
            <p:nvPr/>
          </p:nvSpPr>
          <p:spPr>
            <a:xfrm>
              <a:off x="3831566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2" name="Полілінія: фігура 951">
              <a:extLst>
                <a:ext uri="{FF2B5EF4-FFF2-40B4-BE49-F238E27FC236}">
                  <a16:creationId xmlns:a16="http://schemas.microsoft.com/office/drawing/2014/main" id="{58DBE9FE-BBC3-4A49-79FE-6A0C7F18FC4D}"/>
                </a:ext>
              </a:extLst>
            </p:cNvPr>
            <p:cNvSpPr/>
            <p:nvPr/>
          </p:nvSpPr>
          <p:spPr>
            <a:xfrm>
              <a:off x="4349150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3" name="Полілінія: фігура 952">
              <a:extLst>
                <a:ext uri="{FF2B5EF4-FFF2-40B4-BE49-F238E27FC236}">
                  <a16:creationId xmlns:a16="http://schemas.microsoft.com/office/drawing/2014/main" id="{EE6B7675-DFB4-8F23-E4B1-72840E15EE8A}"/>
                </a:ext>
              </a:extLst>
            </p:cNvPr>
            <p:cNvSpPr/>
            <p:nvPr/>
          </p:nvSpPr>
          <p:spPr>
            <a:xfrm>
              <a:off x="4478547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4" name="Полілінія: фігура 953">
              <a:extLst>
                <a:ext uri="{FF2B5EF4-FFF2-40B4-BE49-F238E27FC236}">
                  <a16:creationId xmlns:a16="http://schemas.microsoft.com/office/drawing/2014/main" id="{9DF197AC-5BEA-E625-3197-5B6B8FF27EB5}"/>
                </a:ext>
              </a:extLst>
            </p:cNvPr>
            <p:cNvSpPr/>
            <p:nvPr/>
          </p:nvSpPr>
          <p:spPr>
            <a:xfrm>
              <a:off x="4607943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5" name="Полілінія: фігура 954">
              <a:extLst>
                <a:ext uri="{FF2B5EF4-FFF2-40B4-BE49-F238E27FC236}">
                  <a16:creationId xmlns:a16="http://schemas.microsoft.com/office/drawing/2014/main" id="{BFBB5580-6A07-7056-874D-EBBB8D7A5A9C}"/>
                </a:ext>
              </a:extLst>
            </p:cNvPr>
            <p:cNvSpPr/>
            <p:nvPr/>
          </p:nvSpPr>
          <p:spPr>
            <a:xfrm>
              <a:off x="4866735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6" name="Полілінія: фігура 955">
              <a:extLst>
                <a:ext uri="{FF2B5EF4-FFF2-40B4-BE49-F238E27FC236}">
                  <a16:creationId xmlns:a16="http://schemas.microsoft.com/office/drawing/2014/main" id="{0354CE9A-ECD1-FE2A-91E0-873F3F50FAB8}"/>
                </a:ext>
              </a:extLst>
            </p:cNvPr>
            <p:cNvSpPr/>
            <p:nvPr/>
          </p:nvSpPr>
          <p:spPr>
            <a:xfrm>
              <a:off x="5254924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7" name="Полілінія: фігура 956">
              <a:extLst>
                <a:ext uri="{FF2B5EF4-FFF2-40B4-BE49-F238E27FC236}">
                  <a16:creationId xmlns:a16="http://schemas.microsoft.com/office/drawing/2014/main" id="{9B180CAE-50E0-EEEA-0703-88BA2FFC70B7}"/>
                </a:ext>
              </a:extLst>
            </p:cNvPr>
            <p:cNvSpPr/>
            <p:nvPr/>
          </p:nvSpPr>
          <p:spPr>
            <a:xfrm>
              <a:off x="6031301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8" name="Полілінія: фігура 957">
              <a:extLst>
                <a:ext uri="{FF2B5EF4-FFF2-40B4-BE49-F238E27FC236}">
                  <a16:creationId xmlns:a16="http://schemas.microsoft.com/office/drawing/2014/main" id="{FFC3C0AA-8F08-C91F-CAEA-FEFF52B6DC26}"/>
                </a:ext>
              </a:extLst>
            </p:cNvPr>
            <p:cNvSpPr/>
            <p:nvPr/>
          </p:nvSpPr>
          <p:spPr>
            <a:xfrm>
              <a:off x="6678283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59" name="Полілінія: фігура 958">
              <a:extLst>
                <a:ext uri="{FF2B5EF4-FFF2-40B4-BE49-F238E27FC236}">
                  <a16:creationId xmlns:a16="http://schemas.microsoft.com/office/drawing/2014/main" id="{C8C8445C-D627-F217-CD15-19BDF4EE6353}"/>
                </a:ext>
              </a:extLst>
            </p:cNvPr>
            <p:cNvSpPr/>
            <p:nvPr/>
          </p:nvSpPr>
          <p:spPr>
            <a:xfrm>
              <a:off x="6937075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0" name="Полілінія: фігура 959">
              <a:extLst>
                <a:ext uri="{FF2B5EF4-FFF2-40B4-BE49-F238E27FC236}">
                  <a16:creationId xmlns:a16="http://schemas.microsoft.com/office/drawing/2014/main" id="{D11EDC3C-8B42-51CE-AD51-47097D3F6127}"/>
                </a:ext>
              </a:extLst>
            </p:cNvPr>
            <p:cNvSpPr/>
            <p:nvPr/>
          </p:nvSpPr>
          <p:spPr>
            <a:xfrm>
              <a:off x="7066471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1" name="Полілінія: фігура 960">
              <a:extLst>
                <a:ext uri="{FF2B5EF4-FFF2-40B4-BE49-F238E27FC236}">
                  <a16:creationId xmlns:a16="http://schemas.microsoft.com/office/drawing/2014/main" id="{A8CB853C-89A1-FC1D-E8F6-067426A2770E}"/>
                </a:ext>
              </a:extLst>
            </p:cNvPr>
            <p:cNvSpPr/>
            <p:nvPr/>
          </p:nvSpPr>
          <p:spPr>
            <a:xfrm>
              <a:off x="7195867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2" name="Полілінія: фігура 961">
              <a:extLst>
                <a:ext uri="{FF2B5EF4-FFF2-40B4-BE49-F238E27FC236}">
                  <a16:creationId xmlns:a16="http://schemas.microsoft.com/office/drawing/2014/main" id="{CB907EAC-F0D3-890D-D798-1ABAD5C96F6D}"/>
                </a:ext>
              </a:extLst>
            </p:cNvPr>
            <p:cNvSpPr/>
            <p:nvPr/>
          </p:nvSpPr>
          <p:spPr>
            <a:xfrm>
              <a:off x="7325264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3" name="Полілінія: фігура 962">
              <a:extLst>
                <a:ext uri="{FF2B5EF4-FFF2-40B4-BE49-F238E27FC236}">
                  <a16:creationId xmlns:a16="http://schemas.microsoft.com/office/drawing/2014/main" id="{7F72B8B1-3A58-087E-F625-DA282B208EDC}"/>
                </a:ext>
              </a:extLst>
            </p:cNvPr>
            <p:cNvSpPr/>
            <p:nvPr/>
          </p:nvSpPr>
          <p:spPr>
            <a:xfrm>
              <a:off x="7584056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4" name="Полілінія: фігура 963">
              <a:extLst>
                <a:ext uri="{FF2B5EF4-FFF2-40B4-BE49-F238E27FC236}">
                  <a16:creationId xmlns:a16="http://schemas.microsoft.com/office/drawing/2014/main" id="{FCFFF510-9DF6-1548-8BDE-FA2B93F37F2A}"/>
                </a:ext>
              </a:extLst>
            </p:cNvPr>
            <p:cNvSpPr/>
            <p:nvPr/>
          </p:nvSpPr>
          <p:spPr>
            <a:xfrm>
              <a:off x="8231037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5" name="Полілінія: фігура 964">
              <a:extLst>
                <a:ext uri="{FF2B5EF4-FFF2-40B4-BE49-F238E27FC236}">
                  <a16:creationId xmlns:a16="http://schemas.microsoft.com/office/drawing/2014/main" id="{AC1A56F1-D579-F248-F67A-4B085B6C53A6}"/>
                </a:ext>
              </a:extLst>
            </p:cNvPr>
            <p:cNvSpPr/>
            <p:nvPr/>
          </p:nvSpPr>
          <p:spPr>
            <a:xfrm>
              <a:off x="8360433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6" name="Полілінія: фігура 965">
              <a:extLst>
                <a:ext uri="{FF2B5EF4-FFF2-40B4-BE49-F238E27FC236}">
                  <a16:creationId xmlns:a16="http://schemas.microsoft.com/office/drawing/2014/main" id="{80AC36AA-F15C-D95C-3338-DAC11CA0B0AD}"/>
                </a:ext>
              </a:extLst>
            </p:cNvPr>
            <p:cNvSpPr/>
            <p:nvPr/>
          </p:nvSpPr>
          <p:spPr>
            <a:xfrm>
              <a:off x="8489830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7" name="Полілінія: фігура 966">
              <a:extLst>
                <a:ext uri="{FF2B5EF4-FFF2-40B4-BE49-F238E27FC236}">
                  <a16:creationId xmlns:a16="http://schemas.microsoft.com/office/drawing/2014/main" id="{04CEE7F9-4D3C-9BEA-3910-8502A15ED92C}"/>
                </a:ext>
              </a:extLst>
            </p:cNvPr>
            <p:cNvSpPr/>
            <p:nvPr/>
          </p:nvSpPr>
          <p:spPr>
            <a:xfrm>
              <a:off x="8878018" y="504645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8" name="Полілінія: фігура 967">
              <a:extLst>
                <a:ext uri="{FF2B5EF4-FFF2-40B4-BE49-F238E27FC236}">
                  <a16:creationId xmlns:a16="http://schemas.microsoft.com/office/drawing/2014/main" id="{54454AD9-79F4-C7CF-56AE-B05595CDC56D}"/>
                </a:ext>
              </a:extLst>
            </p:cNvPr>
            <p:cNvSpPr/>
            <p:nvPr/>
          </p:nvSpPr>
          <p:spPr>
            <a:xfrm>
              <a:off x="3055188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69" name="Полілінія: фігура 968">
              <a:extLst>
                <a:ext uri="{FF2B5EF4-FFF2-40B4-BE49-F238E27FC236}">
                  <a16:creationId xmlns:a16="http://schemas.microsoft.com/office/drawing/2014/main" id="{78620390-B42F-748B-2EE6-6AEE6D189F55}"/>
                </a:ext>
              </a:extLst>
            </p:cNvPr>
            <p:cNvSpPr/>
            <p:nvPr/>
          </p:nvSpPr>
          <p:spPr>
            <a:xfrm>
              <a:off x="3572773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0" name="Полілінія: фігура 969">
              <a:extLst>
                <a:ext uri="{FF2B5EF4-FFF2-40B4-BE49-F238E27FC236}">
                  <a16:creationId xmlns:a16="http://schemas.microsoft.com/office/drawing/2014/main" id="{6A04F621-9304-F883-22D8-43263DE7D85E}"/>
                </a:ext>
              </a:extLst>
            </p:cNvPr>
            <p:cNvSpPr/>
            <p:nvPr/>
          </p:nvSpPr>
          <p:spPr>
            <a:xfrm>
              <a:off x="3702169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1" name="Полілінія: фігура 970">
              <a:extLst>
                <a:ext uri="{FF2B5EF4-FFF2-40B4-BE49-F238E27FC236}">
                  <a16:creationId xmlns:a16="http://schemas.microsoft.com/office/drawing/2014/main" id="{DD9CC394-876F-01AA-5ACB-9390570728C6}"/>
                </a:ext>
              </a:extLst>
            </p:cNvPr>
            <p:cNvSpPr/>
            <p:nvPr/>
          </p:nvSpPr>
          <p:spPr>
            <a:xfrm>
              <a:off x="3831566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2" name="Полілінія: фігура 971">
              <a:extLst>
                <a:ext uri="{FF2B5EF4-FFF2-40B4-BE49-F238E27FC236}">
                  <a16:creationId xmlns:a16="http://schemas.microsoft.com/office/drawing/2014/main" id="{9E3FED86-622C-1C0A-5D79-B97A2136A5AC}"/>
                </a:ext>
              </a:extLst>
            </p:cNvPr>
            <p:cNvSpPr/>
            <p:nvPr/>
          </p:nvSpPr>
          <p:spPr>
            <a:xfrm>
              <a:off x="3960962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3" name="Полілінія: фігура 972">
              <a:extLst>
                <a:ext uri="{FF2B5EF4-FFF2-40B4-BE49-F238E27FC236}">
                  <a16:creationId xmlns:a16="http://schemas.microsoft.com/office/drawing/2014/main" id="{4996C1F6-0476-73FC-7EFC-AA80BD0D370F}"/>
                </a:ext>
              </a:extLst>
            </p:cNvPr>
            <p:cNvSpPr/>
            <p:nvPr/>
          </p:nvSpPr>
          <p:spPr>
            <a:xfrm>
              <a:off x="4090358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4" name="Полілінія: фігура 973">
              <a:extLst>
                <a:ext uri="{FF2B5EF4-FFF2-40B4-BE49-F238E27FC236}">
                  <a16:creationId xmlns:a16="http://schemas.microsoft.com/office/drawing/2014/main" id="{89620519-4D80-89F7-3080-DE17A63D2685}"/>
                </a:ext>
              </a:extLst>
            </p:cNvPr>
            <p:cNvSpPr/>
            <p:nvPr/>
          </p:nvSpPr>
          <p:spPr>
            <a:xfrm>
              <a:off x="4349150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5" name="Полілінія: фігура 974">
              <a:extLst>
                <a:ext uri="{FF2B5EF4-FFF2-40B4-BE49-F238E27FC236}">
                  <a16:creationId xmlns:a16="http://schemas.microsoft.com/office/drawing/2014/main" id="{B12E0919-3415-6346-F4D3-F92C4AF5DD76}"/>
                </a:ext>
              </a:extLst>
            </p:cNvPr>
            <p:cNvSpPr/>
            <p:nvPr/>
          </p:nvSpPr>
          <p:spPr>
            <a:xfrm>
              <a:off x="4737339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6" name="Полілінія: фігура 975">
              <a:extLst>
                <a:ext uri="{FF2B5EF4-FFF2-40B4-BE49-F238E27FC236}">
                  <a16:creationId xmlns:a16="http://schemas.microsoft.com/office/drawing/2014/main" id="{204A3478-E352-AF3F-4ADC-EC99F628F8FC}"/>
                </a:ext>
              </a:extLst>
            </p:cNvPr>
            <p:cNvSpPr/>
            <p:nvPr/>
          </p:nvSpPr>
          <p:spPr>
            <a:xfrm>
              <a:off x="4866735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7" name="Полілінія: фігура 976">
              <a:extLst>
                <a:ext uri="{FF2B5EF4-FFF2-40B4-BE49-F238E27FC236}">
                  <a16:creationId xmlns:a16="http://schemas.microsoft.com/office/drawing/2014/main" id="{F0CF984D-25CE-3E35-2630-3E039D1079A7}"/>
                </a:ext>
              </a:extLst>
            </p:cNvPr>
            <p:cNvSpPr/>
            <p:nvPr/>
          </p:nvSpPr>
          <p:spPr>
            <a:xfrm>
              <a:off x="5125528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8" name="Полілінія: фігура 977">
              <a:extLst>
                <a:ext uri="{FF2B5EF4-FFF2-40B4-BE49-F238E27FC236}">
                  <a16:creationId xmlns:a16="http://schemas.microsoft.com/office/drawing/2014/main" id="{36FAEC5D-20C3-C0CF-F152-BB6FE7EE0E07}"/>
                </a:ext>
              </a:extLst>
            </p:cNvPr>
            <p:cNvSpPr/>
            <p:nvPr/>
          </p:nvSpPr>
          <p:spPr>
            <a:xfrm>
              <a:off x="5254924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79" name="Полілінія: фігура 978">
              <a:extLst>
                <a:ext uri="{FF2B5EF4-FFF2-40B4-BE49-F238E27FC236}">
                  <a16:creationId xmlns:a16="http://schemas.microsoft.com/office/drawing/2014/main" id="{E2B18B4F-161C-04C1-7FF9-78EB52918585}"/>
                </a:ext>
              </a:extLst>
            </p:cNvPr>
            <p:cNvSpPr/>
            <p:nvPr/>
          </p:nvSpPr>
          <p:spPr>
            <a:xfrm>
              <a:off x="5643113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0" name="Полілінія: фігура 979">
              <a:extLst>
                <a:ext uri="{FF2B5EF4-FFF2-40B4-BE49-F238E27FC236}">
                  <a16:creationId xmlns:a16="http://schemas.microsoft.com/office/drawing/2014/main" id="{823A8B85-D78F-7102-460E-79A231F0F2BC}"/>
                </a:ext>
              </a:extLst>
            </p:cNvPr>
            <p:cNvSpPr/>
            <p:nvPr/>
          </p:nvSpPr>
          <p:spPr>
            <a:xfrm>
              <a:off x="5772509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1" name="Полілінія: фігура 980">
              <a:extLst>
                <a:ext uri="{FF2B5EF4-FFF2-40B4-BE49-F238E27FC236}">
                  <a16:creationId xmlns:a16="http://schemas.microsoft.com/office/drawing/2014/main" id="{D6692E89-E097-5A90-C2B5-9223BFBF15A4}"/>
                </a:ext>
              </a:extLst>
            </p:cNvPr>
            <p:cNvSpPr/>
            <p:nvPr/>
          </p:nvSpPr>
          <p:spPr>
            <a:xfrm>
              <a:off x="6160698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2" name="Полілінія: фігура 981">
              <a:extLst>
                <a:ext uri="{FF2B5EF4-FFF2-40B4-BE49-F238E27FC236}">
                  <a16:creationId xmlns:a16="http://schemas.microsoft.com/office/drawing/2014/main" id="{6CF6F8BE-EE34-21E8-B1E5-D6AD9D6D631F}"/>
                </a:ext>
              </a:extLst>
            </p:cNvPr>
            <p:cNvSpPr/>
            <p:nvPr/>
          </p:nvSpPr>
          <p:spPr>
            <a:xfrm>
              <a:off x="6290094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3" name="Полілінія: фігура 982">
              <a:extLst>
                <a:ext uri="{FF2B5EF4-FFF2-40B4-BE49-F238E27FC236}">
                  <a16:creationId xmlns:a16="http://schemas.microsoft.com/office/drawing/2014/main" id="{A573B07E-9B92-DCA3-5564-BC0C80ADB1CD}"/>
                </a:ext>
              </a:extLst>
            </p:cNvPr>
            <p:cNvSpPr/>
            <p:nvPr/>
          </p:nvSpPr>
          <p:spPr>
            <a:xfrm>
              <a:off x="6419490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4" name="Полілінія: фігура 983">
              <a:extLst>
                <a:ext uri="{FF2B5EF4-FFF2-40B4-BE49-F238E27FC236}">
                  <a16:creationId xmlns:a16="http://schemas.microsoft.com/office/drawing/2014/main" id="{792AF89B-03EB-B51D-3692-10CD15E3F1E2}"/>
                </a:ext>
              </a:extLst>
            </p:cNvPr>
            <p:cNvSpPr/>
            <p:nvPr/>
          </p:nvSpPr>
          <p:spPr>
            <a:xfrm>
              <a:off x="6678283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5" name="Полілінія: фігура 984">
              <a:extLst>
                <a:ext uri="{FF2B5EF4-FFF2-40B4-BE49-F238E27FC236}">
                  <a16:creationId xmlns:a16="http://schemas.microsoft.com/office/drawing/2014/main" id="{D6F2EC1B-62BF-33D7-7364-8E8974695C2E}"/>
                </a:ext>
              </a:extLst>
            </p:cNvPr>
            <p:cNvSpPr/>
            <p:nvPr/>
          </p:nvSpPr>
          <p:spPr>
            <a:xfrm>
              <a:off x="6807679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6" name="Полілінія: фігура 985">
              <a:extLst>
                <a:ext uri="{FF2B5EF4-FFF2-40B4-BE49-F238E27FC236}">
                  <a16:creationId xmlns:a16="http://schemas.microsoft.com/office/drawing/2014/main" id="{D447F75A-717D-1C99-B61C-ED87788C0A8D}"/>
                </a:ext>
              </a:extLst>
            </p:cNvPr>
            <p:cNvSpPr/>
            <p:nvPr/>
          </p:nvSpPr>
          <p:spPr>
            <a:xfrm>
              <a:off x="7325264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7" name="Полілінія: фігура 986">
              <a:extLst>
                <a:ext uri="{FF2B5EF4-FFF2-40B4-BE49-F238E27FC236}">
                  <a16:creationId xmlns:a16="http://schemas.microsoft.com/office/drawing/2014/main" id="{3F3C2690-369F-0F50-0686-8D29B96D78F9}"/>
                </a:ext>
              </a:extLst>
            </p:cNvPr>
            <p:cNvSpPr/>
            <p:nvPr/>
          </p:nvSpPr>
          <p:spPr>
            <a:xfrm>
              <a:off x="7454660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8" name="Полілінія: фігура 987">
              <a:extLst>
                <a:ext uri="{FF2B5EF4-FFF2-40B4-BE49-F238E27FC236}">
                  <a16:creationId xmlns:a16="http://schemas.microsoft.com/office/drawing/2014/main" id="{0F7A2C35-80F6-689E-EB1E-90E614EC96D7}"/>
                </a:ext>
              </a:extLst>
            </p:cNvPr>
            <p:cNvSpPr/>
            <p:nvPr/>
          </p:nvSpPr>
          <p:spPr>
            <a:xfrm>
              <a:off x="7584056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89" name="Полілінія: фігура 988">
              <a:extLst>
                <a:ext uri="{FF2B5EF4-FFF2-40B4-BE49-F238E27FC236}">
                  <a16:creationId xmlns:a16="http://schemas.microsoft.com/office/drawing/2014/main" id="{AC6C166A-E154-7C22-2210-14BBFD8CF773}"/>
                </a:ext>
              </a:extLst>
            </p:cNvPr>
            <p:cNvSpPr/>
            <p:nvPr/>
          </p:nvSpPr>
          <p:spPr>
            <a:xfrm>
              <a:off x="8101641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0" name="Полілінія: фігура 989">
              <a:extLst>
                <a:ext uri="{FF2B5EF4-FFF2-40B4-BE49-F238E27FC236}">
                  <a16:creationId xmlns:a16="http://schemas.microsoft.com/office/drawing/2014/main" id="{0939BDDB-5746-3910-FA82-74F6C9CD9E8B}"/>
                </a:ext>
              </a:extLst>
            </p:cNvPr>
            <p:cNvSpPr/>
            <p:nvPr/>
          </p:nvSpPr>
          <p:spPr>
            <a:xfrm>
              <a:off x="8619226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1" name="Полілінія: фігура 990">
              <a:extLst>
                <a:ext uri="{FF2B5EF4-FFF2-40B4-BE49-F238E27FC236}">
                  <a16:creationId xmlns:a16="http://schemas.microsoft.com/office/drawing/2014/main" id="{B4781000-C5F2-BBD5-EAAC-E6182005C255}"/>
                </a:ext>
              </a:extLst>
            </p:cNvPr>
            <p:cNvSpPr/>
            <p:nvPr/>
          </p:nvSpPr>
          <p:spPr>
            <a:xfrm>
              <a:off x="9007415" y="5175849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2" name="Полілінія: фігура 991">
              <a:extLst>
                <a:ext uri="{FF2B5EF4-FFF2-40B4-BE49-F238E27FC236}">
                  <a16:creationId xmlns:a16="http://schemas.microsoft.com/office/drawing/2014/main" id="{C2BF942D-D8DE-4201-2352-2F334A432F63}"/>
                </a:ext>
              </a:extLst>
            </p:cNvPr>
            <p:cNvSpPr/>
            <p:nvPr/>
          </p:nvSpPr>
          <p:spPr>
            <a:xfrm>
              <a:off x="3055188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3" name="Полілінія: фігура 992">
              <a:extLst>
                <a:ext uri="{FF2B5EF4-FFF2-40B4-BE49-F238E27FC236}">
                  <a16:creationId xmlns:a16="http://schemas.microsoft.com/office/drawing/2014/main" id="{66A59964-70CA-93BE-21F8-709777303916}"/>
                </a:ext>
              </a:extLst>
            </p:cNvPr>
            <p:cNvSpPr/>
            <p:nvPr/>
          </p:nvSpPr>
          <p:spPr>
            <a:xfrm>
              <a:off x="3184584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4" name="Полілінія: фігура 993">
              <a:extLst>
                <a:ext uri="{FF2B5EF4-FFF2-40B4-BE49-F238E27FC236}">
                  <a16:creationId xmlns:a16="http://schemas.microsoft.com/office/drawing/2014/main" id="{6BEB3A08-0B18-B9CC-B547-C122267BCF56}"/>
                </a:ext>
              </a:extLst>
            </p:cNvPr>
            <p:cNvSpPr/>
            <p:nvPr/>
          </p:nvSpPr>
          <p:spPr>
            <a:xfrm>
              <a:off x="3313981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5" name="Полілінія: фігура 994">
              <a:extLst>
                <a:ext uri="{FF2B5EF4-FFF2-40B4-BE49-F238E27FC236}">
                  <a16:creationId xmlns:a16="http://schemas.microsoft.com/office/drawing/2014/main" id="{B57F995C-F35D-4D79-6D1B-AF1034C871E4}"/>
                </a:ext>
              </a:extLst>
            </p:cNvPr>
            <p:cNvSpPr/>
            <p:nvPr/>
          </p:nvSpPr>
          <p:spPr>
            <a:xfrm>
              <a:off x="3960962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6" name="Полілінія: фігура 995">
              <a:extLst>
                <a:ext uri="{FF2B5EF4-FFF2-40B4-BE49-F238E27FC236}">
                  <a16:creationId xmlns:a16="http://schemas.microsoft.com/office/drawing/2014/main" id="{99466844-88AE-B87D-DBAF-1C362247631C}"/>
                </a:ext>
              </a:extLst>
            </p:cNvPr>
            <p:cNvSpPr/>
            <p:nvPr/>
          </p:nvSpPr>
          <p:spPr>
            <a:xfrm>
              <a:off x="4090358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7" name="Полілінія: фігура 996">
              <a:extLst>
                <a:ext uri="{FF2B5EF4-FFF2-40B4-BE49-F238E27FC236}">
                  <a16:creationId xmlns:a16="http://schemas.microsoft.com/office/drawing/2014/main" id="{BA522E22-ADC2-FB9E-3D78-319541EB324C}"/>
                </a:ext>
              </a:extLst>
            </p:cNvPr>
            <p:cNvSpPr/>
            <p:nvPr/>
          </p:nvSpPr>
          <p:spPr>
            <a:xfrm>
              <a:off x="4478547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8" name="Полілінія: фігура 997">
              <a:extLst>
                <a:ext uri="{FF2B5EF4-FFF2-40B4-BE49-F238E27FC236}">
                  <a16:creationId xmlns:a16="http://schemas.microsoft.com/office/drawing/2014/main" id="{C5528E29-014C-E4C9-A071-432B20172939}"/>
                </a:ext>
              </a:extLst>
            </p:cNvPr>
            <p:cNvSpPr/>
            <p:nvPr/>
          </p:nvSpPr>
          <p:spPr>
            <a:xfrm>
              <a:off x="4607943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999" name="Полілінія: фігура 998">
              <a:extLst>
                <a:ext uri="{FF2B5EF4-FFF2-40B4-BE49-F238E27FC236}">
                  <a16:creationId xmlns:a16="http://schemas.microsoft.com/office/drawing/2014/main" id="{4F9AA051-34CE-9E2F-D30A-085EC386EDF5}"/>
                </a:ext>
              </a:extLst>
            </p:cNvPr>
            <p:cNvSpPr/>
            <p:nvPr/>
          </p:nvSpPr>
          <p:spPr>
            <a:xfrm>
              <a:off x="4737339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0" name="Полілінія: фігура 999">
              <a:extLst>
                <a:ext uri="{FF2B5EF4-FFF2-40B4-BE49-F238E27FC236}">
                  <a16:creationId xmlns:a16="http://schemas.microsoft.com/office/drawing/2014/main" id="{5B0C42BC-1701-6469-65A1-BDD132F65A9D}"/>
                </a:ext>
              </a:extLst>
            </p:cNvPr>
            <p:cNvSpPr/>
            <p:nvPr/>
          </p:nvSpPr>
          <p:spPr>
            <a:xfrm>
              <a:off x="4996132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1" name="Полілінія: фігура 1000">
              <a:extLst>
                <a:ext uri="{FF2B5EF4-FFF2-40B4-BE49-F238E27FC236}">
                  <a16:creationId xmlns:a16="http://schemas.microsoft.com/office/drawing/2014/main" id="{239EEF7B-E203-1BC0-FF2E-37E97414860E}"/>
                </a:ext>
              </a:extLst>
            </p:cNvPr>
            <p:cNvSpPr/>
            <p:nvPr/>
          </p:nvSpPr>
          <p:spPr>
            <a:xfrm>
              <a:off x="5125528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2" name="Полілінія: фігура 1001">
              <a:extLst>
                <a:ext uri="{FF2B5EF4-FFF2-40B4-BE49-F238E27FC236}">
                  <a16:creationId xmlns:a16="http://schemas.microsoft.com/office/drawing/2014/main" id="{ECBF298B-3106-AAD7-7FE7-8FFF1D03D153}"/>
                </a:ext>
              </a:extLst>
            </p:cNvPr>
            <p:cNvSpPr/>
            <p:nvPr/>
          </p:nvSpPr>
          <p:spPr>
            <a:xfrm>
              <a:off x="5254924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3" name="Полілінія: фігура 1002">
              <a:extLst>
                <a:ext uri="{FF2B5EF4-FFF2-40B4-BE49-F238E27FC236}">
                  <a16:creationId xmlns:a16="http://schemas.microsoft.com/office/drawing/2014/main" id="{8CA4C072-B05F-398B-4F1B-E3DA9DEF48FE}"/>
                </a:ext>
              </a:extLst>
            </p:cNvPr>
            <p:cNvSpPr/>
            <p:nvPr/>
          </p:nvSpPr>
          <p:spPr>
            <a:xfrm>
              <a:off x="5513716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4" name="Полілінія: фігура 1003">
              <a:extLst>
                <a:ext uri="{FF2B5EF4-FFF2-40B4-BE49-F238E27FC236}">
                  <a16:creationId xmlns:a16="http://schemas.microsoft.com/office/drawing/2014/main" id="{84569B83-9366-F12C-CA86-B28E66C74F77}"/>
                </a:ext>
              </a:extLst>
            </p:cNvPr>
            <p:cNvSpPr/>
            <p:nvPr/>
          </p:nvSpPr>
          <p:spPr>
            <a:xfrm>
              <a:off x="6031301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5" name="Полілінія: фігура 1004">
              <a:extLst>
                <a:ext uri="{FF2B5EF4-FFF2-40B4-BE49-F238E27FC236}">
                  <a16:creationId xmlns:a16="http://schemas.microsoft.com/office/drawing/2014/main" id="{ACC62644-D045-32B9-A44F-7B1694EC6EAC}"/>
                </a:ext>
              </a:extLst>
            </p:cNvPr>
            <p:cNvSpPr/>
            <p:nvPr/>
          </p:nvSpPr>
          <p:spPr>
            <a:xfrm>
              <a:off x="6160698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6" name="Полілінія: фігура 1005">
              <a:extLst>
                <a:ext uri="{FF2B5EF4-FFF2-40B4-BE49-F238E27FC236}">
                  <a16:creationId xmlns:a16="http://schemas.microsoft.com/office/drawing/2014/main" id="{34B3B5C3-1999-7275-7030-8E6C8936EB43}"/>
                </a:ext>
              </a:extLst>
            </p:cNvPr>
            <p:cNvSpPr/>
            <p:nvPr/>
          </p:nvSpPr>
          <p:spPr>
            <a:xfrm>
              <a:off x="6807679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7" name="Полілінія: фігура 1006">
              <a:extLst>
                <a:ext uri="{FF2B5EF4-FFF2-40B4-BE49-F238E27FC236}">
                  <a16:creationId xmlns:a16="http://schemas.microsoft.com/office/drawing/2014/main" id="{207EE400-D587-B887-3A84-6E2F7B670328}"/>
                </a:ext>
              </a:extLst>
            </p:cNvPr>
            <p:cNvSpPr/>
            <p:nvPr/>
          </p:nvSpPr>
          <p:spPr>
            <a:xfrm>
              <a:off x="6937075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8" name="Полілінія: фігура 1007">
              <a:extLst>
                <a:ext uri="{FF2B5EF4-FFF2-40B4-BE49-F238E27FC236}">
                  <a16:creationId xmlns:a16="http://schemas.microsoft.com/office/drawing/2014/main" id="{ED8ADA65-AFE0-1AF4-A7F0-E3DDD8C9007F}"/>
                </a:ext>
              </a:extLst>
            </p:cNvPr>
            <p:cNvSpPr/>
            <p:nvPr/>
          </p:nvSpPr>
          <p:spPr>
            <a:xfrm>
              <a:off x="7195867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09" name="Полілінія: фігура 1008">
              <a:extLst>
                <a:ext uri="{FF2B5EF4-FFF2-40B4-BE49-F238E27FC236}">
                  <a16:creationId xmlns:a16="http://schemas.microsoft.com/office/drawing/2014/main" id="{7F84FBA8-5914-03D7-4BC1-C6F6D828E782}"/>
                </a:ext>
              </a:extLst>
            </p:cNvPr>
            <p:cNvSpPr/>
            <p:nvPr/>
          </p:nvSpPr>
          <p:spPr>
            <a:xfrm>
              <a:off x="7713452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0" name="Полілінія: фігура 1009">
              <a:extLst>
                <a:ext uri="{FF2B5EF4-FFF2-40B4-BE49-F238E27FC236}">
                  <a16:creationId xmlns:a16="http://schemas.microsoft.com/office/drawing/2014/main" id="{92929657-EB85-FF43-D557-4C9DC6D10676}"/>
                </a:ext>
              </a:extLst>
            </p:cNvPr>
            <p:cNvSpPr/>
            <p:nvPr/>
          </p:nvSpPr>
          <p:spPr>
            <a:xfrm>
              <a:off x="7972245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1" name="Полілінія: фігура 1010">
              <a:extLst>
                <a:ext uri="{FF2B5EF4-FFF2-40B4-BE49-F238E27FC236}">
                  <a16:creationId xmlns:a16="http://schemas.microsoft.com/office/drawing/2014/main" id="{37251E41-9239-7393-43BE-BDD6107B1D92}"/>
                </a:ext>
              </a:extLst>
            </p:cNvPr>
            <p:cNvSpPr/>
            <p:nvPr/>
          </p:nvSpPr>
          <p:spPr>
            <a:xfrm>
              <a:off x="8748622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2" name="Полілінія: фігура 1011">
              <a:extLst>
                <a:ext uri="{FF2B5EF4-FFF2-40B4-BE49-F238E27FC236}">
                  <a16:creationId xmlns:a16="http://schemas.microsoft.com/office/drawing/2014/main" id="{2ADF271C-EC8A-BAC2-EE0A-1E0F1AB9F516}"/>
                </a:ext>
              </a:extLst>
            </p:cNvPr>
            <p:cNvSpPr/>
            <p:nvPr/>
          </p:nvSpPr>
          <p:spPr>
            <a:xfrm>
              <a:off x="9007415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3" name="Полілінія: фігура 1012">
              <a:extLst>
                <a:ext uri="{FF2B5EF4-FFF2-40B4-BE49-F238E27FC236}">
                  <a16:creationId xmlns:a16="http://schemas.microsoft.com/office/drawing/2014/main" id="{A4E12268-2CD8-FAB5-0111-83572AF53EB6}"/>
                </a:ext>
              </a:extLst>
            </p:cNvPr>
            <p:cNvSpPr/>
            <p:nvPr/>
          </p:nvSpPr>
          <p:spPr>
            <a:xfrm>
              <a:off x="9136811" y="530524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4" name="Полілінія: фігура 1013">
              <a:extLst>
                <a:ext uri="{FF2B5EF4-FFF2-40B4-BE49-F238E27FC236}">
                  <a16:creationId xmlns:a16="http://schemas.microsoft.com/office/drawing/2014/main" id="{849E60AF-D034-F381-75CD-CDC31E493FE1}"/>
                </a:ext>
              </a:extLst>
            </p:cNvPr>
            <p:cNvSpPr/>
            <p:nvPr/>
          </p:nvSpPr>
          <p:spPr>
            <a:xfrm>
              <a:off x="2925792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5" name="Полілінія: фігура 1014">
              <a:extLst>
                <a:ext uri="{FF2B5EF4-FFF2-40B4-BE49-F238E27FC236}">
                  <a16:creationId xmlns:a16="http://schemas.microsoft.com/office/drawing/2014/main" id="{691EC5C5-220C-699D-1098-AC322D4A4BFF}"/>
                </a:ext>
              </a:extLst>
            </p:cNvPr>
            <p:cNvSpPr/>
            <p:nvPr/>
          </p:nvSpPr>
          <p:spPr>
            <a:xfrm>
              <a:off x="3055188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6" name="Полілінія: фігура 1015">
              <a:extLst>
                <a:ext uri="{FF2B5EF4-FFF2-40B4-BE49-F238E27FC236}">
                  <a16:creationId xmlns:a16="http://schemas.microsoft.com/office/drawing/2014/main" id="{04CEB2E8-5C87-A140-68E5-31285AE520A9}"/>
                </a:ext>
              </a:extLst>
            </p:cNvPr>
            <p:cNvSpPr/>
            <p:nvPr/>
          </p:nvSpPr>
          <p:spPr>
            <a:xfrm>
              <a:off x="3184584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7" name="Полілінія: фігура 1016">
              <a:extLst>
                <a:ext uri="{FF2B5EF4-FFF2-40B4-BE49-F238E27FC236}">
                  <a16:creationId xmlns:a16="http://schemas.microsoft.com/office/drawing/2014/main" id="{1E3D5F27-E8D5-DD24-EA6C-E4C0AA9E8BBD}"/>
                </a:ext>
              </a:extLst>
            </p:cNvPr>
            <p:cNvSpPr/>
            <p:nvPr/>
          </p:nvSpPr>
          <p:spPr>
            <a:xfrm>
              <a:off x="3702169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8" name="Полілінія: фігура 1017">
              <a:extLst>
                <a:ext uri="{FF2B5EF4-FFF2-40B4-BE49-F238E27FC236}">
                  <a16:creationId xmlns:a16="http://schemas.microsoft.com/office/drawing/2014/main" id="{6BC676D0-6C85-8F32-2BE6-E3329AFE5689}"/>
                </a:ext>
              </a:extLst>
            </p:cNvPr>
            <p:cNvSpPr/>
            <p:nvPr/>
          </p:nvSpPr>
          <p:spPr>
            <a:xfrm>
              <a:off x="3831566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19" name="Полілінія: фігура 1018">
              <a:extLst>
                <a:ext uri="{FF2B5EF4-FFF2-40B4-BE49-F238E27FC236}">
                  <a16:creationId xmlns:a16="http://schemas.microsoft.com/office/drawing/2014/main" id="{3BCDE27D-D99E-662C-73DA-64829571F1DC}"/>
                </a:ext>
              </a:extLst>
            </p:cNvPr>
            <p:cNvSpPr/>
            <p:nvPr/>
          </p:nvSpPr>
          <p:spPr>
            <a:xfrm>
              <a:off x="4090358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0" name="Полілінія: фігура 1019">
              <a:extLst>
                <a:ext uri="{FF2B5EF4-FFF2-40B4-BE49-F238E27FC236}">
                  <a16:creationId xmlns:a16="http://schemas.microsoft.com/office/drawing/2014/main" id="{587BE21A-518A-960E-0697-9DBA94B8E2E9}"/>
                </a:ext>
              </a:extLst>
            </p:cNvPr>
            <p:cNvSpPr/>
            <p:nvPr/>
          </p:nvSpPr>
          <p:spPr>
            <a:xfrm>
              <a:off x="4349150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1" name="Полілінія: фігура 1020">
              <a:extLst>
                <a:ext uri="{FF2B5EF4-FFF2-40B4-BE49-F238E27FC236}">
                  <a16:creationId xmlns:a16="http://schemas.microsoft.com/office/drawing/2014/main" id="{1FC10DC5-38AC-D16B-ED3A-08D6B4F14C61}"/>
                </a:ext>
              </a:extLst>
            </p:cNvPr>
            <p:cNvSpPr/>
            <p:nvPr/>
          </p:nvSpPr>
          <p:spPr>
            <a:xfrm>
              <a:off x="4478547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2" name="Полілінія: фігура 1021">
              <a:extLst>
                <a:ext uri="{FF2B5EF4-FFF2-40B4-BE49-F238E27FC236}">
                  <a16:creationId xmlns:a16="http://schemas.microsoft.com/office/drawing/2014/main" id="{358EA209-CDF5-34D1-F7B5-10D788ED24AC}"/>
                </a:ext>
              </a:extLst>
            </p:cNvPr>
            <p:cNvSpPr/>
            <p:nvPr/>
          </p:nvSpPr>
          <p:spPr>
            <a:xfrm>
              <a:off x="4996132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3" name="Полілінія: фігура 1022">
              <a:extLst>
                <a:ext uri="{FF2B5EF4-FFF2-40B4-BE49-F238E27FC236}">
                  <a16:creationId xmlns:a16="http://schemas.microsoft.com/office/drawing/2014/main" id="{427E87B7-B837-F9CE-7648-D2C805DA18AD}"/>
                </a:ext>
              </a:extLst>
            </p:cNvPr>
            <p:cNvSpPr/>
            <p:nvPr/>
          </p:nvSpPr>
          <p:spPr>
            <a:xfrm>
              <a:off x="5125528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4" name="Полілінія: фігура 1023">
              <a:extLst>
                <a:ext uri="{FF2B5EF4-FFF2-40B4-BE49-F238E27FC236}">
                  <a16:creationId xmlns:a16="http://schemas.microsoft.com/office/drawing/2014/main" id="{9F9EE610-1662-A056-00F2-5B9223350739}"/>
                </a:ext>
              </a:extLst>
            </p:cNvPr>
            <p:cNvSpPr/>
            <p:nvPr/>
          </p:nvSpPr>
          <p:spPr>
            <a:xfrm>
              <a:off x="5254924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5" name="Полілінія: фігура 1024">
              <a:extLst>
                <a:ext uri="{FF2B5EF4-FFF2-40B4-BE49-F238E27FC236}">
                  <a16:creationId xmlns:a16="http://schemas.microsoft.com/office/drawing/2014/main" id="{071B15D8-6410-9009-2FDB-73A9FBA6E3C4}"/>
                </a:ext>
              </a:extLst>
            </p:cNvPr>
            <p:cNvSpPr/>
            <p:nvPr/>
          </p:nvSpPr>
          <p:spPr>
            <a:xfrm>
              <a:off x="5384320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6" name="Полілінія: фігура 1025">
              <a:extLst>
                <a:ext uri="{FF2B5EF4-FFF2-40B4-BE49-F238E27FC236}">
                  <a16:creationId xmlns:a16="http://schemas.microsoft.com/office/drawing/2014/main" id="{8CCCFB7E-A340-B92E-6C5B-700D03F7C418}"/>
                </a:ext>
              </a:extLst>
            </p:cNvPr>
            <p:cNvSpPr/>
            <p:nvPr/>
          </p:nvSpPr>
          <p:spPr>
            <a:xfrm>
              <a:off x="5772509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7" name="Полілінія: фігура 1026">
              <a:extLst>
                <a:ext uri="{FF2B5EF4-FFF2-40B4-BE49-F238E27FC236}">
                  <a16:creationId xmlns:a16="http://schemas.microsoft.com/office/drawing/2014/main" id="{209D3596-6A7A-9848-A797-64EDC957DD12}"/>
                </a:ext>
              </a:extLst>
            </p:cNvPr>
            <p:cNvSpPr/>
            <p:nvPr/>
          </p:nvSpPr>
          <p:spPr>
            <a:xfrm>
              <a:off x="5901905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8" name="Полілінія: фігура 1027">
              <a:extLst>
                <a:ext uri="{FF2B5EF4-FFF2-40B4-BE49-F238E27FC236}">
                  <a16:creationId xmlns:a16="http://schemas.microsoft.com/office/drawing/2014/main" id="{FC87136E-60A0-9799-FA03-040F839D0268}"/>
                </a:ext>
              </a:extLst>
            </p:cNvPr>
            <p:cNvSpPr/>
            <p:nvPr/>
          </p:nvSpPr>
          <p:spPr>
            <a:xfrm>
              <a:off x="6031301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29" name="Полілінія: фігура 1028">
              <a:extLst>
                <a:ext uri="{FF2B5EF4-FFF2-40B4-BE49-F238E27FC236}">
                  <a16:creationId xmlns:a16="http://schemas.microsoft.com/office/drawing/2014/main" id="{6B9318DD-779F-7342-8455-E644E82CFF02}"/>
                </a:ext>
              </a:extLst>
            </p:cNvPr>
            <p:cNvSpPr/>
            <p:nvPr/>
          </p:nvSpPr>
          <p:spPr>
            <a:xfrm>
              <a:off x="6160698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0" name="Полілінія: фігура 1029">
              <a:extLst>
                <a:ext uri="{FF2B5EF4-FFF2-40B4-BE49-F238E27FC236}">
                  <a16:creationId xmlns:a16="http://schemas.microsoft.com/office/drawing/2014/main" id="{3DF0251B-42BA-B0B3-B447-7E57C6CF7C25}"/>
                </a:ext>
              </a:extLst>
            </p:cNvPr>
            <p:cNvSpPr/>
            <p:nvPr/>
          </p:nvSpPr>
          <p:spPr>
            <a:xfrm>
              <a:off x="6290094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1" name="Полілінія: фігура 1030">
              <a:extLst>
                <a:ext uri="{FF2B5EF4-FFF2-40B4-BE49-F238E27FC236}">
                  <a16:creationId xmlns:a16="http://schemas.microsoft.com/office/drawing/2014/main" id="{7A1FA7A9-B354-6A1F-A3C7-8457CE05A2B3}"/>
                </a:ext>
              </a:extLst>
            </p:cNvPr>
            <p:cNvSpPr/>
            <p:nvPr/>
          </p:nvSpPr>
          <p:spPr>
            <a:xfrm>
              <a:off x="6807679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2" name="Полілінія: фігура 1031">
              <a:extLst>
                <a:ext uri="{FF2B5EF4-FFF2-40B4-BE49-F238E27FC236}">
                  <a16:creationId xmlns:a16="http://schemas.microsoft.com/office/drawing/2014/main" id="{3389C1AC-027A-7CCE-E359-F23F5E375B6C}"/>
                </a:ext>
              </a:extLst>
            </p:cNvPr>
            <p:cNvSpPr/>
            <p:nvPr/>
          </p:nvSpPr>
          <p:spPr>
            <a:xfrm>
              <a:off x="7066471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3" name="Полілінія: фігура 1032">
              <a:extLst>
                <a:ext uri="{FF2B5EF4-FFF2-40B4-BE49-F238E27FC236}">
                  <a16:creationId xmlns:a16="http://schemas.microsoft.com/office/drawing/2014/main" id="{9EDF654D-CAD8-4642-24BB-BF40EFF3E588}"/>
                </a:ext>
              </a:extLst>
            </p:cNvPr>
            <p:cNvSpPr/>
            <p:nvPr/>
          </p:nvSpPr>
          <p:spPr>
            <a:xfrm>
              <a:off x="7195867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4" name="Полілінія: фігура 1033">
              <a:extLst>
                <a:ext uri="{FF2B5EF4-FFF2-40B4-BE49-F238E27FC236}">
                  <a16:creationId xmlns:a16="http://schemas.microsoft.com/office/drawing/2014/main" id="{665EB0CB-D343-5BB2-FFE9-6C24AB5D0DA6}"/>
                </a:ext>
              </a:extLst>
            </p:cNvPr>
            <p:cNvSpPr/>
            <p:nvPr/>
          </p:nvSpPr>
          <p:spPr>
            <a:xfrm>
              <a:off x="7454660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5" name="Полілінія: фігура 1034">
              <a:extLst>
                <a:ext uri="{FF2B5EF4-FFF2-40B4-BE49-F238E27FC236}">
                  <a16:creationId xmlns:a16="http://schemas.microsoft.com/office/drawing/2014/main" id="{A4BB583E-9D13-B1A7-FCD1-97D8833F0FE0}"/>
                </a:ext>
              </a:extLst>
            </p:cNvPr>
            <p:cNvSpPr/>
            <p:nvPr/>
          </p:nvSpPr>
          <p:spPr>
            <a:xfrm>
              <a:off x="7713452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6" name="Полілінія: фігура 1035">
              <a:extLst>
                <a:ext uri="{FF2B5EF4-FFF2-40B4-BE49-F238E27FC236}">
                  <a16:creationId xmlns:a16="http://schemas.microsoft.com/office/drawing/2014/main" id="{737CEF13-894E-2BCB-15C6-C9278DAB7F31}"/>
                </a:ext>
              </a:extLst>
            </p:cNvPr>
            <p:cNvSpPr/>
            <p:nvPr/>
          </p:nvSpPr>
          <p:spPr>
            <a:xfrm>
              <a:off x="7842849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7" name="Полілінія: фігура 1036">
              <a:extLst>
                <a:ext uri="{FF2B5EF4-FFF2-40B4-BE49-F238E27FC236}">
                  <a16:creationId xmlns:a16="http://schemas.microsoft.com/office/drawing/2014/main" id="{0F39820A-986C-4E1A-0192-C19C97E474F8}"/>
                </a:ext>
              </a:extLst>
            </p:cNvPr>
            <p:cNvSpPr/>
            <p:nvPr/>
          </p:nvSpPr>
          <p:spPr>
            <a:xfrm>
              <a:off x="8101641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8" name="Полілінія: фігура 1037">
              <a:extLst>
                <a:ext uri="{FF2B5EF4-FFF2-40B4-BE49-F238E27FC236}">
                  <a16:creationId xmlns:a16="http://schemas.microsoft.com/office/drawing/2014/main" id="{BB496498-694A-C4F8-39F0-E2CA5AAAFE27}"/>
                </a:ext>
              </a:extLst>
            </p:cNvPr>
            <p:cNvSpPr/>
            <p:nvPr/>
          </p:nvSpPr>
          <p:spPr>
            <a:xfrm>
              <a:off x="8231037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39" name="Полілінія: фігура 1038">
              <a:extLst>
                <a:ext uri="{FF2B5EF4-FFF2-40B4-BE49-F238E27FC236}">
                  <a16:creationId xmlns:a16="http://schemas.microsoft.com/office/drawing/2014/main" id="{8625EA6A-8A04-0DEB-E074-F339CD59E43B}"/>
                </a:ext>
              </a:extLst>
            </p:cNvPr>
            <p:cNvSpPr/>
            <p:nvPr/>
          </p:nvSpPr>
          <p:spPr>
            <a:xfrm>
              <a:off x="8360433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0" name="Полілінія: фігура 1039">
              <a:extLst>
                <a:ext uri="{FF2B5EF4-FFF2-40B4-BE49-F238E27FC236}">
                  <a16:creationId xmlns:a16="http://schemas.microsoft.com/office/drawing/2014/main" id="{F298B7BB-4307-346B-0105-F2C0C968516A}"/>
                </a:ext>
              </a:extLst>
            </p:cNvPr>
            <p:cNvSpPr/>
            <p:nvPr/>
          </p:nvSpPr>
          <p:spPr>
            <a:xfrm>
              <a:off x="8489830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1" name="Полілінія: фігура 1040">
              <a:extLst>
                <a:ext uri="{FF2B5EF4-FFF2-40B4-BE49-F238E27FC236}">
                  <a16:creationId xmlns:a16="http://schemas.microsoft.com/office/drawing/2014/main" id="{D5CC34FA-6950-883E-E9C4-5731BBCF3F79}"/>
                </a:ext>
              </a:extLst>
            </p:cNvPr>
            <p:cNvSpPr/>
            <p:nvPr/>
          </p:nvSpPr>
          <p:spPr>
            <a:xfrm>
              <a:off x="8619226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2" name="Полілінія: фігура 1041">
              <a:extLst>
                <a:ext uri="{FF2B5EF4-FFF2-40B4-BE49-F238E27FC236}">
                  <a16:creationId xmlns:a16="http://schemas.microsoft.com/office/drawing/2014/main" id="{F3D362E0-3562-4228-71F8-91C4B705C66D}"/>
                </a:ext>
              </a:extLst>
            </p:cNvPr>
            <p:cNvSpPr/>
            <p:nvPr/>
          </p:nvSpPr>
          <p:spPr>
            <a:xfrm>
              <a:off x="8748622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3" name="Полілінія: фігура 1042">
              <a:extLst>
                <a:ext uri="{FF2B5EF4-FFF2-40B4-BE49-F238E27FC236}">
                  <a16:creationId xmlns:a16="http://schemas.microsoft.com/office/drawing/2014/main" id="{F62095AD-BB6A-D257-AA5E-990B07778F25}"/>
                </a:ext>
              </a:extLst>
            </p:cNvPr>
            <p:cNvSpPr/>
            <p:nvPr/>
          </p:nvSpPr>
          <p:spPr>
            <a:xfrm>
              <a:off x="9007415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4" name="Полілінія: фігура 1043">
              <a:extLst>
                <a:ext uri="{FF2B5EF4-FFF2-40B4-BE49-F238E27FC236}">
                  <a16:creationId xmlns:a16="http://schemas.microsoft.com/office/drawing/2014/main" id="{19CA0DF4-87EE-30CE-E9E3-054138CD948E}"/>
                </a:ext>
              </a:extLst>
            </p:cNvPr>
            <p:cNvSpPr/>
            <p:nvPr/>
          </p:nvSpPr>
          <p:spPr>
            <a:xfrm>
              <a:off x="9136811" y="543464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5" name="Полілінія: фігура 1044">
              <a:extLst>
                <a:ext uri="{FF2B5EF4-FFF2-40B4-BE49-F238E27FC236}">
                  <a16:creationId xmlns:a16="http://schemas.microsoft.com/office/drawing/2014/main" id="{0D13ABCA-2F8C-1465-E2BF-C27B6A4D907F}"/>
                </a:ext>
              </a:extLst>
            </p:cNvPr>
            <p:cNvSpPr/>
            <p:nvPr/>
          </p:nvSpPr>
          <p:spPr>
            <a:xfrm>
              <a:off x="3960962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6" name="Полілінія: фігура 1045">
              <a:extLst>
                <a:ext uri="{FF2B5EF4-FFF2-40B4-BE49-F238E27FC236}">
                  <a16:creationId xmlns:a16="http://schemas.microsoft.com/office/drawing/2014/main" id="{B73E3B02-2F30-7770-EBA3-38F7626E6B25}"/>
                </a:ext>
              </a:extLst>
            </p:cNvPr>
            <p:cNvSpPr/>
            <p:nvPr/>
          </p:nvSpPr>
          <p:spPr>
            <a:xfrm>
              <a:off x="4090358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7" name="Полілінія: фігура 1046">
              <a:extLst>
                <a:ext uri="{FF2B5EF4-FFF2-40B4-BE49-F238E27FC236}">
                  <a16:creationId xmlns:a16="http://schemas.microsoft.com/office/drawing/2014/main" id="{0397EE72-7D38-C9B8-ED3A-EEC1880418F3}"/>
                </a:ext>
              </a:extLst>
            </p:cNvPr>
            <p:cNvSpPr/>
            <p:nvPr/>
          </p:nvSpPr>
          <p:spPr>
            <a:xfrm>
              <a:off x="4349150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8" name="Полілінія: фігура 1047">
              <a:extLst>
                <a:ext uri="{FF2B5EF4-FFF2-40B4-BE49-F238E27FC236}">
                  <a16:creationId xmlns:a16="http://schemas.microsoft.com/office/drawing/2014/main" id="{4276E796-103B-12A3-DADD-549B19874AB1}"/>
                </a:ext>
              </a:extLst>
            </p:cNvPr>
            <p:cNvSpPr/>
            <p:nvPr/>
          </p:nvSpPr>
          <p:spPr>
            <a:xfrm>
              <a:off x="4478547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49" name="Полілінія: фігура 1048">
              <a:extLst>
                <a:ext uri="{FF2B5EF4-FFF2-40B4-BE49-F238E27FC236}">
                  <a16:creationId xmlns:a16="http://schemas.microsoft.com/office/drawing/2014/main" id="{616EE249-2400-555B-D851-23DDD043F002}"/>
                </a:ext>
              </a:extLst>
            </p:cNvPr>
            <p:cNvSpPr/>
            <p:nvPr/>
          </p:nvSpPr>
          <p:spPr>
            <a:xfrm>
              <a:off x="4996132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0" name="Полілінія: фігура 1049">
              <a:extLst>
                <a:ext uri="{FF2B5EF4-FFF2-40B4-BE49-F238E27FC236}">
                  <a16:creationId xmlns:a16="http://schemas.microsoft.com/office/drawing/2014/main" id="{B62959D6-DD42-3E46-C324-7609FAF7EC87}"/>
                </a:ext>
              </a:extLst>
            </p:cNvPr>
            <p:cNvSpPr/>
            <p:nvPr/>
          </p:nvSpPr>
          <p:spPr>
            <a:xfrm>
              <a:off x="5254924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1" name="Полілінія: фігура 1050">
              <a:extLst>
                <a:ext uri="{FF2B5EF4-FFF2-40B4-BE49-F238E27FC236}">
                  <a16:creationId xmlns:a16="http://schemas.microsoft.com/office/drawing/2014/main" id="{F9710A8E-B5C3-2E94-7D33-913248D941C9}"/>
                </a:ext>
              </a:extLst>
            </p:cNvPr>
            <p:cNvSpPr/>
            <p:nvPr/>
          </p:nvSpPr>
          <p:spPr>
            <a:xfrm>
              <a:off x="5384320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2" name="Полілінія: фігура 1051">
              <a:extLst>
                <a:ext uri="{FF2B5EF4-FFF2-40B4-BE49-F238E27FC236}">
                  <a16:creationId xmlns:a16="http://schemas.microsoft.com/office/drawing/2014/main" id="{97A7AB10-01BF-6F26-1BDD-87227EC75ABE}"/>
                </a:ext>
              </a:extLst>
            </p:cNvPr>
            <p:cNvSpPr/>
            <p:nvPr/>
          </p:nvSpPr>
          <p:spPr>
            <a:xfrm>
              <a:off x="5513716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3" name="Полілінія: фігура 1052">
              <a:extLst>
                <a:ext uri="{FF2B5EF4-FFF2-40B4-BE49-F238E27FC236}">
                  <a16:creationId xmlns:a16="http://schemas.microsoft.com/office/drawing/2014/main" id="{DA1E92FB-2964-3132-56E0-D056911581FB}"/>
                </a:ext>
              </a:extLst>
            </p:cNvPr>
            <p:cNvSpPr/>
            <p:nvPr/>
          </p:nvSpPr>
          <p:spPr>
            <a:xfrm>
              <a:off x="5643113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4" name="Полілінія: фігура 1053">
              <a:extLst>
                <a:ext uri="{FF2B5EF4-FFF2-40B4-BE49-F238E27FC236}">
                  <a16:creationId xmlns:a16="http://schemas.microsoft.com/office/drawing/2014/main" id="{3AE494FA-96A7-0FA7-C741-9B1659400202}"/>
                </a:ext>
              </a:extLst>
            </p:cNvPr>
            <p:cNvSpPr/>
            <p:nvPr/>
          </p:nvSpPr>
          <p:spPr>
            <a:xfrm>
              <a:off x="5772509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5" name="Полілінія: фігура 1054">
              <a:extLst>
                <a:ext uri="{FF2B5EF4-FFF2-40B4-BE49-F238E27FC236}">
                  <a16:creationId xmlns:a16="http://schemas.microsoft.com/office/drawing/2014/main" id="{CDD5C2EF-2B9E-AF32-24D3-4EF142F1D653}"/>
                </a:ext>
              </a:extLst>
            </p:cNvPr>
            <p:cNvSpPr/>
            <p:nvPr/>
          </p:nvSpPr>
          <p:spPr>
            <a:xfrm>
              <a:off x="6290094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6" name="Полілінія: фігура 1055">
              <a:extLst>
                <a:ext uri="{FF2B5EF4-FFF2-40B4-BE49-F238E27FC236}">
                  <a16:creationId xmlns:a16="http://schemas.microsoft.com/office/drawing/2014/main" id="{B97379D9-C5A7-CF2C-26EB-7BFB9FF9E875}"/>
                </a:ext>
              </a:extLst>
            </p:cNvPr>
            <p:cNvSpPr/>
            <p:nvPr/>
          </p:nvSpPr>
          <p:spPr>
            <a:xfrm>
              <a:off x="6419490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7" name="Полілінія: фігура 1056">
              <a:extLst>
                <a:ext uri="{FF2B5EF4-FFF2-40B4-BE49-F238E27FC236}">
                  <a16:creationId xmlns:a16="http://schemas.microsoft.com/office/drawing/2014/main" id="{1E03B9B8-FC7A-5355-8940-DE1DA50E8EBA}"/>
                </a:ext>
              </a:extLst>
            </p:cNvPr>
            <p:cNvSpPr/>
            <p:nvPr/>
          </p:nvSpPr>
          <p:spPr>
            <a:xfrm>
              <a:off x="6548886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8" name="Полілінія: фігура 1057">
              <a:extLst>
                <a:ext uri="{FF2B5EF4-FFF2-40B4-BE49-F238E27FC236}">
                  <a16:creationId xmlns:a16="http://schemas.microsoft.com/office/drawing/2014/main" id="{2D033131-C10A-6D2F-030E-1E27581298BF}"/>
                </a:ext>
              </a:extLst>
            </p:cNvPr>
            <p:cNvSpPr/>
            <p:nvPr/>
          </p:nvSpPr>
          <p:spPr>
            <a:xfrm>
              <a:off x="7195867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59" name="Полілінія: фігура 1058">
              <a:extLst>
                <a:ext uri="{FF2B5EF4-FFF2-40B4-BE49-F238E27FC236}">
                  <a16:creationId xmlns:a16="http://schemas.microsoft.com/office/drawing/2014/main" id="{54405DC6-E22C-385E-D5C5-D318E9D22D11}"/>
                </a:ext>
              </a:extLst>
            </p:cNvPr>
            <p:cNvSpPr/>
            <p:nvPr/>
          </p:nvSpPr>
          <p:spPr>
            <a:xfrm>
              <a:off x="7584056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0" name="Полілінія: фігура 1059">
              <a:extLst>
                <a:ext uri="{FF2B5EF4-FFF2-40B4-BE49-F238E27FC236}">
                  <a16:creationId xmlns:a16="http://schemas.microsoft.com/office/drawing/2014/main" id="{59B5D29C-DEF9-7F32-A2FF-A5E53872D1B4}"/>
                </a:ext>
              </a:extLst>
            </p:cNvPr>
            <p:cNvSpPr/>
            <p:nvPr/>
          </p:nvSpPr>
          <p:spPr>
            <a:xfrm>
              <a:off x="7713452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1" name="Полілінія: фігура 1060">
              <a:extLst>
                <a:ext uri="{FF2B5EF4-FFF2-40B4-BE49-F238E27FC236}">
                  <a16:creationId xmlns:a16="http://schemas.microsoft.com/office/drawing/2014/main" id="{25A2B739-7293-E72C-7228-90733191C013}"/>
                </a:ext>
              </a:extLst>
            </p:cNvPr>
            <p:cNvSpPr/>
            <p:nvPr/>
          </p:nvSpPr>
          <p:spPr>
            <a:xfrm>
              <a:off x="7842849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2" name="Полілінія: фігура 1061">
              <a:extLst>
                <a:ext uri="{FF2B5EF4-FFF2-40B4-BE49-F238E27FC236}">
                  <a16:creationId xmlns:a16="http://schemas.microsoft.com/office/drawing/2014/main" id="{D5CC088E-14B8-6E37-D22E-4C02BEB7B3FA}"/>
                </a:ext>
              </a:extLst>
            </p:cNvPr>
            <p:cNvSpPr/>
            <p:nvPr/>
          </p:nvSpPr>
          <p:spPr>
            <a:xfrm>
              <a:off x="8101641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3" name="Полілінія: фігура 1062">
              <a:extLst>
                <a:ext uri="{FF2B5EF4-FFF2-40B4-BE49-F238E27FC236}">
                  <a16:creationId xmlns:a16="http://schemas.microsoft.com/office/drawing/2014/main" id="{C810F219-FAA0-081C-A2B6-2FF9EC425070}"/>
                </a:ext>
              </a:extLst>
            </p:cNvPr>
            <p:cNvSpPr/>
            <p:nvPr/>
          </p:nvSpPr>
          <p:spPr>
            <a:xfrm>
              <a:off x="8619226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4" name="Полілінія: фігура 1063">
              <a:extLst>
                <a:ext uri="{FF2B5EF4-FFF2-40B4-BE49-F238E27FC236}">
                  <a16:creationId xmlns:a16="http://schemas.microsoft.com/office/drawing/2014/main" id="{D393F141-11B2-A825-8073-4A874F487AE8}"/>
                </a:ext>
              </a:extLst>
            </p:cNvPr>
            <p:cNvSpPr/>
            <p:nvPr/>
          </p:nvSpPr>
          <p:spPr>
            <a:xfrm>
              <a:off x="9136811" y="5564037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5" name="Полілінія: фігура 1064">
              <a:extLst>
                <a:ext uri="{FF2B5EF4-FFF2-40B4-BE49-F238E27FC236}">
                  <a16:creationId xmlns:a16="http://schemas.microsoft.com/office/drawing/2014/main" id="{FEAE3864-4EBA-3FE4-A7BD-0A7558BBDD72}"/>
                </a:ext>
              </a:extLst>
            </p:cNvPr>
            <p:cNvSpPr/>
            <p:nvPr/>
          </p:nvSpPr>
          <p:spPr>
            <a:xfrm>
              <a:off x="2925792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6" name="Полілінія: фігура 1065">
              <a:extLst>
                <a:ext uri="{FF2B5EF4-FFF2-40B4-BE49-F238E27FC236}">
                  <a16:creationId xmlns:a16="http://schemas.microsoft.com/office/drawing/2014/main" id="{EAE8E3A0-020B-9E24-303E-03F3BBD670A0}"/>
                </a:ext>
              </a:extLst>
            </p:cNvPr>
            <p:cNvSpPr/>
            <p:nvPr/>
          </p:nvSpPr>
          <p:spPr>
            <a:xfrm>
              <a:off x="3055188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7" name="Полілінія: фігура 1066">
              <a:extLst>
                <a:ext uri="{FF2B5EF4-FFF2-40B4-BE49-F238E27FC236}">
                  <a16:creationId xmlns:a16="http://schemas.microsoft.com/office/drawing/2014/main" id="{FB296376-6B62-F078-52D4-34ECBE12A3DA}"/>
                </a:ext>
              </a:extLst>
            </p:cNvPr>
            <p:cNvSpPr/>
            <p:nvPr/>
          </p:nvSpPr>
          <p:spPr>
            <a:xfrm>
              <a:off x="3184584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8" name="Полілінія: фігура 1067">
              <a:extLst>
                <a:ext uri="{FF2B5EF4-FFF2-40B4-BE49-F238E27FC236}">
                  <a16:creationId xmlns:a16="http://schemas.microsoft.com/office/drawing/2014/main" id="{1FB162C1-12F3-CFAC-26DA-AAB60B87FB6E}"/>
                </a:ext>
              </a:extLst>
            </p:cNvPr>
            <p:cNvSpPr/>
            <p:nvPr/>
          </p:nvSpPr>
          <p:spPr>
            <a:xfrm>
              <a:off x="3313981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69" name="Полілінія: фігура 1068">
              <a:extLst>
                <a:ext uri="{FF2B5EF4-FFF2-40B4-BE49-F238E27FC236}">
                  <a16:creationId xmlns:a16="http://schemas.microsoft.com/office/drawing/2014/main" id="{80E3B153-9902-22C2-B730-3950A523FC0B}"/>
                </a:ext>
              </a:extLst>
            </p:cNvPr>
            <p:cNvSpPr/>
            <p:nvPr/>
          </p:nvSpPr>
          <p:spPr>
            <a:xfrm>
              <a:off x="3443377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0" name="Полілінія: фігура 1069">
              <a:extLst>
                <a:ext uri="{FF2B5EF4-FFF2-40B4-BE49-F238E27FC236}">
                  <a16:creationId xmlns:a16="http://schemas.microsoft.com/office/drawing/2014/main" id="{25A290F0-8DF2-1865-9672-094BE747C543}"/>
                </a:ext>
              </a:extLst>
            </p:cNvPr>
            <p:cNvSpPr/>
            <p:nvPr/>
          </p:nvSpPr>
          <p:spPr>
            <a:xfrm>
              <a:off x="3572773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1" name="Полілінія: фігура 1070">
              <a:extLst>
                <a:ext uri="{FF2B5EF4-FFF2-40B4-BE49-F238E27FC236}">
                  <a16:creationId xmlns:a16="http://schemas.microsoft.com/office/drawing/2014/main" id="{C63D8DA9-46C3-F0EC-291E-DCC937222837}"/>
                </a:ext>
              </a:extLst>
            </p:cNvPr>
            <p:cNvSpPr/>
            <p:nvPr/>
          </p:nvSpPr>
          <p:spPr>
            <a:xfrm>
              <a:off x="3702169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2" name="Полілінія: фігура 1071">
              <a:extLst>
                <a:ext uri="{FF2B5EF4-FFF2-40B4-BE49-F238E27FC236}">
                  <a16:creationId xmlns:a16="http://schemas.microsoft.com/office/drawing/2014/main" id="{6B24626D-1CE9-463D-F831-77427278DCB8}"/>
                </a:ext>
              </a:extLst>
            </p:cNvPr>
            <p:cNvSpPr/>
            <p:nvPr/>
          </p:nvSpPr>
          <p:spPr>
            <a:xfrm>
              <a:off x="4090358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3" name="Полілінія: фігура 1072">
              <a:extLst>
                <a:ext uri="{FF2B5EF4-FFF2-40B4-BE49-F238E27FC236}">
                  <a16:creationId xmlns:a16="http://schemas.microsoft.com/office/drawing/2014/main" id="{07400710-B696-7D53-89F7-23B261AB7E8A}"/>
                </a:ext>
              </a:extLst>
            </p:cNvPr>
            <p:cNvSpPr/>
            <p:nvPr/>
          </p:nvSpPr>
          <p:spPr>
            <a:xfrm>
              <a:off x="4349150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4" name="Полілінія: фігура 1073">
              <a:extLst>
                <a:ext uri="{FF2B5EF4-FFF2-40B4-BE49-F238E27FC236}">
                  <a16:creationId xmlns:a16="http://schemas.microsoft.com/office/drawing/2014/main" id="{BEB31193-A014-7866-24B5-121FA65510B9}"/>
                </a:ext>
              </a:extLst>
            </p:cNvPr>
            <p:cNvSpPr/>
            <p:nvPr/>
          </p:nvSpPr>
          <p:spPr>
            <a:xfrm>
              <a:off x="4478547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5" name="Полілінія: фігура 1074">
              <a:extLst>
                <a:ext uri="{FF2B5EF4-FFF2-40B4-BE49-F238E27FC236}">
                  <a16:creationId xmlns:a16="http://schemas.microsoft.com/office/drawing/2014/main" id="{19311D73-32C8-216F-0180-A4DB4E139CAE}"/>
                </a:ext>
              </a:extLst>
            </p:cNvPr>
            <p:cNvSpPr/>
            <p:nvPr/>
          </p:nvSpPr>
          <p:spPr>
            <a:xfrm>
              <a:off x="4737339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6" name="Полілінія: фігура 1075">
              <a:extLst>
                <a:ext uri="{FF2B5EF4-FFF2-40B4-BE49-F238E27FC236}">
                  <a16:creationId xmlns:a16="http://schemas.microsoft.com/office/drawing/2014/main" id="{ACF432B0-E9AB-CA25-4C7F-17701BD1769A}"/>
                </a:ext>
              </a:extLst>
            </p:cNvPr>
            <p:cNvSpPr/>
            <p:nvPr/>
          </p:nvSpPr>
          <p:spPr>
            <a:xfrm>
              <a:off x="4996132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7" name="Полілінія: фігура 1076">
              <a:extLst>
                <a:ext uri="{FF2B5EF4-FFF2-40B4-BE49-F238E27FC236}">
                  <a16:creationId xmlns:a16="http://schemas.microsoft.com/office/drawing/2014/main" id="{BC96A120-A54F-7252-AFC6-B23C00DA4EF4}"/>
                </a:ext>
              </a:extLst>
            </p:cNvPr>
            <p:cNvSpPr/>
            <p:nvPr/>
          </p:nvSpPr>
          <p:spPr>
            <a:xfrm>
              <a:off x="5513716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8" name="Полілінія: фігура 1077">
              <a:extLst>
                <a:ext uri="{FF2B5EF4-FFF2-40B4-BE49-F238E27FC236}">
                  <a16:creationId xmlns:a16="http://schemas.microsoft.com/office/drawing/2014/main" id="{F82D1477-CB58-A9E6-DDE8-81E879D226F8}"/>
                </a:ext>
              </a:extLst>
            </p:cNvPr>
            <p:cNvSpPr/>
            <p:nvPr/>
          </p:nvSpPr>
          <p:spPr>
            <a:xfrm>
              <a:off x="5772509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79" name="Полілінія: фігура 1078">
              <a:extLst>
                <a:ext uri="{FF2B5EF4-FFF2-40B4-BE49-F238E27FC236}">
                  <a16:creationId xmlns:a16="http://schemas.microsoft.com/office/drawing/2014/main" id="{60B7AB95-525B-BE89-00C0-8BE41D6CA40A}"/>
                </a:ext>
              </a:extLst>
            </p:cNvPr>
            <p:cNvSpPr/>
            <p:nvPr/>
          </p:nvSpPr>
          <p:spPr>
            <a:xfrm>
              <a:off x="6031301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0" name="Полілінія: фігура 1079">
              <a:extLst>
                <a:ext uri="{FF2B5EF4-FFF2-40B4-BE49-F238E27FC236}">
                  <a16:creationId xmlns:a16="http://schemas.microsoft.com/office/drawing/2014/main" id="{0BDFBFFA-5A77-8BCB-BB1A-A7632AA8589D}"/>
                </a:ext>
              </a:extLst>
            </p:cNvPr>
            <p:cNvSpPr/>
            <p:nvPr/>
          </p:nvSpPr>
          <p:spPr>
            <a:xfrm>
              <a:off x="6290094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1" name="Полілінія: фігура 1080">
              <a:extLst>
                <a:ext uri="{FF2B5EF4-FFF2-40B4-BE49-F238E27FC236}">
                  <a16:creationId xmlns:a16="http://schemas.microsoft.com/office/drawing/2014/main" id="{E01389C5-45D3-64F0-CF2D-C2AAA781A70A}"/>
                </a:ext>
              </a:extLst>
            </p:cNvPr>
            <p:cNvSpPr/>
            <p:nvPr/>
          </p:nvSpPr>
          <p:spPr>
            <a:xfrm>
              <a:off x="6419490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2" name="Полілінія: фігура 1081">
              <a:extLst>
                <a:ext uri="{FF2B5EF4-FFF2-40B4-BE49-F238E27FC236}">
                  <a16:creationId xmlns:a16="http://schemas.microsoft.com/office/drawing/2014/main" id="{6FEDD245-D71D-2D83-6D84-AFF2940E623D}"/>
                </a:ext>
              </a:extLst>
            </p:cNvPr>
            <p:cNvSpPr/>
            <p:nvPr/>
          </p:nvSpPr>
          <p:spPr>
            <a:xfrm>
              <a:off x="6548886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3" name="Полілінія: фігура 1082">
              <a:extLst>
                <a:ext uri="{FF2B5EF4-FFF2-40B4-BE49-F238E27FC236}">
                  <a16:creationId xmlns:a16="http://schemas.microsoft.com/office/drawing/2014/main" id="{4D274822-72D1-3817-9ED4-72CBDA8A1E7C}"/>
                </a:ext>
              </a:extLst>
            </p:cNvPr>
            <p:cNvSpPr/>
            <p:nvPr/>
          </p:nvSpPr>
          <p:spPr>
            <a:xfrm>
              <a:off x="6678283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4" name="Полілінія: фігура 1083">
              <a:extLst>
                <a:ext uri="{FF2B5EF4-FFF2-40B4-BE49-F238E27FC236}">
                  <a16:creationId xmlns:a16="http://schemas.microsoft.com/office/drawing/2014/main" id="{231AFD79-4536-12D8-0652-5123948C6588}"/>
                </a:ext>
              </a:extLst>
            </p:cNvPr>
            <p:cNvSpPr/>
            <p:nvPr/>
          </p:nvSpPr>
          <p:spPr>
            <a:xfrm>
              <a:off x="6807679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5" name="Полілінія: фігура 1084">
              <a:extLst>
                <a:ext uri="{FF2B5EF4-FFF2-40B4-BE49-F238E27FC236}">
                  <a16:creationId xmlns:a16="http://schemas.microsoft.com/office/drawing/2014/main" id="{2C28A0D2-8B12-2D75-F7EC-CED96228C06B}"/>
                </a:ext>
              </a:extLst>
            </p:cNvPr>
            <p:cNvSpPr/>
            <p:nvPr/>
          </p:nvSpPr>
          <p:spPr>
            <a:xfrm>
              <a:off x="6937075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6" name="Полілінія: фігура 1085">
              <a:extLst>
                <a:ext uri="{FF2B5EF4-FFF2-40B4-BE49-F238E27FC236}">
                  <a16:creationId xmlns:a16="http://schemas.microsoft.com/office/drawing/2014/main" id="{C63B3024-FFD2-B03F-60D8-7F81D6760C47}"/>
                </a:ext>
              </a:extLst>
            </p:cNvPr>
            <p:cNvSpPr/>
            <p:nvPr/>
          </p:nvSpPr>
          <p:spPr>
            <a:xfrm>
              <a:off x="7066471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7" name="Полілінія: фігура 1086">
              <a:extLst>
                <a:ext uri="{FF2B5EF4-FFF2-40B4-BE49-F238E27FC236}">
                  <a16:creationId xmlns:a16="http://schemas.microsoft.com/office/drawing/2014/main" id="{5FEAC8C2-040E-C4AF-2B09-C8E5EE402D3A}"/>
                </a:ext>
              </a:extLst>
            </p:cNvPr>
            <p:cNvSpPr/>
            <p:nvPr/>
          </p:nvSpPr>
          <p:spPr>
            <a:xfrm>
              <a:off x="7195867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8" name="Полілінія: фігура 1087">
              <a:extLst>
                <a:ext uri="{FF2B5EF4-FFF2-40B4-BE49-F238E27FC236}">
                  <a16:creationId xmlns:a16="http://schemas.microsoft.com/office/drawing/2014/main" id="{0FAA4E2E-05F0-5C7E-47BD-BE5B31398223}"/>
                </a:ext>
              </a:extLst>
            </p:cNvPr>
            <p:cNvSpPr/>
            <p:nvPr/>
          </p:nvSpPr>
          <p:spPr>
            <a:xfrm>
              <a:off x="7325264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89" name="Полілінія: фігура 1088">
              <a:extLst>
                <a:ext uri="{FF2B5EF4-FFF2-40B4-BE49-F238E27FC236}">
                  <a16:creationId xmlns:a16="http://schemas.microsoft.com/office/drawing/2014/main" id="{7D91F4B1-7FB9-C7F1-4FD3-FB3428D86162}"/>
                </a:ext>
              </a:extLst>
            </p:cNvPr>
            <p:cNvSpPr/>
            <p:nvPr/>
          </p:nvSpPr>
          <p:spPr>
            <a:xfrm>
              <a:off x="7454660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0" name="Полілінія: фігура 1089">
              <a:extLst>
                <a:ext uri="{FF2B5EF4-FFF2-40B4-BE49-F238E27FC236}">
                  <a16:creationId xmlns:a16="http://schemas.microsoft.com/office/drawing/2014/main" id="{41506A01-1375-650A-7ECB-BB8346E28610}"/>
                </a:ext>
              </a:extLst>
            </p:cNvPr>
            <p:cNvSpPr/>
            <p:nvPr/>
          </p:nvSpPr>
          <p:spPr>
            <a:xfrm>
              <a:off x="7584056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1" name="Полілінія: фігура 1090">
              <a:extLst>
                <a:ext uri="{FF2B5EF4-FFF2-40B4-BE49-F238E27FC236}">
                  <a16:creationId xmlns:a16="http://schemas.microsoft.com/office/drawing/2014/main" id="{FE1EF59C-9299-972E-AE53-A40C3CEEF2C2}"/>
                </a:ext>
              </a:extLst>
            </p:cNvPr>
            <p:cNvSpPr/>
            <p:nvPr/>
          </p:nvSpPr>
          <p:spPr>
            <a:xfrm>
              <a:off x="7842849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2" name="Полілінія: фігура 1091">
              <a:extLst>
                <a:ext uri="{FF2B5EF4-FFF2-40B4-BE49-F238E27FC236}">
                  <a16:creationId xmlns:a16="http://schemas.microsoft.com/office/drawing/2014/main" id="{786C81EF-715F-0631-543F-ABD5AD1A0686}"/>
                </a:ext>
              </a:extLst>
            </p:cNvPr>
            <p:cNvSpPr/>
            <p:nvPr/>
          </p:nvSpPr>
          <p:spPr>
            <a:xfrm>
              <a:off x="7972245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3" name="Полілінія: фігура 1092">
              <a:extLst>
                <a:ext uri="{FF2B5EF4-FFF2-40B4-BE49-F238E27FC236}">
                  <a16:creationId xmlns:a16="http://schemas.microsoft.com/office/drawing/2014/main" id="{84F85F12-61C4-3152-5862-A346177167CE}"/>
                </a:ext>
              </a:extLst>
            </p:cNvPr>
            <p:cNvSpPr/>
            <p:nvPr/>
          </p:nvSpPr>
          <p:spPr>
            <a:xfrm>
              <a:off x="8101641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4" name="Полілінія: фігура 1093">
              <a:extLst>
                <a:ext uri="{FF2B5EF4-FFF2-40B4-BE49-F238E27FC236}">
                  <a16:creationId xmlns:a16="http://schemas.microsoft.com/office/drawing/2014/main" id="{408A84AF-8CA7-0215-C089-E758E1D6F890}"/>
                </a:ext>
              </a:extLst>
            </p:cNvPr>
            <p:cNvSpPr/>
            <p:nvPr/>
          </p:nvSpPr>
          <p:spPr>
            <a:xfrm>
              <a:off x="8360433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5" name="Полілінія: фігура 1094">
              <a:extLst>
                <a:ext uri="{FF2B5EF4-FFF2-40B4-BE49-F238E27FC236}">
                  <a16:creationId xmlns:a16="http://schemas.microsoft.com/office/drawing/2014/main" id="{518FFA08-135C-9FF9-4E97-23389DFB0A7C}"/>
                </a:ext>
              </a:extLst>
            </p:cNvPr>
            <p:cNvSpPr/>
            <p:nvPr/>
          </p:nvSpPr>
          <p:spPr>
            <a:xfrm>
              <a:off x="8619226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6" name="Полілінія: фігура 1095">
              <a:extLst>
                <a:ext uri="{FF2B5EF4-FFF2-40B4-BE49-F238E27FC236}">
                  <a16:creationId xmlns:a16="http://schemas.microsoft.com/office/drawing/2014/main" id="{42101174-1091-8238-E1C5-FAA8BFE89142}"/>
                </a:ext>
              </a:extLst>
            </p:cNvPr>
            <p:cNvSpPr/>
            <p:nvPr/>
          </p:nvSpPr>
          <p:spPr>
            <a:xfrm>
              <a:off x="9007415" y="5693433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7" name="Полілінія: фігура 1096">
              <a:extLst>
                <a:ext uri="{FF2B5EF4-FFF2-40B4-BE49-F238E27FC236}">
                  <a16:creationId xmlns:a16="http://schemas.microsoft.com/office/drawing/2014/main" id="{0741B7AD-BEAB-1CAD-3FFC-659D9B330216}"/>
                </a:ext>
              </a:extLst>
            </p:cNvPr>
            <p:cNvSpPr/>
            <p:nvPr/>
          </p:nvSpPr>
          <p:spPr>
            <a:xfrm>
              <a:off x="2925792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8" name="Полілінія: фігура 1097">
              <a:extLst>
                <a:ext uri="{FF2B5EF4-FFF2-40B4-BE49-F238E27FC236}">
                  <a16:creationId xmlns:a16="http://schemas.microsoft.com/office/drawing/2014/main" id="{16FA41C3-DBB0-FD4A-ABB7-1E2BE33049CD}"/>
                </a:ext>
              </a:extLst>
            </p:cNvPr>
            <p:cNvSpPr/>
            <p:nvPr/>
          </p:nvSpPr>
          <p:spPr>
            <a:xfrm>
              <a:off x="3702169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099" name="Полілінія: фігура 1098">
              <a:extLst>
                <a:ext uri="{FF2B5EF4-FFF2-40B4-BE49-F238E27FC236}">
                  <a16:creationId xmlns:a16="http://schemas.microsoft.com/office/drawing/2014/main" id="{BFCAA0C8-D323-10D8-A2A7-5DB0DDAA3FEF}"/>
                </a:ext>
              </a:extLst>
            </p:cNvPr>
            <p:cNvSpPr/>
            <p:nvPr/>
          </p:nvSpPr>
          <p:spPr>
            <a:xfrm>
              <a:off x="4219754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0" name="Полілінія: фігура 1099">
              <a:extLst>
                <a:ext uri="{FF2B5EF4-FFF2-40B4-BE49-F238E27FC236}">
                  <a16:creationId xmlns:a16="http://schemas.microsoft.com/office/drawing/2014/main" id="{B47C429E-DEBD-D060-D7D6-FBDE6CD653A0}"/>
                </a:ext>
              </a:extLst>
            </p:cNvPr>
            <p:cNvSpPr/>
            <p:nvPr/>
          </p:nvSpPr>
          <p:spPr>
            <a:xfrm>
              <a:off x="4478547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1" name="Полілінія: фігура 1100">
              <a:extLst>
                <a:ext uri="{FF2B5EF4-FFF2-40B4-BE49-F238E27FC236}">
                  <a16:creationId xmlns:a16="http://schemas.microsoft.com/office/drawing/2014/main" id="{FBCA1A7D-E221-8611-6C35-1BFA23BA2E25}"/>
                </a:ext>
              </a:extLst>
            </p:cNvPr>
            <p:cNvSpPr/>
            <p:nvPr/>
          </p:nvSpPr>
          <p:spPr>
            <a:xfrm>
              <a:off x="4607943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2" name="Полілінія: фігура 1101">
              <a:extLst>
                <a:ext uri="{FF2B5EF4-FFF2-40B4-BE49-F238E27FC236}">
                  <a16:creationId xmlns:a16="http://schemas.microsoft.com/office/drawing/2014/main" id="{CAA1B114-FC0A-5D8C-01B3-64986BECA2C1}"/>
                </a:ext>
              </a:extLst>
            </p:cNvPr>
            <p:cNvSpPr/>
            <p:nvPr/>
          </p:nvSpPr>
          <p:spPr>
            <a:xfrm>
              <a:off x="4866735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3" name="Полілінія: фігура 1102">
              <a:extLst>
                <a:ext uri="{FF2B5EF4-FFF2-40B4-BE49-F238E27FC236}">
                  <a16:creationId xmlns:a16="http://schemas.microsoft.com/office/drawing/2014/main" id="{28944086-463D-BE9F-A0D3-8B59166C1274}"/>
                </a:ext>
              </a:extLst>
            </p:cNvPr>
            <p:cNvSpPr/>
            <p:nvPr/>
          </p:nvSpPr>
          <p:spPr>
            <a:xfrm>
              <a:off x="5125528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4" name="Полілінія: фігура 1103">
              <a:extLst>
                <a:ext uri="{FF2B5EF4-FFF2-40B4-BE49-F238E27FC236}">
                  <a16:creationId xmlns:a16="http://schemas.microsoft.com/office/drawing/2014/main" id="{60685B74-7204-8C37-39BA-6BBF76F1822A}"/>
                </a:ext>
              </a:extLst>
            </p:cNvPr>
            <p:cNvSpPr/>
            <p:nvPr/>
          </p:nvSpPr>
          <p:spPr>
            <a:xfrm>
              <a:off x="5254924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5" name="Полілінія: фігура 1104">
              <a:extLst>
                <a:ext uri="{FF2B5EF4-FFF2-40B4-BE49-F238E27FC236}">
                  <a16:creationId xmlns:a16="http://schemas.microsoft.com/office/drawing/2014/main" id="{3BFB1037-E8AF-7ECB-4171-A7E90896E5DE}"/>
                </a:ext>
              </a:extLst>
            </p:cNvPr>
            <p:cNvSpPr/>
            <p:nvPr/>
          </p:nvSpPr>
          <p:spPr>
            <a:xfrm>
              <a:off x="5384320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6" name="Полілінія: фігура 1105">
              <a:extLst>
                <a:ext uri="{FF2B5EF4-FFF2-40B4-BE49-F238E27FC236}">
                  <a16:creationId xmlns:a16="http://schemas.microsoft.com/office/drawing/2014/main" id="{1BBB1B81-6C8D-C154-2EB9-4E752E6A2BD4}"/>
                </a:ext>
              </a:extLst>
            </p:cNvPr>
            <p:cNvSpPr/>
            <p:nvPr/>
          </p:nvSpPr>
          <p:spPr>
            <a:xfrm>
              <a:off x="5772509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7" name="Полілінія: фігура 1106">
              <a:extLst>
                <a:ext uri="{FF2B5EF4-FFF2-40B4-BE49-F238E27FC236}">
                  <a16:creationId xmlns:a16="http://schemas.microsoft.com/office/drawing/2014/main" id="{5586103E-BCDB-98D9-DDBA-3AF2A97316C6}"/>
                </a:ext>
              </a:extLst>
            </p:cNvPr>
            <p:cNvSpPr/>
            <p:nvPr/>
          </p:nvSpPr>
          <p:spPr>
            <a:xfrm>
              <a:off x="6290094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8" name="Полілінія: фігура 1107">
              <a:extLst>
                <a:ext uri="{FF2B5EF4-FFF2-40B4-BE49-F238E27FC236}">
                  <a16:creationId xmlns:a16="http://schemas.microsoft.com/office/drawing/2014/main" id="{23784F57-9B7E-BC2D-C021-F92F8599570B}"/>
                </a:ext>
              </a:extLst>
            </p:cNvPr>
            <p:cNvSpPr/>
            <p:nvPr/>
          </p:nvSpPr>
          <p:spPr>
            <a:xfrm>
              <a:off x="6678283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09" name="Полілінія: фігура 1108">
              <a:extLst>
                <a:ext uri="{FF2B5EF4-FFF2-40B4-BE49-F238E27FC236}">
                  <a16:creationId xmlns:a16="http://schemas.microsoft.com/office/drawing/2014/main" id="{C5DE7B37-1E53-61DC-52D2-5193EA9B679D}"/>
                </a:ext>
              </a:extLst>
            </p:cNvPr>
            <p:cNvSpPr/>
            <p:nvPr/>
          </p:nvSpPr>
          <p:spPr>
            <a:xfrm>
              <a:off x="6937075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0" name="Полілінія: фігура 1109">
              <a:extLst>
                <a:ext uri="{FF2B5EF4-FFF2-40B4-BE49-F238E27FC236}">
                  <a16:creationId xmlns:a16="http://schemas.microsoft.com/office/drawing/2014/main" id="{983ED164-09FE-5BA2-1203-AE7215994139}"/>
                </a:ext>
              </a:extLst>
            </p:cNvPr>
            <p:cNvSpPr/>
            <p:nvPr/>
          </p:nvSpPr>
          <p:spPr>
            <a:xfrm>
              <a:off x="7325264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1" name="Полілінія: фігура 1110">
              <a:extLst>
                <a:ext uri="{FF2B5EF4-FFF2-40B4-BE49-F238E27FC236}">
                  <a16:creationId xmlns:a16="http://schemas.microsoft.com/office/drawing/2014/main" id="{AC7DC294-A4D0-EA0F-A571-CE0803CC1C20}"/>
                </a:ext>
              </a:extLst>
            </p:cNvPr>
            <p:cNvSpPr/>
            <p:nvPr/>
          </p:nvSpPr>
          <p:spPr>
            <a:xfrm>
              <a:off x="8101641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2" name="Полілінія: фігура 1111">
              <a:extLst>
                <a:ext uri="{FF2B5EF4-FFF2-40B4-BE49-F238E27FC236}">
                  <a16:creationId xmlns:a16="http://schemas.microsoft.com/office/drawing/2014/main" id="{A2A792E7-DAA8-E696-0E84-F7747651D54F}"/>
                </a:ext>
              </a:extLst>
            </p:cNvPr>
            <p:cNvSpPr/>
            <p:nvPr/>
          </p:nvSpPr>
          <p:spPr>
            <a:xfrm>
              <a:off x="8619226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3" name="Полілінія: фігура 1112">
              <a:extLst>
                <a:ext uri="{FF2B5EF4-FFF2-40B4-BE49-F238E27FC236}">
                  <a16:creationId xmlns:a16="http://schemas.microsoft.com/office/drawing/2014/main" id="{894ED1C2-F499-F538-9B14-5F574E596CFD}"/>
                </a:ext>
              </a:extLst>
            </p:cNvPr>
            <p:cNvSpPr/>
            <p:nvPr/>
          </p:nvSpPr>
          <p:spPr>
            <a:xfrm>
              <a:off x="8748622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4" name="Полілінія: фігура 1113">
              <a:extLst>
                <a:ext uri="{FF2B5EF4-FFF2-40B4-BE49-F238E27FC236}">
                  <a16:creationId xmlns:a16="http://schemas.microsoft.com/office/drawing/2014/main" id="{5A5A6FF0-B4BF-1215-36F2-CAD653B3978E}"/>
                </a:ext>
              </a:extLst>
            </p:cNvPr>
            <p:cNvSpPr/>
            <p:nvPr/>
          </p:nvSpPr>
          <p:spPr>
            <a:xfrm>
              <a:off x="9007415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5" name="Полілінія: фігура 1114">
              <a:extLst>
                <a:ext uri="{FF2B5EF4-FFF2-40B4-BE49-F238E27FC236}">
                  <a16:creationId xmlns:a16="http://schemas.microsoft.com/office/drawing/2014/main" id="{915F548B-EF91-85D3-A2CD-0906845729FE}"/>
                </a:ext>
              </a:extLst>
            </p:cNvPr>
            <p:cNvSpPr/>
            <p:nvPr/>
          </p:nvSpPr>
          <p:spPr>
            <a:xfrm>
              <a:off x="9136811" y="5822830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6" name="Полілінія: фігура 1115">
              <a:extLst>
                <a:ext uri="{FF2B5EF4-FFF2-40B4-BE49-F238E27FC236}">
                  <a16:creationId xmlns:a16="http://schemas.microsoft.com/office/drawing/2014/main" id="{89A01E2C-811A-1C8E-7685-07176E797381}"/>
                </a:ext>
              </a:extLst>
            </p:cNvPr>
            <p:cNvSpPr/>
            <p:nvPr/>
          </p:nvSpPr>
          <p:spPr>
            <a:xfrm>
              <a:off x="2925792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7" name="Полілінія: фігура 1116">
              <a:extLst>
                <a:ext uri="{FF2B5EF4-FFF2-40B4-BE49-F238E27FC236}">
                  <a16:creationId xmlns:a16="http://schemas.microsoft.com/office/drawing/2014/main" id="{AD25FAAD-7C6B-6F8E-A1A7-655737B58291}"/>
                </a:ext>
              </a:extLst>
            </p:cNvPr>
            <p:cNvSpPr/>
            <p:nvPr/>
          </p:nvSpPr>
          <p:spPr>
            <a:xfrm>
              <a:off x="3184584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8" name="Полілінія: фігура 1117">
              <a:extLst>
                <a:ext uri="{FF2B5EF4-FFF2-40B4-BE49-F238E27FC236}">
                  <a16:creationId xmlns:a16="http://schemas.microsoft.com/office/drawing/2014/main" id="{DD0578B3-1A25-591F-3640-84D828A8AF65}"/>
                </a:ext>
              </a:extLst>
            </p:cNvPr>
            <p:cNvSpPr/>
            <p:nvPr/>
          </p:nvSpPr>
          <p:spPr>
            <a:xfrm>
              <a:off x="3313981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19" name="Полілінія: фігура 1118">
              <a:extLst>
                <a:ext uri="{FF2B5EF4-FFF2-40B4-BE49-F238E27FC236}">
                  <a16:creationId xmlns:a16="http://schemas.microsoft.com/office/drawing/2014/main" id="{80CC4C9F-D24B-3732-5C13-193E79B5C2E7}"/>
                </a:ext>
              </a:extLst>
            </p:cNvPr>
            <p:cNvSpPr/>
            <p:nvPr/>
          </p:nvSpPr>
          <p:spPr>
            <a:xfrm>
              <a:off x="3443377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0" name="Полілінія: фігура 1119">
              <a:extLst>
                <a:ext uri="{FF2B5EF4-FFF2-40B4-BE49-F238E27FC236}">
                  <a16:creationId xmlns:a16="http://schemas.microsoft.com/office/drawing/2014/main" id="{5CB5AFBF-5D8A-FC78-8068-461109CFBD91}"/>
                </a:ext>
              </a:extLst>
            </p:cNvPr>
            <p:cNvSpPr/>
            <p:nvPr/>
          </p:nvSpPr>
          <p:spPr>
            <a:xfrm>
              <a:off x="3702169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1" name="Полілінія: фігура 1120">
              <a:extLst>
                <a:ext uri="{FF2B5EF4-FFF2-40B4-BE49-F238E27FC236}">
                  <a16:creationId xmlns:a16="http://schemas.microsoft.com/office/drawing/2014/main" id="{CC871698-006C-0095-B406-E5C247ABD5BE}"/>
                </a:ext>
              </a:extLst>
            </p:cNvPr>
            <p:cNvSpPr/>
            <p:nvPr/>
          </p:nvSpPr>
          <p:spPr>
            <a:xfrm>
              <a:off x="4090358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2" name="Полілінія: фігура 1121">
              <a:extLst>
                <a:ext uri="{FF2B5EF4-FFF2-40B4-BE49-F238E27FC236}">
                  <a16:creationId xmlns:a16="http://schemas.microsoft.com/office/drawing/2014/main" id="{53E84D4D-9B47-C254-239B-38944242C124}"/>
                </a:ext>
              </a:extLst>
            </p:cNvPr>
            <p:cNvSpPr/>
            <p:nvPr/>
          </p:nvSpPr>
          <p:spPr>
            <a:xfrm>
              <a:off x="4349150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3" name="Полілінія: фігура 1122">
              <a:extLst>
                <a:ext uri="{FF2B5EF4-FFF2-40B4-BE49-F238E27FC236}">
                  <a16:creationId xmlns:a16="http://schemas.microsoft.com/office/drawing/2014/main" id="{9091D8B6-BF0E-AE6A-126C-07CA543C752A}"/>
                </a:ext>
              </a:extLst>
            </p:cNvPr>
            <p:cNvSpPr/>
            <p:nvPr/>
          </p:nvSpPr>
          <p:spPr>
            <a:xfrm>
              <a:off x="4607943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4" name="Полілінія: фігура 1123">
              <a:extLst>
                <a:ext uri="{FF2B5EF4-FFF2-40B4-BE49-F238E27FC236}">
                  <a16:creationId xmlns:a16="http://schemas.microsoft.com/office/drawing/2014/main" id="{4161FBBC-6825-43AE-D3A9-98C804ED8949}"/>
                </a:ext>
              </a:extLst>
            </p:cNvPr>
            <p:cNvSpPr/>
            <p:nvPr/>
          </p:nvSpPr>
          <p:spPr>
            <a:xfrm>
              <a:off x="4866735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5" name="Полілінія: фігура 1124">
              <a:extLst>
                <a:ext uri="{FF2B5EF4-FFF2-40B4-BE49-F238E27FC236}">
                  <a16:creationId xmlns:a16="http://schemas.microsoft.com/office/drawing/2014/main" id="{8AD884CE-930B-71FC-6E04-83EF6DDE0771}"/>
                </a:ext>
              </a:extLst>
            </p:cNvPr>
            <p:cNvSpPr/>
            <p:nvPr/>
          </p:nvSpPr>
          <p:spPr>
            <a:xfrm>
              <a:off x="5643113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6" name="Полілінія: фігура 1125">
              <a:extLst>
                <a:ext uri="{FF2B5EF4-FFF2-40B4-BE49-F238E27FC236}">
                  <a16:creationId xmlns:a16="http://schemas.microsoft.com/office/drawing/2014/main" id="{76EF078A-0DF7-50DF-4691-A6840B11C746}"/>
                </a:ext>
              </a:extLst>
            </p:cNvPr>
            <p:cNvSpPr/>
            <p:nvPr/>
          </p:nvSpPr>
          <p:spPr>
            <a:xfrm>
              <a:off x="5772509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7" name="Полілінія: фігура 1126">
              <a:extLst>
                <a:ext uri="{FF2B5EF4-FFF2-40B4-BE49-F238E27FC236}">
                  <a16:creationId xmlns:a16="http://schemas.microsoft.com/office/drawing/2014/main" id="{C91AE6DC-10EA-BBF1-F868-9FDA1B755AA7}"/>
                </a:ext>
              </a:extLst>
            </p:cNvPr>
            <p:cNvSpPr/>
            <p:nvPr/>
          </p:nvSpPr>
          <p:spPr>
            <a:xfrm>
              <a:off x="5901905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8" name="Полілінія: фігура 1127">
              <a:extLst>
                <a:ext uri="{FF2B5EF4-FFF2-40B4-BE49-F238E27FC236}">
                  <a16:creationId xmlns:a16="http://schemas.microsoft.com/office/drawing/2014/main" id="{A4165CA7-7B77-8155-B4CF-518347A7D73A}"/>
                </a:ext>
              </a:extLst>
            </p:cNvPr>
            <p:cNvSpPr/>
            <p:nvPr/>
          </p:nvSpPr>
          <p:spPr>
            <a:xfrm>
              <a:off x="6031301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29" name="Полілінія: фігура 1128">
              <a:extLst>
                <a:ext uri="{FF2B5EF4-FFF2-40B4-BE49-F238E27FC236}">
                  <a16:creationId xmlns:a16="http://schemas.microsoft.com/office/drawing/2014/main" id="{3559D2A1-657D-903B-7DFA-1F142639B059}"/>
                </a:ext>
              </a:extLst>
            </p:cNvPr>
            <p:cNvSpPr/>
            <p:nvPr/>
          </p:nvSpPr>
          <p:spPr>
            <a:xfrm>
              <a:off x="6160698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0" name="Полілінія: фігура 1129">
              <a:extLst>
                <a:ext uri="{FF2B5EF4-FFF2-40B4-BE49-F238E27FC236}">
                  <a16:creationId xmlns:a16="http://schemas.microsoft.com/office/drawing/2014/main" id="{DB2E7453-34D0-68CF-323A-3F382C6CFB2B}"/>
                </a:ext>
              </a:extLst>
            </p:cNvPr>
            <p:cNvSpPr/>
            <p:nvPr/>
          </p:nvSpPr>
          <p:spPr>
            <a:xfrm>
              <a:off x="6290094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1" name="Полілінія: фігура 1130">
              <a:extLst>
                <a:ext uri="{FF2B5EF4-FFF2-40B4-BE49-F238E27FC236}">
                  <a16:creationId xmlns:a16="http://schemas.microsoft.com/office/drawing/2014/main" id="{D47D399F-9FEE-43FD-CC38-6BC5D119B714}"/>
                </a:ext>
              </a:extLst>
            </p:cNvPr>
            <p:cNvSpPr/>
            <p:nvPr/>
          </p:nvSpPr>
          <p:spPr>
            <a:xfrm>
              <a:off x="6548886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2" name="Полілінія: фігура 1131">
              <a:extLst>
                <a:ext uri="{FF2B5EF4-FFF2-40B4-BE49-F238E27FC236}">
                  <a16:creationId xmlns:a16="http://schemas.microsoft.com/office/drawing/2014/main" id="{37FE3FAD-63B8-A99C-3E02-6AA46BC2D5F1}"/>
                </a:ext>
              </a:extLst>
            </p:cNvPr>
            <p:cNvSpPr/>
            <p:nvPr/>
          </p:nvSpPr>
          <p:spPr>
            <a:xfrm>
              <a:off x="6937075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3" name="Полілінія: фігура 1132">
              <a:extLst>
                <a:ext uri="{FF2B5EF4-FFF2-40B4-BE49-F238E27FC236}">
                  <a16:creationId xmlns:a16="http://schemas.microsoft.com/office/drawing/2014/main" id="{10F3A8FC-B5A5-BEEE-96D0-97D8C731938F}"/>
                </a:ext>
              </a:extLst>
            </p:cNvPr>
            <p:cNvSpPr/>
            <p:nvPr/>
          </p:nvSpPr>
          <p:spPr>
            <a:xfrm>
              <a:off x="7195867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4" name="Полілінія: фігура 1133">
              <a:extLst>
                <a:ext uri="{FF2B5EF4-FFF2-40B4-BE49-F238E27FC236}">
                  <a16:creationId xmlns:a16="http://schemas.microsoft.com/office/drawing/2014/main" id="{76A7BEF2-5C1F-5842-8DA4-B88DE9674E6C}"/>
                </a:ext>
              </a:extLst>
            </p:cNvPr>
            <p:cNvSpPr/>
            <p:nvPr/>
          </p:nvSpPr>
          <p:spPr>
            <a:xfrm>
              <a:off x="7584056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5" name="Полілінія: фігура 1134">
              <a:extLst>
                <a:ext uri="{FF2B5EF4-FFF2-40B4-BE49-F238E27FC236}">
                  <a16:creationId xmlns:a16="http://schemas.microsoft.com/office/drawing/2014/main" id="{AE0BB6AC-E01B-ED3D-D6A0-B5864E2D499A}"/>
                </a:ext>
              </a:extLst>
            </p:cNvPr>
            <p:cNvSpPr/>
            <p:nvPr/>
          </p:nvSpPr>
          <p:spPr>
            <a:xfrm>
              <a:off x="7842849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6" name="Полілінія: фігура 1135">
              <a:extLst>
                <a:ext uri="{FF2B5EF4-FFF2-40B4-BE49-F238E27FC236}">
                  <a16:creationId xmlns:a16="http://schemas.microsoft.com/office/drawing/2014/main" id="{3B7307BF-0657-75E0-6B13-69818CDC5D3F}"/>
                </a:ext>
              </a:extLst>
            </p:cNvPr>
            <p:cNvSpPr/>
            <p:nvPr/>
          </p:nvSpPr>
          <p:spPr>
            <a:xfrm>
              <a:off x="8101641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7" name="Полілінія: фігура 1136">
              <a:extLst>
                <a:ext uri="{FF2B5EF4-FFF2-40B4-BE49-F238E27FC236}">
                  <a16:creationId xmlns:a16="http://schemas.microsoft.com/office/drawing/2014/main" id="{31859E04-0243-047A-CBC0-DCF7AA6E4CAD}"/>
                </a:ext>
              </a:extLst>
            </p:cNvPr>
            <p:cNvSpPr/>
            <p:nvPr/>
          </p:nvSpPr>
          <p:spPr>
            <a:xfrm>
              <a:off x="8231037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8" name="Полілінія: фігура 1137">
              <a:extLst>
                <a:ext uri="{FF2B5EF4-FFF2-40B4-BE49-F238E27FC236}">
                  <a16:creationId xmlns:a16="http://schemas.microsoft.com/office/drawing/2014/main" id="{246C6F92-5D4C-809B-1B38-766D5F03B151}"/>
                </a:ext>
              </a:extLst>
            </p:cNvPr>
            <p:cNvSpPr/>
            <p:nvPr/>
          </p:nvSpPr>
          <p:spPr>
            <a:xfrm>
              <a:off x="8360433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39" name="Полілінія: фігура 1138">
              <a:extLst>
                <a:ext uri="{FF2B5EF4-FFF2-40B4-BE49-F238E27FC236}">
                  <a16:creationId xmlns:a16="http://schemas.microsoft.com/office/drawing/2014/main" id="{71462455-2847-8CCF-82B3-F011704EA147}"/>
                </a:ext>
              </a:extLst>
            </p:cNvPr>
            <p:cNvSpPr/>
            <p:nvPr/>
          </p:nvSpPr>
          <p:spPr>
            <a:xfrm>
              <a:off x="8489830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0" name="Полілінія: фігура 1139">
              <a:extLst>
                <a:ext uri="{FF2B5EF4-FFF2-40B4-BE49-F238E27FC236}">
                  <a16:creationId xmlns:a16="http://schemas.microsoft.com/office/drawing/2014/main" id="{E530D7EA-7D42-2CDC-DB5D-9C3650BD54FB}"/>
                </a:ext>
              </a:extLst>
            </p:cNvPr>
            <p:cNvSpPr/>
            <p:nvPr/>
          </p:nvSpPr>
          <p:spPr>
            <a:xfrm>
              <a:off x="8619226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1" name="Полілінія: фігура 1140">
              <a:extLst>
                <a:ext uri="{FF2B5EF4-FFF2-40B4-BE49-F238E27FC236}">
                  <a16:creationId xmlns:a16="http://schemas.microsoft.com/office/drawing/2014/main" id="{2155F125-452D-5DDC-3C29-3313A38CE02E}"/>
                </a:ext>
              </a:extLst>
            </p:cNvPr>
            <p:cNvSpPr/>
            <p:nvPr/>
          </p:nvSpPr>
          <p:spPr>
            <a:xfrm>
              <a:off x="8878018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2" name="Полілінія: фігура 1141">
              <a:extLst>
                <a:ext uri="{FF2B5EF4-FFF2-40B4-BE49-F238E27FC236}">
                  <a16:creationId xmlns:a16="http://schemas.microsoft.com/office/drawing/2014/main" id="{772D9933-B50C-9904-8F25-0D5671B6EB6E}"/>
                </a:ext>
              </a:extLst>
            </p:cNvPr>
            <p:cNvSpPr/>
            <p:nvPr/>
          </p:nvSpPr>
          <p:spPr>
            <a:xfrm>
              <a:off x="9007415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3" name="Полілінія: фігура 1142">
              <a:extLst>
                <a:ext uri="{FF2B5EF4-FFF2-40B4-BE49-F238E27FC236}">
                  <a16:creationId xmlns:a16="http://schemas.microsoft.com/office/drawing/2014/main" id="{AE9D536A-89C6-272C-30ED-AB5E7F323518}"/>
                </a:ext>
              </a:extLst>
            </p:cNvPr>
            <p:cNvSpPr/>
            <p:nvPr/>
          </p:nvSpPr>
          <p:spPr>
            <a:xfrm>
              <a:off x="9136811" y="5952226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4" name="Полілінія: фігура 1143">
              <a:extLst>
                <a:ext uri="{FF2B5EF4-FFF2-40B4-BE49-F238E27FC236}">
                  <a16:creationId xmlns:a16="http://schemas.microsoft.com/office/drawing/2014/main" id="{0B00D6A0-ACD1-F8EB-AE3A-CE450D289BE0}"/>
                </a:ext>
              </a:extLst>
            </p:cNvPr>
            <p:cNvSpPr/>
            <p:nvPr/>
          </p:nvSpPr>
          <p:spPr>
            <a:xfrm>
              <a:off x="2925792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5" name="Полілінія: фігура 1144">
              <a:extLst>
                <a:ext uri="{FF2B5EF4-FFF2-40B4-BE49-F238E27FC236}">
                  <a16:creationId xmlns:a16="http://schemas.microsoft.com/office/drawing/2014/main" id="{96F19F92-D96F-F0B2-A2E2-6E598AA8EF49}"/>
                </a:ext>
              </a:extLst>
            </p:cNvPr>
            <p:cNvSpPr/>
            <p:nvPr/>
          </p:nvSpPr>
          <p:spPr>
            <a:xfrm>
              <a:off x="3184584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6" name="Полілінія: фігура 1145">
              <a:extLst>
                <a:ext uri="{FF2B5EF4-FFF2-40B4-BE49-F238E27FC236}">
                  <a16:creationId xmlns:a16="http://schemas.microsoft.com/office/drawing/2014/main" id="{7BF30945-0BA5-8DC0-91E2-7438ACECAFC6}"/>
                </a:ext>
              </a:extLst>
            </p:cNvPr>
            <p:cNvSpPr/>
            <p:nvPr/>
          </p:nvSpPr>
          <p:spPr>
            <a:xfrm>
              <a:off x="3313981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7" name="Полілінія: фігура 1146">
              <a:extLst>
                <a:ext uri="{FF2B5EF4-FFF2-40B4-BE49-F238E27FC236}">
                  <a16:creationId xmlns:a16="http://schemas.microsoft.com/office/drawing/2014/main" id="{9ED10165-C1FB-C685-C194-969A48F78BC8}"/>
                </a:ext>
              </a:extLst>
            </p:cNvPr>
            <p:cNvSpPr/>
            <p:nvPr/>
          </p:nvSpPr>
          <p:spPr>
            <a:xfrm>
              <a:off x="3443377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8" name="Полілінія: фігура 1147">
              <a:extLst>
                <a:ext uri="{FF2B5EF4-FFF2-40B4-BE49-F238E27FC236}">
                  <a16:creationId xmlns:a16="http://schemas.microsoft.com/office/drawing/2014/main" id="{26C0EAAF-E600-1B37-888D-3C9AEB7D62FE}"/>
                </a:ext>
              </a:extLst>
            </p:cNvPr>
            <p:cNvSpPr/>
            <p:nvPr/>
          </p:nvSpPr>
          <p:spPr>
            <a:xfrm>
              <a:off x="3702169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49" name="Полілінія: фігура 1148">
              <a:extLst>
                <a:ext uri="{FF2B5EF4-FFF2-40B4-BE49-F238E27FC236}">
                  <a16:creationId xmlns:a16="http://schemas.microsoft.com/office/drawing/2014/main" id="{FD1EDCCB-2996-9AE8-2F0A-0F7992E44C77}"/>
                </a:ext>
              </a:extLst>
            </p:cNvPr>
            <p:cNvSpPr/>
            <p:nvPr/>
          </p:nvSpPr>
          <p:spPr>
            <a:xfrm>
              <a:off x="3960962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0" name="Полілінія: фігура 1149">
              <a:extLst>
                <a:ext uri="{FF2B5EF4-FFF2-40B4-BE49-F238E27FC236}">
                  <a16:creationId xmlns:a16="http://schemas.microsoft.com/office/drawing/2014/main" id="{1728FE45-7287-4C16-A72A-EF1FA093A9EF}"/>
                </a:ext>
              </a:extLst>
            </p:cNvPr>
            <p:cNvSpPr/>
            <p:nvPr/>
          </p:nvSpPr>
          <p:spPr>
            <a:xfrm>
              <a:off x="4219754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1" name="Полілінія: фігура 1150">
              <a:extLst>
                <a:ext uri="{FF2B5EF4-FFF2-40B4-BE49-F238E27FC236}">
                  <a16:creationId xmlns:a16="http://schemas.microsoft.com/office/drawing/2014/main" id="{6023D897-8765-B11B-71DB-9B5F635D39A6}"/>
                </a:ext>
              </a:extLst>
            </p:cNvPr>
            <p:cNvSpPr/>
            <p:nvPr/>
          </p:nvSpPr>
          <p:spPr>
            <a:xfrm>
              <a:off x="4349150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2" name="Полілінія: фігура 1151">
              <a:extLst>
                <a:ext uri="{FF2B5EF4-FFF2-40B4-BE49-F238E27FC236}">
                  <a16:creationId xmlns:a16="http://schemas.microsoft.com/office/drawing/2014/main" id="{A77B3236-9F71-642B-83E1-3E2D261050AA}"/>
                </a:ext>
              </a:extLst>
            </p:cNvPr>
            <p:cNvSpPr/>
            <p:nvPr/>
          </p:nvSpPr>
          <p:spPr>
            <a:xfrm>
              <a:off x="4737339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3" name="Полілінія: фігура 1152">
              <a:extLst>
                <a:ext uri="{FF2B5EF4-FFF2-40B4-BE49-F238E27FC236}">
                  <a16:creationId xmlns:a16="http://schemas.microsoft.com/office/drawing/2014/main" id="{641258EB-97B8-FD98-1E5E-71FEFC931A2E}"/>
                </a:ext>
              </a:extLst>
            </p:cNvPr>
            <p:cNvSpPr/>
            <p:nvPr/>
          </p:nvSpPr>
          <p:spPr>
            <a:xfrm>
              <a:off x="4866735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4" name="Полілінія: фігура 1153">
              <a:extLst>
                <a:ext uri="{FF2B5EF4-FFF2-40B4-BE49-F238E27FC236}">
                  <a16:creationId xmlns:a16="http://schemas.microsoft.com/office/drawing/2014/main" id="{670D1927-1B14-926A-F1AF-3345AFC15F37}"/>
                </a:ext>
              </a:extLst>
            </p:cNvPr>
            <p:cNvSpPr/>
            <p:nvPr/>
          </p:nvSpPr>
          <p:spPr>
            <a:xfrm>
              <a:off x="4996132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5" name="Полілінія: фігура 1154">
              <a:extLst>
                <a:ext uri="{FF2B5EF4-FFF2-40B4-BE49-F238E27FC236}">
                  <a16:creationId xmlns:a16="http://schemas.microsoft.com/office/drawing/2014/main" id="{3C1089FA-7789-B95E-D734-4D84CD851F34}"/>
                </a:ext>
              </a:extLst>
            </p:cNvPr>
            <p:cNvSpPr/>
            <p:nvPr/>
          </p:nvSpPr>
          <p:spPr>
            <a:xfrm>
              <a:off x="5125528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6" name="Полілінія: фігура 1155">
              <a:extLst>
                <a:ext uri="{FF2B5EF4-FFF2-40B4-BE49-F238E27FC236}">
                  <a16:creationId xmlns:a16="http://schemas.microsoft.com/office/drawing/2014/main" id="{BC9F8567-6946-0B64-0ED3-C5904AEAB258}"/>
                </a:ext>
              </a:extLst>
            </p:cNvPr>
            <p:cNvSpPr/>
            <p:nvPr/>
          </p:nvSpPr>
          <p:spPr>
            <a:xfrm>
              <a:off x="5254924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7" name="Полілінія: фігура 1156">
              <a:extLst>
                <a:ext uri="{FF2B5EF4-FFF2-40B4-BE49-F238E27FC236}">
                  <a16:creationId xmlns:a16="http://schemas.microsoft.com/office/drawing/2014/main" id="{488D0779-CD14-E756-6735-5AB332883147}"/>
                </a:ext>
              </a:extLst>
            </p:cNvPr>
            <p:cNvSpPr/>
            <p:nvPr/>
          </p:nvSpPr>
          <p:spPr>
            <a:xfrm>
              <a:off x="5643113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8" name="Полілінія: фігура 1157">
              <a:extLst>
                <a:ext uri="{FF2B5EF4-FFF2-40B4-BE49-F238E27FC236}">
                  <a16:creationId xmlns:a16="http://schemas.microsoft.com/office/drawing/2014/main" id="{C196F569-27FD-EAAB-1F1C-99427BBA66CA}"/>
                </a:ext>
              </a:extLst>
            </p:cNvPr>
            <p:cNvSpPr/>
            <p:nvPr/>
          </p:nvSpPr>
          <p:spPr>
            <a:xfrm>
              <a:off x="5901905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59" name="Полілінія: фігура 1158">
              <a:extLst>
                <a:ext uri="{FF2B5EF4-FFF2-40B4-BE49-F238E27FC236}">
                  <a16:creationId xmlns:a16="http://schemas.microsoft.com/office/drawing/2014/main" id="{AFCDC315-CF7F-8098-ADDF-65AC21218E6E}"/>
                </a:ext>
              </a:extLst>
            </p:cNvPr>
            <p:cNvSpPr/>
            <p:nvPr/>
          </p:nvSpPr>
          <p:spPr>
            <a:xfrm>
              <a:off x="6031301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0" name="Полілінія: фігура 1159">
              <a:extLst>
                <a:ext uri="{FF2B5EF4-FFF2-40B4-BE49-F238E27FC236}">
                  <a16:creationId xmlns:a16="http://schemas.microsoft.com/office/drawing/2014/main" id="{81D23265-A46A-D5C1-1B93-94E9ED06A001}"/>
                </a:ext>
              </a:extLst>
            </p:cNvPr>
            <p:cNvSpPr/>
            <p:nvPr/>
          </p:nvSpPr>
          <p:spPr>
            <a:xfrm>
              <a:off x="6160698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1" name="Полілінія: фігура 1160">
              <a:extLst>
                <a:ext uri="{FF2B5EF4-FFF2-40B4-BE49-F238E27FC236}">
                  <a16:creationId xmlns:a16="http://schemas.microsoft.com/office/drawing/2014/main" id="{F945B9FC-E8DC-D7E0-2555-D7A4F52CBAFD}"/>
                </a:ext>
              </a:extLst>
            </p:cNvPr>
            <p:cNvSpPr/>
            <p:nvPr/>
          </p:nvSpPr>
          <p:spPr>
            <a:xfrm>
              <a:off x="6290094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2" name="Полілінія: фігура 1161">
              <a:extLst>
                <a:ext uri="{FF2B5EF4-FFF2-40B4-BE49-F238E27FC236}">
                  <a16:creationId xmlns:a16="http://schemas.microsoft.com/office/drawing/2014/main" id="{6B21EFC4-17B2-AFD4-B396-1FCAAF5961CD}"/>
                </a:ext>
              </a:extLst>
            </p:cNvPr>
            <p:cNvSpPr/>
            <p:nvPr/>
          </p:nvSpPr>
          <p:spPr>
            <a:xfrm>
              <a:off x="6548886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3" name="Полілінія: фігура 1162">
              <a:extLst>
                <a:ext uri="{FF2B5EF4-FFF2-40B4-BE49-F238E27FC236}">
                  <a16:creationId xmlns:a16="http://schemas.microsoft.com/office/drawing/2014/main" id="{C9E26B1F-EDDD-A7ED-ED8A-C2E58BE28716}"/>
                </a:ext>
              </a:extLst>
            </p:cNvPr>
            <p:cNvSpPr/>
            <p:nvPr/>
          </p:nvSpPr>
          <p:spPr>
            <a:xfrm>
              <a:off x="6678283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4" name="Полілінія: фігура 1163">
              <a:extLst>
                <a:ext uri="{FF2B5EF4-FFF2-40B4-BE49-F238E27FC236}">
                  <a16:creationId xmlns:a16="http://schemas.microsoft.com/office/drawing/2014/main" id="{8C6CE3D4-73F3-9769-021E-A931D4450CB6}"/>
                </a:ext>
              </a:extLst>
            </p:cNvPr>
            <p:cNvSpPr/>
            <p:nvPr/>
          </p:nvSpPr>
          <p:spPr>
            <a:xfrm>
              <a:off x="6807679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5" name="Полілінія: фігура 1164">
              <a:extLst>
                <a:ext uri="{FF2B5EF4-FFF2-40B4-BE49-F238E27FC236}">
                  <a16:creationId xmlns:a16="http://schemas.microsoft.com/office/drawing/2014/main" id="{7C3B2C06-677C-E552-590F-C384C136BC7E}"/>
                </a:ext>
              </a:extLst>
            </p:cNvPr>
            <p:cNvSpPr/>
            <p:nvPr/>
          </p:nvSpPr>
          <p:spPr>
            <a:xfrm>
              <a:off x="6937075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6" name="Полілінія: фігура 1165">
              <a:extLst>
                <a:ext uri="{FF2B5EF4-FFF2-40B4-BE49-F238E27FC236}">
                  <a16:creationId xmlns:a16="http://schemas.microsoft.com/office/drawing/2014/main" id="{86C169FB-C793-6B6E-2E26-F2F06C6B00EF}"/>
                </a:ext>
              </a:extLst>
            </p:cNvPr>
            <p:cNvSpPr/>
            <p:nvPr/>
          </p:nvSpPr>
          <p:spPr>
            <a:xfrm>
              <a:off x="7454660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7" name="Полілінія: фігура 1166">
              <a:extLst>
                <a:ext uri="{FF2B5EF4-FFF2-40B4-BE49-F238E27FC236}">
                  <a16:creationId xmlns:a16="http://schemas.microsoft.com/office/drawing/2014/main" id="{CF96AC1A-4906-2169-4BED-D79E5BA315DE}"/>
                </a:ext>
              </a:extLst>
            </p:cNvPr>
            <p:cNvSpPr/>
            <p:nvPr/>
          </p:nvSpPr>
          <p:spPr>
            <a:xfrm>
              <a:off x="7584056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8" name="Полілінія: фігура 1167">
              <a:extLst>
                <a:ext uri="{FF2B5EF4-FFF2-40B4-BE49-F238E27FC236}">
                  <a16:creationId xmlns:a16="http://schemas.microsoft.com/office/drawing/2014/main" id="{A6AED5D6-F529-9CC5-8EAF-74BC74A0D6F3}"/>
                </a:ext>
              </a:extLst>
            </p:cNvPr>
            <p:cNvSpPr/>
            <p:nvPr/>
          </p:nvSpPr>
          <p:spPr>
            <a:xfrm>
              <a:off x="7842849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69" name="Полілінія: фігура 1168">
              <a:extLst>
                <a:ext uri="{FF2B5EF4-FFF2-40B4-BE49-F238E27FC236}">
                  <a16:creationId xmlns:a16="http://schemas.microsoft.com/office/drawing/2014/main" id="{EA44ED91-9830-D801-D15E-E72907955848}"/>
                </a:ext>
              </a:extLst>
            </p:cNvPr>
            <p:cNvSpPr/>
            <p:nvPr/>
          </p:nvSpPr>
          <p:spPr>
            <a:xfrm>
              <a:off x="7972245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0" name="Полілінія: фігура 1169">
              <a:extLst>
                <a:ext uri="{FF2B5EF4-FFF2-40B4-BE49-F238E27FC236}">
                  <a16:creationId xmlns:a16="http://schemas.microsoft.com/office/drawing/2014/main" id="{4098CEA9-9F92-F206-C7E9-CA2DDD42BA5B}"/>
                </a:ext>
              </a:extLst>
            </p:cNvPr>
            <p:cNvSpPr/>
            <p:nvPr/>
          </p:nvSpPr>
          <p:spPr>
            <a:xfrm>
              <a:off x="8489830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1" name="Полілінія: фігура 1170">
              <a:extLst>
                <a:ext uri="{FF2B5EF4-FFF2-40B4-BE49-F238E27FC236}">
                  <a16:creationId xmlns:a16="http://schemas.microsoft.com/office/drawing/2014/main" id="{DA04721C-2852-0830-63EC-4BD63F2928AE}"/>
                </a:ext>
              </a:extLst>
            </p:cNvPr>
            <p:cNvSpPr/>
            <p:nvPr/>
          </p:nvSpPr>
          <p:spPr>
            <a:xfrm>
              <a:off x="8619226" y="6081622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2" name="Полілінія: фігура 1171">
              <a:extLst>
                <a:ext uri="{FF2B5EF4-FFF2-40B4-BE49-F238E27FC236}">
                  <a16:creationId xmlns:a16="http://schemas.microsoft.com/office/drawing/2014/main" id="{58F8318E-D7A3-E66A-0A23-7D3F4A94B808}"/>
                </a:ext>
              </a:extLst>
            </p:cNvPr>
            <p:cNvSpPr/>
            <p:nvPr/>
          </p:nvSpPr>
          <p:spPr>
            <a:xfrm>
              <a:off x="2925792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3" name="Полілінія: фігура 1172">
              <a:extLst>
                <a:ext uri="{FF2B5EF4-FFF2-40B4-BE49-F238E27FC236}">
                  <a16:creationId xmlns:a16="http://schemas.microsoft.com/office/drawing/2014/main" id="{7EDE7C07-D3F7-AE14-BD40-F58EA127B5C9}"/>
                </a:ext>
              </a:extLst>
            </p:cNvPr>
            <p:cNvSpPr/>
            <p:nvPr/>
          </p:nvSpPr>
          <p:spPr>
            <a:xfrm>
              <a:off x="3184584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4" name="Полілінія: фігура 1173">
              <a:extLst>
                <a:ext uri="{FF2B5EF4-FFF2-40B4-BE49-F238E27FC236}">
                  <a16:creationId xmlns:a16="http://schemas.microsoft.com/office/drawing/2014/main" id="{633DE228-5266-4EB4-BC2A-BF06D0AC2741}"/>
                </a:ext>
              </a:extLst>
            </p:cNvPr>
            <p:cNvSpPr/>
            <p:nvPr/>
          </p:nvSpPr>
          <p:spPr>
            <a:xfrm>
              <a:off x="3313981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5" name="Полілінія: фігура 1174">
              <a:extLst>
                <a:ext uri="{FF2B5EF4-FFF2-40B4-BE49-F238E27FC236}">
                  <a16:creationId xmlns:a16="http://schemas.microsoft.com/office/drawing/2014/main" id="{825A95FB-3CBE-8308-DF7D-B62F94F705BC}"/>
                </a:ext>
              </a:extLst>
            </p:cNvPr>
            <p:cNvSpPr/>
            <p:nvPr/>
          </p:nvSpPr>
          <p:spPr>
            <a:xfrm>
              <a:off x="3443377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6" name="Полілінія: фігура 1175">
              <a:extLst>
                <a:ext uri="{FF2B5EF4-FFF2-40B4-BE49-F238E27FC236}">
                  <a16:creationId xmlns:a16="http://schemas.microsoft.com/office/drawing/2014/main" id="{8971DF31-7789-C0D4-7862-CBC9058C2352}"/>
                </a:ext>
              </a:extLst>
            </p:cNvPr>
            <p:cNvSpPr/>
            <p:nvPr/>
          </p:nvSpPr>
          <p:spPr>
            <a:xfrm>
              <a:off x="3702169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7" name="Полілінія: фігура 1176">
              <a:extLst>
                <a:ext uri="{FF2B5EF4-FFF2-40B4-BE49-F238E27FC236}">
                  <a16:creationId xmlns:a16="http://schemas.microsoft.com/office/drawing/2014/main" id="{A86DFB18-1836-CF5C-1693-13F008F3EB45}"/>
                </a:ext>
              </a:extLst>
            </p:cNvPr>
            <p:cNvSpPr/>
            <p:nvPr/>
          </p:nvSpPr>
          <p:spPr>
            <a:xfrm>
              <a:off x="4219754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8" name="Полілінія: фігура 1177">
              <a:extLst>
                <a:ext uri="{FF2B5EF4-FFF2-40B4-BE49-F238E27FC236}">
                  <a16:creationId xmlns:a16="http://schemas.microsoft.com/office/drawing/2014/main" id="{2C2845FC-E928-1E66-6BA7-28300323E469}"/>
                </a:ext>
              </a:extLst>
            </p:cNvPr>
            <p:cNvSpPr/>
            <p:nvPr/>
          </p:nvSpPr>
          <p:spPr>
            <a:xfrm>
              <a:off x="4349150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79" name="Полілінія: фігура 1178">
              <a:extLst>
                <a:ext uri="{FF2B5EF4-FFF2-40B4-BE49-F238E27FC236}">
                  <a16:creationId xmlns:a16="http://schemas.microsoft.com/office/drawing/2014/main" id="{BC434838-823D-2DEA-0FAE-7575385D4982}"/>
                </a:ext>
              </a:extLst>
            </p:cNvPr>
            <p:cNvSpPr/>
            <p:nvPr/>
          </p:nvSpPr>
          <p:spPr>
            <a:xfrm>
              <a:off x="4607943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0" name="Полілінія: фігура 1179">
              <a:extLst>
                <a:ext uri="{FF2B5EF4-FFF2-40B4-BE49-F238E27FC236}">
                  <a16:creationId xmlns:a16="http://schemas.microsoft.com/office/drawing/2014/main" id="{5FD74B38-7899-9A4E-DFB4-851111D7B2BB}"/>
                </a:ext>
              </a:extLst>
            </p:cNvPr>
            <p:cNvSpPr/>
            <p:nvPr/>
          </p:nvSpPr>
          <p:spPr>
            <a:xfrm>
              <a:off x="4996132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1" name="Полілінія: фігура 1180">
              <a:extLst>
                <a:ext uri="{FF2B5EF4-FFF2-40B4-BE49-F238E27FC236}">
                  <a16:creationId xmlns:a16="http://schemas.microsoft.com/office/drawing/2014/main" id="{E70C9390-0ACF-FD2F-24ED-D66755516E06}"/>
                </a:ext>
              </a:extLst>
            </p:cNvPr>
            <p:cNvSpPr/>
            <p:nvPr/>
          </p:nvSpPr>
          <p:spPr>
            <a:xfrm>
              <a:off x="5254924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2" name="Полілінія: фігура 1181">
              <a:extLst>
                <a:ext uri="{FF2B5EF4-FFF2-40B4-BE49-F238E27FC236}">
                  <a16:creationId xmlns:a16="http://schemas.microsoft.com/office/drawing/2014/main" id="{DC02207D-34FB-DB4B-5821-53136C47EFE9}"/>
                </a:ext>
              </a:extLst>
            </p:cNvPr>
            <p:cNvSpPr/>
            <p:nvPr/>
          </p:nvSpPr>
          <p:spPr>
            <a:xfrm>
              <a:off x="6031301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3" name="Полілінія: фігура 1182">
              <a:extLst>
                <a:ext uri="{FF2B5EF4-FFF2-40B4-BE49-F238E27FC236}">
                  <a16:creationId xmlns:a16="http://schemas.microsoft.com/office/drawing/2014/main" id="{273CBCB0-3EBC-31F3-9DC2-55668D7B83F6}"/>
                </a:ext>
              </a:extLst>
            </p:cNvPr>
            <p:cNvSpPr/>
            <p:nvPr/>
          </p:nvSpPr>
          <p:spPr>
            <a:xfrm>
              <a:off x="6160698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4" name="Полілінія: фігура 1183">
              <a:extLst>
                <a:ext uri="{FF2B5EF4-FFF2-40B4-BE49-F238E27FC236}">
                  <a16:creationId xmlns:a16="http://schemas.microsoft.com/office/drawing/2014/main" id="{C0F8C04C-BA14-3485-1290-4A274190BDE3}"/>
                </a:ext>
              </a:extLst>
            </p:cNvPr>
            <p:cNvSpPr/>
            <p:nvPr/>
          </p:nvSpPr>
          <p:spPr>
            <a:xfrm>
              <a:off x="6290094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5" name="Полілінія: фігура 1184">
              <a:extLst>
                <a:ext uri="{FF2B5EF4-FFF2-40B4-BE49-F238E27FC236}">
                  <a16:creationId xmlns:a16="http://schemas.microsoft.com/office/drawing/2014/main" id="{A14F412B-C05D-CBD8-995A-1916121EAB5C}"/>
                </a:ext>
              </a:extLst>
            </p:cNvPr>
            <p:cNvSpPr/>
            <p:nvPr/>
          </p:nvSpPr>
          <p:spPr>
            <a:xfrm>
              <a:off x="6419490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6" name="Полілінія: фігура 1185">
              <a:extLst>
                <a:ext uri="{FF2B5EF4-FFF2-40B4-BE49-F238E27FC236}">
                  <a16:creationId xmlns:a16="http://schemas.microsoft.com/office/drawing/2014/main" id="{C5E36E61-2F66-41CB-D931-944C7F6ADADF}"/>
                </a:ext>
              </a:extLst>
            </p:cNvPr>
            <p:cNvSpPr/>
            <p:nvPr/>
          </p:nvSpPr>
          <p:spPr>
            <a:xfrm>
              <a:off x="6678283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7" name="Полілінія: фігура 1186">
              <a:extLst>
                <a:ext uri="{FF2B5EF4-FFF2-40B4-BE49-F238E27FC236}">
                  <a16:creationId xmlns:a16="http://schemas.microsoft.com/office/drawing/2014/main" id="{E45C04FE-46F2-B67A-62D0-A8358279BD2B}"/>
                </a:ext>
              </a:extLst>
            </p:cNvPr>
            <p:cNvSpPr/>
            <p:nvPr/>
          </p:nvSpPr>
          <p:spPr>
            <a:xfrm>
              <a:off x="7066471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8" name="Полілінія: фігура 1187">
              <a:extLst>
                <a:ext uri="{FF2B5EF4-FFF2-40B4-BE49-F238E27FC236}">
                  <a16:creationId xmlns:a16="http://schemas.microsoft.com/office/drawing/2014/main" id="{9461E5A1-ABA0-D5C6-A55F-9AECA6BBC3D3}"/>
                </a:ext>
              </a:extLst>
            </p:cNvPr>
            <p:cNvSpPr/>
            <p:nvPr/>
          </p:nvSpPr>
          <p:spPr>
            <a:xfrm>
              <a:off x="7195867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89" name="Полілінія: фігура 1188">
              <a:extLst>
                <a:ext uri="{FF2B5EF4-FFF2-40B4-BE49-F238E27FC236}">
                  <a16:creationId xmlns:a16="http://schemas.microsoft.com/office/drawing/2014/main" id="{422119E2-FF74-207B-BE95-879140913810}"/>
                </a:ext>
              </a:extLst>
            </p:cNvPr>
            <p:cNvSpPr/>
            <p:nvPr/>
          </p:nvSpPr>
          <p:spPr>
            <a:xfrm>
              <a:off x="7325264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0" name="Полілінія: фігура 1189">
              <a:extLst>
                <a:ext uri="{FF2B5EF4-FFF2-40B4-BE49-F238E27FC236}">
                  <a16:creationId xmlns:a16="http://schemas.microsoft.com/office/drawing/2014/main" id="{B1C26C4B-2E7A-5402-5FDC-A857DEA87805}"/>
                </a:ext>
              </a:extLst>
            </p:cNvPr>
            <p:cNvSpPr/>
            <p:nvPr/>
          </p:nvSpPr>
          <p:spPr>
            <a:xfrm>
              <a:off x="7454660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1" name="Полілінія: фігура 1190">
              <a:extLst>
                <a:ext uri="{FF2B5EF4-FFF2-40B4-BE49-F238E27FC236}">
                  <a16:creationId xmlns:a16="http://schemas.microsoft.com/office/drawing/2014/main" id="{5ECC9868-4BFE-2B2C-8956-5B9D5E097001}"/>
                </a:ext>
              </a:extLst>
            </p:cNvPr>
            <p:cNvSpPr/>
            <p:nvPr/>
          </p:nvSpPr>
          <p:spPr>
            <a:xfrm>
              <a:off x="7584056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2" name="Полілінія: фігура 1191">
              <a:extLst>
                <a:ext uri="{FF2B5EF4-FFF2-40B4-BE49-F238E27FC236}">
                  <a16:creationId xmlns:a16="http://schemas.microsoft.com/office/drawing/2014/main" id="{EAFAE736-801F-0F4A-1EFC-2B69CFBC24F7}"/>
                </a:ext>
              </a:extLst>
            </p:cNvPr>
            <p:cNvSpPr/>
            <p:nvPr/>
          </p:nvSpPr>
          <p:spPr>
            <a:xfrm>
              <a:off x="7972245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3" name="Полілінія: фігура 1192">
              <a:extLst>
                <a:ext uri="{FF2B5EF4-FFF2-40B4-BE49-F238E27FC236}">
                  <a16:creationId xmlns:a16="http://schemas.microsoft.com/office/drawing/2014/main" id="{DE2D75DE-9769-B131-678E-FA64EE157E00}"/>
                </a:ext>
              </a:extLst>
            </p:cNvPr>
            <p:cNvSpPr/>
            <p:nvPr/>
          </p:nvSpPr>
          <p:spPr>
            <a:xfrm>
              <a:off x="8231037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4" name="Полілінія: фігура 1193">
              <a:extLst>
                <a:ext uri="{FF2B5EF4-FFF2-40B4-BE49-F238E27FC236}">
                  <a16:creationId xmlns:a16="http://schemas.microsoft.com/office/drawing/2014/main" id="{53428E94-7DE6-972C-AC5C-5E94F997A63D}"/>
                </a:ext>
              </a:extLst>
            </p:cNvPr>
            <p:cNvSpPr/>
            <p:nvPr/>
          </p:nvSpPr>
          <p:spPr>
            <a:xfrm>
              <a:off x="8878018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5" name="Полілінія: фігура 1194">
              <a:extLst>
                <a:ext uri="{FF2B5EF4-FFF2-40B4-BE49-F238E27FC236}">
                  <a16:creationId xmlns:a16="http://schemas.microsoft.com/office/drawing/2014/main" id="{05C79680-D605-B47B-4AFB-C4F8A83EA3E6}"/>
                </a:ext>
              </a:extLst>
            </p:cNvPr>
            <p:cNvSpPr/>
            <p:nvPr/>
          </p:nvSpPr>
          <p:spPr>
            <a:xfrm>
              <a:off x="9136811" y="6211018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6" name="Полілінія: фігура 1195">
              <a:extLst>
                <a:ext uri="{FF2B5EF4-FFF2-40B4-BE49-F238E27FC236}">
                  <a16:creationId xmlns:a16="http://schemas.microsoft.com/office/drawing/2014/main" id="{1783A205-155D-BB53-7B86-7AD6ACFD2D51}"/>
                </a:ext>
              </a:extLst>
            </p:cNvPr>
            <p:cNvSpPr/>
            <p:nvPr/>
          </p:nvSpPr>
          <p:spPr>
            <a:xfrm>
              <a:off x="2925792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7" name="Полілінія: фігура 1196">
              <a:extLst>
                <a:ext uri="{FF2B5EF4-FFF2-40B4-BE49-F238E27FC236}">
                  <a16:creationId xmlns:a16="http://schemas.microsoft.com/office/drawing/2014/main" id="{EFED102C-6C8A-C755-7C2D-E2AEABF37E0F}"/>
                </a:ext>
              </a:extLst>
            </p:cNvPr>
            <p:cNvSpPr/>
            <p:nvPr/>
          </p:nvSpPr>
          <p:spPr>
            <a:xfrm>
              <a:off x="3702169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8" name="Полілінія: фігура 1197">
              <a:extLst>
                <a:ext uri="{FF2B5EF4-FFF2-40B4-BE49-F238E27FC236}">
                  <a16:creationId xmlns:a16="http://schemas.microsoft.com/office/drawing/2014/main" id="{4E9E4E33-C9E2-CD40-FE33-EB1BC70967D5}"/>
                </a:ext>
              </a:extLst>
            </p:cNvPr>
            <p:cNvSpPr/>
            <p:nvPr/>
          </p:nvSpPr>
          <p:spPr>
            <a:xfrm>
              <a:off x="4219754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199" name="Полілінія: фігура 1198">
              <a:extLst>
                <a:ext uri="{FF2B5EF4-FFF2-40B4-BE49-F238E27FC236}">
                  <a16:creationId xmlns:a16="http://schemas.microsoft.com/office/drawing/2014/main" id="{77A4072B-D346-9223-55D2-0E36BDEF4D63}"/>
                </a:ext>
              </a:extLst>
            </p:cNvPr>
            <p:cNvSpPr/>
            <p:nvPr/>
          </p:nvSpPr>
          <p:spPr>
            <a:xfrm>
              <a:off x="4349150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0" name="Полілінія: фігура 1199">
              <a:extLst>
                <a:ext uri="{FF2B5EF4-FFF2-40B4-BE49-F238E27FC236}">
                  <a16:creationId xmlns:a16="http://schemas.microsoft.com/office/drawing/2014/main" id="{F87273A7-F0FE-88FF-B128-2DD2CBC65E8D}"/>
                </a:ext>
              </a:extLst>
            </p:cNvPr>
            <p:cNvSpPr/>
            <p:nvPr/>
          </p:nvSpPr>
          <p:spPr>
            <a:xfrm>
              <a:off x="4737339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1" name="Полілінія: фігура 1200">
              <a:extLst>
                <a:ext uri="{FF2B5EF4-FFF2-40B4-BE49-F238E27FC236}">
                  <a16:creationId xmlns:a16="http://schemas.microsoft.com/office/drawing/2014/main" id="{FFD1EB86-BBBB-24BA-3B69-F3CDBB468707}"/>
                </a:ext>
              </a:extLst>
            </p:cNvPr>
            <p:cNvSpPr/>
            <p:nvPr/>
          </p:nvSpPr>
          <p:spPr>
            <a:xfrm>
              <a:off x="4866735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2" name="Полілінія: фігура 1201">
              <a:extLst>
                <a:ext uri="{FF2B5EF4-FFF2-40B4-BE49-F238E27FC236}">
                  <a16:creationId xmlns:a16="http://schemas.microsoft.com/office/drawing/2014/main" id="{6303A40C-2F35-5AFB-7366-EBC3E81F17D8}"/>
                </a:ext>
              </a:extLst>
            </p:cNvPr>
            <p:cNvSpPr/>
            <p:nvPr/>
          </p:nvSpPr>
          <p:spPr>
            <a:xfrm>
              <a:off x="5125528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3" name="Полілінія: фігура 1202">
              <a:extLst>
                <a:ext uri="{FF2B5EF4-FFF2-40B4-BE49-F238E27FC236}">
                  <a16:creationId xmlns:a16="http://schemas.microsoft.com/office/drawing/2014/main" id="{D71E9078-51CC-AD31-7322-A938495876F2}"/>
                </a:ext>
              </a:extLst>
            </p:cNvPr>
            <p:cNvSpPr/>
            <p:nvPr/>
          </p:nvSpPr>
          <p:spPr>
            <a:xfrm>
              <a:off x="5254924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4" name="Полілінія: фігура 1203">
              <a:extLst>
                <a:ext uri="{FF2B5EF4-FFF2-40B4-BE49-F238E27FC236}">
                  <a16:creationId xmlns:a16="http://schemas.microsoft.com/office/drawing/2014/main" id="{28A42A55-B2C5-8837-932B-7FAD0604430C}"/>
                </a:ext>
              </a:extLst>
            </p:cNvPr>
            <p:cNvSpPr/>
            <p:nvPr/>
          </p:nvSpPr>
          <p:spPr>
            <a:xfrm>
              <a:off x="5513716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5" name="Полілінія: фігура 1204">
              <a:extLst>
                <a:ext uri="{FF2B5EF4-FFF2-40B4-BE49-F238E27FC236}">
                  <a16:creationId xmlns:a16="http://schemas.microsoft.com/office/drawing/2014/main" id="{2E776015-3C5E-0969-7349-3E4BF67E432D}"/>
                </a:ext>
              </a:extLst>
            </p:cNvPr>
            <p:cNvSpPr/>
            <p:nvPr/>
          </p:nvSpPr>
          <p:spPr>
            <a:xfrm>
              <a:off x="6031301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6" name="Полілінія: фігура 1205">
              <a:extLst>
                <a:ext uri="{FF2B5EF4-FFF2-40B4-BE49-F238E27FC236}">
                  <a16:creationId xmlns:a16="http://schemas.microsoft.com/office/drawing/2014/main" id="{4E11D647-4834-E52C-ACC5-FB6FFE9903D9}"/>
                </a:ext>
              </a:extLst>
            </p:cNvPr>
            <p:cNvSpPr/>
            <p:nvPr/>
          </p:nvSpPr>
          <p:spPr>
            <a:xfrm>
              <a:off x="6290094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7" name="Полілінія: фігура 1206">
              <a:extLst>
                <a:ext uri="{FF2B5EF4-FFF2-40B4-BE49-F238E27FC236}">
                  <a16:creationId xmlns:a16="http://schemas.microsoft.com/office/drawing/2014/main" id="{54B882C7-7007-2A10-7896-64A15C97E88D}"/>
                </a:ext>
              </a:extLst>
            </p:cNvPr>
            <p:cNvSpPr/>
            <p:nvPr/>
          </p:nvSpPr>
          <p:spPr>
            <a:xfrm>
              <a:off x="6419490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8" name="Полілінія: фігура 1207">
              <a:extLst>
                <a:ext uri="{FF2B5EF4-FFF2-40B4-BE49-F238E27FC236}">
                  <a16:creationId xmlns:a16="http://schemas.microsoft.com/office/drawing/2014/main" id="{F4F95799-7D02-9D06-75A8-F7D19B60D908}"/>
                </a:ext>
              </a:extLst>
            </p:cNvPr>
            <p:cNvSpPr/>
            <p:nvPr/>
          </p:nvSpPr>
          <p:spPr>
            <a:xfrm>
              <a:off x="6678283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09" name="Полілінія: фігура 1208">
              <a:extLst>
                <a:ext uri="{FF2B5EF4-FFF2-40B4-BE49-F238E27FC236}">
                  <a16:creationId xmlns:a16="http://schemas.microsoft.com/office/drawing/2014/main" id="{05BEAC83-2AD1-654B-5C5F-B4D2EDF72A51}"/>
                </a:ext>
              </a:extLst>
            </p:cNvPr>
            <p:cNvSpPr/>
            <p:nvPr/>
          </p:nvSpPr>
          <p:spPr>
            <a:xfrm>
              <a:off x="6807679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0" name="Полілінія: фігура 1209">
              <a:extLst>
                <a:ext uri="{FF2B5EF4-FFF2-40B4-BE49-F238E27FC236}">
                  <a16:creationId xmlns:a16="http://schemas.microsoft.com/office/drawing/2014/main" id="{2A6A9D9C-CFAE-53D7-2A5E-242196E416FB}"/>
                </a:ext>
              </a:extLst>
            </p:cNvPr>
            <p:cNvSpPr/>
            <p:nvPr/>
          </p:nvSpPr>
          <p:spPr>
            <a:xfrm>
              <a:off x="6937075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1" name="Полілінія: фігура 1210">
              <a:extLst>
                <a:ext uri="{FF2B5EF4-FFF2-40B4-BE49-F238E27FC236}">
                  <a16:creationId xmlns:a16="http://schemas.microsoft.com/office/drawing/2014/main" id="{32EA595C-B60B-DE48-728A-FF795F35985F}"/>
                </a:ext>
              </a:extLst>
            </p:cNvPr>
            <p:cNvSpPr/>
            <p:nvPr/>
          </p:nvSpPr>
          <p:spPr>
            <a:xfrm>
              <a:off x="7454660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2" name="Полілінія: фігура 1211">
              <a:extLst>
                <a:ext uri="{FF2B5EF4-FFF2-40B4-BE49-F238E27FC236}">
                  <a16:creationId xmlns:a16="http://schemas.microsoft.com/office/drawing/2014/main" id="{C629BB4A-1C62-7CA7-8984-C4010549DBB1}"/>
                </a:ext>
              </a:extLst>
            </p:cNvPr>
            <p:cNvSpPr/>
            <p:nvPr/>
          </p:nvSpPr>
          <p:spPr>
            <a:xfrm>
              <a:off x="7584056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3" name="Полілінія: фігура 1212">
              <a:extLst>
                <a:ext uri="{FF2B5EF4-FFF2-40B4-BE49-F238E27FC236}">
                  <a16:creationId xmlns:a16="http://schemas.microsoft.com/office/drawing/2014/main" id="{6E2A6689-1CA5-7D48-4D74-C1201462D7A8}"/>
                </a:ext>
              </a:extLst>
            </p:cNvPr>
            <p:cNvSpPr/>
            <p:nvPr/>
          </p:nvSpPr>
          <p:spPr>
            <a:xfrm>
              <a:off x="7842849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4" name="Полілінія: фігура 1213">
              <a:extLst>
                <a:ext uri="{FF2B5EF4-FFF2-40B4-BE49-F238E27FC236}">
                  <a16:creationId xmlns:a16="http://schemas.microsoft.com/office/drawing/2014/main" id="{74E632FF-2ABD-8EF7-2858-2FEB0A987463}"/>
                </a:ext>
              </a:extLst>
            </p:cNvPr>
            <p:cNvSpPr/>
            <p:nvPr/>
          </p:nvSpPr>
          <p:spPr>
            <a:xfrm>
              <a:off x="8101641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5" name="Полілінія: фігура 1214">
              <a:extLst>
                <a:ext uri="{FF2B5EF4-FFF2-40B4-BE49-F238E27FC236}">
                  <a16:creationId xmlns:a16="http://schemas.microsoft.com/office/drawing/2014/main" id="{1720621A-42D7-241C-D9ED-4F494B5D6D65}"/>
                </a:ext>
              </a:extLst>
            </p:cNvPr>
            <p:cNvSpPr/>
            <p:nvPr/>
          </p:nvSpPr>
          <p:spPr>
            <a:xfrm>
              <a:off x="8489830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6" name="Полілінія: фігура 1215">
              <a:extLst>
                <a:ext uri="{FF2B5EF4-FFF2-40B4-BE49-F238E27FC236}">
                  <a16:creationId xmlns:a16="http://schemas.microsoft.com/office/drawing/2014/main" id="{400175FF-1180-9EF1-667E-71A6699D2D8C}"/>
                </a:ext>
              </a:extLst>
            </p:cNvPr>
            <p:cNvSpPr/>
            <p:nvPr/>
          </p:nvSpPr>
          <p:spPr>
            <a:xfrm>
              <a:off x="9007415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7" name="Полілінія: фігура 1216">
              <a:extLst>
                <a:ext uri="{FF2B5EF4-FFF2-40B4-BE49-F238E27FC236}">
                  <a16:creationId xmlns:a16="http://schemas.microsoft.com/office/drawing/2014/main" id="{8FD648D7-1C18-0883-936B-DA8FC0B040B0}"/>
                </a:ext>
              </a:extLst>
            </p:cNvPr>
            <p:cNvSpPr/>
            <p:nvPr/>
          </p:nvSpPr>
          <p:spPr>
            <a:xfrm>
              <a:off x="9136811" y="6340415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8" name="Полілінія: фігура 1217">
              <a:extLst>
                <a:ext uri="{FF2B5EF4-FFF2-40B4-BE49-F238E27FC236}">
                  <a16:creationId xmlns:a16="http://schemas.microsoft.com/office/drawing/2014/main" id="{F222DD4E-E949-566D-22EB-6D20A952ACFD}"/>
                </a:ext>
              </a:extLst>
            </p:cNvPr>
            <p:cNvSpPr/>
            <p:nvPr/>
          </p:nvSpPr>
          <p:spPr>
            <a:xfrm>
              <a:off x="2925792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19" name="Полілінія: фігура 1218">
              <a:extLst>
                <a:ext uri="{FF2B5EF4-FFF2-40B4-BE49-F238E27FC236}">
                  <a16:creationId xmlns:a16="http://schemas.microsoft.com/office/drawing/2014/main" id="{E0288FB6-DEC7-07C8-9604-066095C1EA9E}"/>
                </a:ext>
              </a:extLst>
            </p:cNvPr>
            <p:cNvSpPr/>
            <p:nvPr/>
          </p:nvSpPr>
          <p:spPr>
            <a:xfrm>
              <a:off x="3055188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0" name="Полілінія: фігура 1219">
              <a:extLst>
                <a:ext uri="{FF2B5EF4-FFF2-40B4-BE49-F238E27FC236}">
                  <a16:creationId xmlns:a16="http://schemas.microsoft.com/office/drawing/2014/main" id="{4224E646-9335-7AF3-D184-B0C2D88128D2}"/>
                </a:ext>
              </a:extLst>
            </p:cNvPr>
            <p:cNvSpPr/>
            <p:nvPr/>
          </p:nvSpPr>
          <p:spPr>
            <a:xfrm>
              <a:off x="3184584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1" name="Полілінія: фігура 1220">
              <a:extLst>
                <a:ext uri="{FF2B5EF4-FFF2-40B4-BE49-F238E27FC236}">
                  <a16:creationId xmlns:a16="http://schemas.microsoft.com/office/drawing/2014/main" id="{3838DF6F-9270-0A4E-BA59-C61F966CB74B}"/>
                </a:ext>
              </a:extLst>
            </p:cNvPr>
            <p:cNvSpPr/>
            <p:nvPr/>
          </p:nvSpPr>
          <p:spPr>
            <a:xfrm>
              <a:off x="3313981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2" name="Полілінія: фігура 1221">
              <a:extLst>
                <a:ext uri="{FF2B5EF4-FFF2-40B4-BE49-F238E27FC236}">
                  <a16:creationId xmlns:a16="http://schemas.microsoft.com/office/drawing/2014/main" id="{886AA6AF-88CE-265F-DA7A-B2C791763929}"/>
                </a:ext>
              </a:extLst>
            </p:cNvPr>
            <p:cNvSpPr/>
            <p:nvPr/>
          </p:nvSpPr>
          <p:spPr>
            <a:xfrm>
              <a:off x="3443377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3" name="Полілінія: фігура 1222">
              <a:extLst>
                <a:ext uri="{FF2B5EF4-FFF2-40B4-BE49-F238E27FC236}">
                  <a16:creationId xmlns:a16="http://schemas.microsoft.com/office/drawing/2014/main" id="{A5C7E6A1-DCBE-47E3-297C-B22076879270}"/>
                </a:ext>
              </a:extLst>
            </p:cNvPr>
            <p:cNvSpPr/>
            <p:nvPr/>
          </p:nvSpPr>
          <p:spPr>
            <a:xfrm>
              <a:off x="3572773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4" name="Полілінія: фігура 1223">
              <a:extLst>
                <a:ext uri="{FF2B5EF4-FFF2-40B4-BE49-F238E27FC236}">
                  <a16:creationId xmlns:a16="http://schemas.microsoft.com/office/drawing/2014/main" id="{B744AE3C-82F9-9758-F050-F87F9F88E3E7}"/>
                </a:ext>
              </a:extLst>
            </p:cNvPr>
            <p:cNvSpPr/>
            <p:nvPr/>
          </p:nvSpPr>
          <p:spPr>
            <a:xfrm>
              <a:off x="3702169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5" name="Полілінія: фігура 1224">
              <a:extLst>
                <a:ext uri="{FF2B5EF4-FFF2-40B4-BE49-F238E27FC236}">
                  <a16:creationId xmlns:a16="http://schemas.microsoft.com/office/drawing/2014/main" id="{ECE5FA5E-EDD5-427D-0599-F5E3FF89E9A3}"/>
                </a:ext>
              </a:extLst>
            </p:cNvPr>
            <p:cNvSpPr/>
            <p:nvPr/>
          </p:nvSpPr>
          <p:spPr>
            <a:xfrm>
              <a:off x="4219754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6" name="Полілінія: фігура 1225">
              <a:extLst>
                <a:ext uri="{FF2B5EF4-FFF2-40B4-BE49-F238E27FC236}">
                  <a16:creationId xmlns:a16="http://schemas.microsoft.com/office/drawing/2014/main" id="{EB468AA1-31D0-F2D0-6FDC-5475444057D9}"/>
                </a:ext>
              </a:extLst>
            </p:cNvPr>
            <p:cNvSpPr/>
            <p:nvPr/>
          </p:nvSpPr>
          <p:spPr>
            <a:xfrm>
              <a:off x="4866735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7" name="Полілінія: фігура 1226">
              <a:extLst>
                <a:ext uri="{FF2B5EF4-FFF2-40B4-BE49-F238E27FC236}">
                  <a16:creationId xmlns:a16="http://schemas.microsoft.com/office/drawing/2014/main" id="{723BD1DE-05FC-AE32-4C8A-6BEAB20E8219}"/>
                </a:ext>
              </a:extLst>
            </p:cNvPr>
            <p:cNvSpPr/>
            <p:nvPr/>
          </p:nvSpPr>
          <p:spPr>
            <a:xfrm>
              <a:off x="4996132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8" name="Полілінія: фігура 1227">
              <a:extLst>
                <a:ext uri="{FF2B5EF4-FFF2-40B4-BE49-F238E27FC236}">
                  <a16:creationId xmlns:a16="http://schemas.microsoft.com/office/drawing/2014/main" id="{6692D581-FB89-E9EF-77B1-52362FAEED16}"/>
                </a:ext>
              </a:extLst>
            </p:cNvPr>
            <p:cNvSpPr/>
            <p:nvPr/>
          </p:nvSpPr>
          <p:spPr>
            <a:xfrm>
              <a:off x="5125528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29" name="Полілінія: фігура 1228">
              <a:extLst>
                <a:ext uri="{FF2B5EF4-FFF2-40B4-BE49-F238E27FC236}">
                  <a16:creationId xmlns:a16="http://schemas.microsoft.com/office/drawing/2014/main" id="{B261BABA-10CD-082C-03C9-17E6881FDA9F}"/>
                </a:ext>
              </a:extLst>
            </p:cNvPr>
            <p:cNvSpPr/>
            <p:nvPr/>
          </p:nvSpPr>
          <p:spPr>
            <a:xfrm>
              <a:off x="5254924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0" name="Полілінія: фігура 1229">
              <a:extLst>
                <a:ext uri="{FF2B5EF4-FFF2-40B4-BE49-F238E27FC236}">
                  <a16:creationId xmlns:a16="http://schemas.microsoft.com/office/drawing/2014/main" id="{9B17C054-26AE-488A-8EC4-D462FE4CA470}"/>
                </a:ext>
              </a:extLst>
            </p:cNvPr>
            <p:cNvSpPr/>
            <p:nvPr/>
          </p:nvSpPr>
          <p:spPr>
            <a:xfrm>
              <a:off x="5384320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1" name="Полілінія: фігура 1230">
              <a:extLst>
                <a:ext uri="{FF2B5EF4-FFF2-40B4-BE49-F238E27FC236}">
                  <a16:creationId xmlns:a16="http://schemas.microsoft.com/office/drawing/2014/main" id="{050B1109-AFAE-8616-7898-B1E457DE68EE}"/>
                </a:ext>
              </a:extLst>
            </p:cNvPr>
            <p:cNvSpPr/>
            <p:nvPr/>
          </p:nvSpPr>
          <p:spPr>
            <a:xfrm>
              <a:off x="5513716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2" name="Полілінія: фігура 1231">
              <a:extLst>
                <a:ext uri="{FF2B5EF4-FFF2-40B4-BE49-F238E27FC236}">
                  <a16:creationId xmlns:a16="http://schemas.microsoft.com/office/drawing/2014/main" id="{DC48E4AC-750C-18A8-876C-B63FB5E21E2E}"/>
                </a:ext>
              </a:extLst>
            </p:cNvPr>
            <p:cNvSpPr/>
            <p:nvPr/>
          </p:nvSpPr>
          <p:spPr>
            <a:xfrm>
              <a:off x="5772509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3" name="Полілінія: фігура 1232">
              <a:extLst>
                <a:ext uri="{FF2B5EF4-FFF2-40B4-BE49-F238E27FC236}">
                  <a16:creationId xmlns:a16="http://schemas.microsoft.com/office/drawing/2014/main" id="{61C5A161-45A8-5126-2047-A8E2C23C0F7A}"/>
                </a:ext>
              </a:extLst>
            </p:cNvPr>
            <p:cNvSpPr/>
            <p:nvPr/>
          </p:nvSpPr>
          <p:spPr>
            <a:xfrm>
              <a:off x="5901905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4" name="Полілінія: фігура 1233">
              <a:extLst>
                <a:ext uri="{FF2B5EF4-FFF2-40B4-BE49-F238E27FC236}">
                  <a16:creationId xmlns:a16="http://schemas.microsoft.com/office/drawing/2014/main" id="{F273B88E-5BDE-F924-95A8-E1A0C958D485}"/>
                </a:ext>
              </a:extLst>
            </p:cNvPr>
            <p:cNvSpPr/>
            <p:nvPr/>
          </p:nvSpPr>
          <p:spPr>
            <a:xfrm>
              <a:off x="6290094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5" name="Полілінія: фігура 1234">
              <a:extLst>
                <a:ext uri="{FF2B5EF4-FFF2-40B4-BE49-F238E27FC236}">
                  <a16:creationId xmlns:a16="http://schemas.microsoft.com/office/drawing/2014/main" id="{24BB1E14-79EA-885F-4A28-8C6268F4E871}"/>
                </a:ext>
              </a:extLst>
            </p:cNvPr>
            <p:cNvSpPr/>
            <p:nvPr/>
          </p:nvSpPr>
          <p:spPr>
            <a:xfrm>
              <a:off x="6419490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6" name="Полілінія: фігура 1235">
              <a:extLst>
                <a:ext uri="{FF2B5EF4-FFF2-40B4-BE49-F238E27FC236}">
                  <a16:creationId xmlns:a16="http://schemas.microsoft.com/office/drawing/2014/main" id="{DC5FD7CB-7CAC-7ADD-EE16-C9CCEDD9EF29}"/>
                </a:ext>
              </a:extLst>
            </p:cNvPr>
            <p:cNvSpPr/>
            <p:nvPr/>
          </p:nvSpPr>
          <p:spPr>
            <a:xfrm>
              <a:off x="6937075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7" name="Полілінія: фігура 1236">
              <a:extLst>
                <a:ext uri="{FF2B5EF4-FFF2-40B4-BE49-F238E27FC236}">
                  <a16:creationId xmlns:a16="http://schemas.microsoft.com/office/drawing/2014/main" id="{0471AE41-660C-B135-2543-FF856F243FDA}"/>
                </a:ext>
              </a:extLst>
            </p:cNvPr>
            <p:cNvSpPr/>
            <p:nvPr/>
          </p:nvSpPr>
          <p:spPr>
            <a:xfrm>
              <a:off x="7454660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8" name="Полілінія: фігура 1237">
              <a:extLst>
                <a:ext uri="{FF2B5EF4-FFF2-40B4-BE49-F238E27FC236}">
                  <a16:creationId xmlns:a16="http://schemas.microsoft.com/office/drawing/2014/main" id="{3957DC06-AD46-3A05-6B9F-CA764EE108B7}"/>
                </a:ext>
              </a:extLst>
            </p:cNvPr>
            <p:cNvSpPr/>
            <p:nvPr/>
          </p:nvSpPr>
          <p:spPr>
            <a:xfrm>
              <a:off x="7972245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39" name="Полілінія: фігура 1238">
              <a:extLst>
                <a:ext uri="{FF2B5EF4-FFF2-40B4-BE49-F238E27FC236}">
                  <a16:creationId xmlns:a16="http://schemas.microsoft.com/office/drawing/2014/main" id="{3FDE857B-EA47-F7B0-AD26-E0444B9CC07F}"/>
                </a:ext>
              </a:extLst>
            </p:cNvPr>
            <p:cNvSpPr/>
            <p:nvPr/>
          </p:nvSpPr>
          <p:spPr>
            <a:xfrm>
              <a:off x="8101641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40" name="Полілінія: фігура 1239">
              <a:extLst>
                <a:ext uri="{FF2B5EF4-FFF2-40B4-BE49-F238E27FC236}">
                  <a16:creationId xmlns:a16="http://schemas.microsoft.com/office/drawing/2014/main" id="{CD58CC71-609B-85D6-468E-E4B40DC35095}"/>
                </a:ext>
              </a:extLst>
            </p:cNvPr>
            <p:cNvSpPr/>
            <p:nvPr/>
          </p:nvSpPr>
          <p:spPr>
            <a:xfrm>
              <a:off x="8231037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41" name="Полілінія: фігура 1240">
              <a:extLst>
                <a:ext uri="{FF2B5EF4-FFF2-40B4-BE49-F238E27FC236}">
                  <a16:creationId xmlns:a16="http://schemas.microsoft.com/office/drawing/2014/main" id="{E48A69D6-19B9-0D50-4403-BB231BE3B416}"/>
                </a:ext>
              </a:extLst>
            </p:cNvPr>
            <p:cNvSpPr/>
            <p:nvPr/>
          </p:nvSpPr>
          <p:spPr>
            <a:xfrm>
              <a:off x="8619226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42" name="Полілінія: фігура 1241">
              <a:extLst>
                <a:ext uri="{FF2B5EF4-FFF2-40B4-BE49-F238E27FC236}">
                  <a16:creationId xmlns:a16="http://schemas.microsoft.com/office/drawing/2014/main" id="{4CA7B70A-771D-71E2-80AE-70DEFB45264A}"/>
                </a:ext>
              </a:extLst>
            </p:cNvPr>
            <p:cNvSpPr/>
            <p:nvPr/>
          </p:nvSpPr>
          <p:spPr>
            <a:xfrm>
              <a:off x="8748622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43" name="Полілінія: фігура 1242">
              <a:extLst>
                <a:ext uri="{FF2B5EF4-FFF2-40B4-BE49-F238E27FC236}">
                  <a16:creationId xmlns:a16="http://schemas.microsoft.com/office/drawing/2014/main" id="{B9C090F5-AE22-0F27-48BE-9DBDE2FF2D78}"/>
                </a:ext>
              </a:extLst>
            </p:cNvPr>
            <p:cNvSpPr/>
            <p:nvPr/>
          </p:nvSpPr>
          <p:spPr>
            <a:xfrm>
              <a:off x="8878018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44" name="Полілінія: фігура 1243">
              <a:extLst>
                <a:ext uri="{FF2B5EF4-FFF2-40B4-BE49-F238E27FC236}">
                  <a16:creationId xmlns:a16="http://schemas.microsoft.com/office/drawing/2014/main" id="{17538B12-2F16-2D07-8C60-8BBBD8CC2CA5}"/>
                </a:ext>
              </a:extLst>
            </p:cNvPr>
            <p:cNvSpPr/>
            <p:nvPr/>
          </p:nvSpPr>
          <p:spPr>
            <a:xfrm>
              <a:off x="9007415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245" name="Полілінія: фігура 1244">
              <a:extLst>
                <a:ext uri="{FF2B5EF4-FFF2-40B4-BE49-F238E27FC236}">
                  <a16:creationId xmlns:a16="http://schemas.microsoft.com/office/drawing/2014/main" id="{7908C48C-20A8-A932-B547-F5B5B373A139}"/>
                </a:ext>
              </a:extLst>
            </p:cNvPr>
            <p:cNvSpPr/>
            <p:nvPr/>
          </p:nvSpPr>
          <p:spPr>
            <a:xfrm>
              <a:off x="9136811" y="6469811"/>
              <a:ext cx="129396" cy="129396"/>
            </a:xfrm>
            <a:custGeom>
              <a:avLst/>
              <a:gdLst>
                <a:gd name="connsiteX0" fmla="*/ 0 w 129396"/>
                <a:gd name="connsiteY0" fmla="*/ 0 h 129396"/>
                <a:gd name="connsiteX1" fmla="*/ 129396 w 129396"/>
                <a:gd name="connsiteY1" fmla="*/ 0 h 129396"/>
                <a:gd name="connsiteX2" fmla="*/ 129396 w 129396"/>
                <a:gd name="connsiteY2" fmla="*/ 129396 h 129396"/>
                <a:gd name="connsiteX3" fmla="*/ 0 w 129396"/>
                <a:gd name="connsiteY3" fmla="*/ 129396 h 129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96" h="129396">
                  <a:moveTo>
                    <a:pt x="0" y="0"/>
                  </a:moveTo>
                  <a:lnTo>
                    <a:pt x="129396" y="0"/>
                  </a:lnTo>
                  <a:lnTo>
                    <a:pt x="129396" y="129396"/>
                  </a:lnTo>
                  <a:lnTo>
                    <a:pt x="0" y="129396"/>
                  </a:lnTo>
                  <a:close/>
                </a:path>
              </a:pathLst>
            </a:custGeom>
            <a:grpFill/>
            <a:ln w="32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</p:grpSp>
      <p:sp>
        <p:nvSpPr>
          <p:cNvPr id="1271" name="TextBox 1270">
            <a:extLst>
              <a:ext uri="{FF2B5EF4-FFF2-40B4-BE49-F238E27FC236}">
                <a16:creationId xmlns:a16="http://schemas.microsoft.com/office/drawing/2014/main" id="{17602BE8-CF69-F81D-508E-9E7F0F15418C}"/>
              </a:ext>
            </a:extLst>
          </p:cNvPr>
          <p:cNvSpPr txBox="1"/>
          <p:nvPr/>
        </p:nvSpPr>
        <p:spPr>
          <a:xfrm>
            <a:off x="9410704" y="6372786"/>
            <a:ext cx="14023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>
                <a:solidFill>
                  <a:srgbClr val="008FC8"/>
                </a:solidFill>
                <a:latin typeface="+mj-lt"/>
              </a:rPr>
              <a:t>Energy Community</a:t>
            </a:r>
            <a:endParaRPr lang="ru-RU" sz="1100" dirty="0">
              <a:solidFill>
                <a:srgbClr val="008FC8"/>
              </a:solidFill>
              <a:latin typeface="+mj-lt"/>
            </a:endParaRPr>
          </a:p>
          <a:p>
            <a:pPr algn="r"/>
            <a:r>
              <a:rPr lang="en-US" sz="1100" dirty="0">
                <a:solidFill>
                  <a:srgbClr val="008FC8"/>
                </a:solidFill>
                <a:latin typeface="+mj-lt"/>
              </a:rPr>
              <a:t>assessment note</a:t>
            </a:r>
            <a:endParaRPr lang="uk-UA" sz="1100" dirty="0">
              <a:solidFill>
                <a:srgbClr val="008FC8"/>
              </a:solidFill>
              <a:latin typeface="+mj-lt"/>
            </a:endParaRPr>
          </a:p>
        </p:txBody>
      </p:sp>
      <p:grpSp>
        <p:nvGrpSpPr>
          <p:cNvPr id="2" name="Групувати 1">
            <a:extLst>
              <a:ext uri="{FF2B5EF4-FFF2-40B4-BE49-F238E27FC236}">
                <a16:creationId xmlns:a16="http://schemas.microsoft.com/office/drawing/2014/main" id="{5C341FEC-2CBE-40F6-D59A-DD73F48C8358}"/>
              </a:ext>
            </a:extLst>
          </p:cNvPr>
          <p:cNvGrpSpPr/>
          <p:nvPr/>
        </p:nvGrpSpPr>
        <p:grpSpPr>
          <a:xfrm>
            <a:off x="4443428" y="216056"/>
            <a:ext cx="3489275" cy="212625"/>
            <a:chOff x="5103828" y="222406"/>
            <a:chExt cx="3489275" cy="212625"/>
          </a:xfrm>
        </p:grpSpPr>
        <p:sp>
          <p:nvSpPr>
            <p:cNvPr id="1277" name="Полілінія: фігура 1276">
              <a:extLst>
                <a:ext uri="{FF2B5EF4-FFF2-40B4-BE49-F238E27FC236}">
                  <a16:creationId xmlns:a16="http://schemas.microsoft.com/office/drawing/2014/main" id="{EBBB8EA6-E2A6-D75F-F802-2C9C8B1D22D8}"/>
                </a:ext>
              </a:extLst>
            </p:cNvPr>
            <p:cNvSpPr/>
            <p:nvPr/>
          </p:nvSpPr>
          <p:spPr>
            <a:xfrm>
              <a:off x="6022437" y="222406"/>
              <a:ext cx="132266" cy="206275"/>
            </a:xfrm>
            <a:custGeom>
              <a:avLst/>
              <a:gdLst/>
              <a:ahLst/>
              <a:cxnLst/>
              <a:rect l="l" t="t" r="r" b="b"/>
              <a:pathLst>
                <a:path w="132266" h="206275">
                  <a:moveTo>
                    <a:pt x="66847" y="0"/>
                  </a:moveTo>
                  <a:cubicBezTo>
                    <a:pt x="79236" y="71"/>
                    <a:pt x="90335" y="1998"/>
                    <a:pt x="100142" y="5780"/>
                  </a:cubicBezTo>
                  <a:cubicBezTo>
                    <a:pt x="109949" y="9562"/>
                    <a:pt x="117898" y="14771"/>
                    <a:pt x="123988" y="21408"/>
                  </a:cubicBezTo>
                  <a:lnTo>
                    <a:pt x="105146" y="47687"/>
                  </a:lnTo>
                  <a:cubicBezTo>
                    <a:pt x="100424" y="42941"/>
                    <a:pt x="95306" y="39285"/>
                    <a:pt x="89791" y="36719"/>
                  </a:cubicBezTo>
                  <a:cubicBezTo>
                    <a:pt x="84277" y="34153"/>
                    <a:pt x="77581" y="32855"/>
                    <a:pt x="69706" y="32825"/>
                  </a:cubicBezTo>
                  <a:cubicBezTo>
                    <a:pt x="60907" y="32920"/>
                    <a:pt x="54056" y="34945"/>
                    <a:pt x="49154" y="38899"/>
                  </a:cubicBezTo>
                  <a:cubicBezTo>
                    <a:pt x="44251" y="42852"/>
                    <a:pt x="41761" y="48164"/>
                    <a:pt x="41684" y="54833"/>
                  </a:cubicBezTo>
                  <a:cubicBezTo>
                    <a:pt x="42155" y="64844"/>
                    <a:pt x="46873" y="72493"/>
                    <a:pt x="55837" y="77779"/>
                  </a:cubicBezTo>
                  <a:cubicBezTo>
                    <a:pt x="64801" y="83065"/>
                    <a:pt x="75180" y="88088"/>
                    <a:pt x="86975" y="92847"/>
                  </a:cubicBezTo>
                  <a:cubicBezTo>
                    <a:pt x="98770" y="97607"/>
                    <a:pt x="109149" y="104202"/>
                    <a:pt x="118113" y="112632"/>
                  </a:cubicBezTo>
                  <a:cubicBezTo>
                    <a:pt x="127077" y="121062"/>
                    <a:pt x="131795" y="133427"/>
                    <a:pt x="132266" y="149726"/>
                  </a:cubicBezTo>
                  <a:cubicBezTo>
                    <a:pt x="131821" y="166832"/>
                    <a:pt x="125360" y="180471"/>
                    <a:pt x="112884" y="190644"/>
                  </a:cubicBezTo>
                  <a:cubicBezTo>
                    <a:pt x="100407" y="200816"/>
                    <a:pt x="84584" y="206026"/>
                    <a:pt x="65417" y="206275"/>
                  </a:cubicBezTo>
                  <a:cubicBezTo>
                    <a:pt x="56688" y="206263"/>
                    <a:pt x="47942" y="205051"/>
                    <a:pt x="39178" y="202639"/>
                  </a:cubicBezTo>
                  <a:cubicBezTo>
                    <a:pt x="30415" y="200227"/>
                    <a:pt x="22541" y="196688"/>
                    <a:pt x="15557" y="192025"/>
                  </a:cubicBezTo>
                  <a:cubicBezTo>
                    <a:pt x="8574" y="187361"/>
                    <a:pt x="3388" y="181645"/>
                    <a:pt x="0" y="174877"/>
                  </a:cubicBezTo>
                  <a:lnTo>
                    <a:pt x="19987" y="150870"/>
                  </a:lnTo>
                  <a:cubicBezTo>
                    <a:pt x="26060" y="158438"/>
                    <a:pt x="33260" y="164095"/>
                    <a:pt x="41587" y="167841"/>
                  </a:cubicBezTo>
                  <a:cubicBezTo>
                    <a:pt x="49914" y="171586"/>
                    <a:pt x="58048" y="173456"/>
                    <a:pt x="65989" y="173450"/>
                  </a:cubicBezTo>
                  <a:cubicBezTo>
                    <a:pt x="74460" y="173420"/>
                    <a:pt x="81394" y="171407"/>
                    <a:pt x="86791" y="167412"/>
                  </a:cubicBezTo>
                  <a:cubicBezTo>
                    <a:pt x="92188" y="163416"/>
                    <a:pt x="94976" y="157616"/>
                    <a:pt x="95154" y="150012"/>
                  </a:cubicBezTo>
                  <a:cubicBezTo>
                    <a:pt x="94683" y="140474"/>
                    <a:pt x="89965" y="133040"/>
                    <a:pt x="81001" y="127709"/>
                  </a:cubicBezTo>
                  <a:cubicBezTo>
                    <a:pt x="72037" y="122378"/>
                    <a:pt x="61658" y="117212"/>
                    <a:pt x="49863" y="112212"/>
                  </a:cubicBezTo>
                  <a:cubicBezTo>
                    <a:pt x="38069" y="107212"/>
                    <a:pt x="27689" y="100438"/>
                    <a:pt x="18725" y="91892"/>
                  </a:cubicBezTo>
                  <a:cubicBezTo>
                    <a:pt x="9762" y="83345"/>
                    <a:pt x="5044" y="71088"/>
                    <a:pt x="4572" y="55119"/>
                  </a:cubicBezTo>
                  <a:cubicBezTo>
                    <a:pt x="4738" y="39697"/>
                    <a:pt x="10258" y="26760"/>
                    <a:pt x="21134" y="16309"/>
                  </a:cubicBezTo>
                  <a:cubicBezTo>
                    <a:pt x="32011" y="5858"/>
                    <a:pt x="47248" y="421"/>
                    <a:pt x="66847" y="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78" name="Полілінія: фігура 1277">
              <a:extLst>
                <a:ext uri="{FF2B5EF4-FFF2-40B4-BE49-F238E27FC236}">
                  <a16:creationId xmlns:a16="http://schemas.microsoft.com/office/drawing/2014/main" id="{B32736C9-FA98-ECE1-EFEB-3E83004E3912}"/>
                </a:ext>
              </a:extLst>
            </p:cNvPr>
            <p:cNvSpPr/>
            <p:nvPr/>
          </p:nvSpPr>
          <p:spPr>
            <a:xfrm>
              <a:off x="6393912" y="222406"/>
              <a:ext cx="208276" cy="206275"/>
            </a:xfrm>
            <a:custGeom>
              <a:avLst/>
              <a:gdLst/>
              <a:ahLst/>
              <a:cxnLst/>
              <a:rect l="l" t="t" r="r" b="b"/>
              <a:pathLst>
                <a:path w="208276" h="206275">
                  <a:moveTo>
                    <a:pt x="103994" y="0"/>
                  </a:moveTo>
                  <a:cubicBezTo>
                    <a:pt x="123998" y="119"/>
                    <a:pt x="141818" y="4417"/>
                    <a:pt x="157453" y="12892"/>
                  </a:cubicBezTo>
                  <a:cubicBezTo>
                    <a:pt x="173089" y="21368"/>
                    <a:pt x="185422" y="33306"/>
                    <a:pt x="194452" y="48705"/>
                  </a:cubicBezTo>
                  <a:cubicBezTo>
                    <a:pt x="203481" y="64104"/>
                    <a:pt x="208089" y="82248"/>
                    <a:pt x="208276" y="103137"/>
                  </a:cubicBezTo>
                  <a:cubicBezTo>
                    <a:pt x="208089" y="123307"/>
                    <a:pt x="203481" y="141112"/>
                    <a:pt x="194452" y="156554"/>
                  </a:cubicBezTo>
                  <a:cubicBezTo>
                    <a:pt x="185422" y="171995"/>
                    <a:pt x="173089" y="184102"/>
                    <a:pt x="157453" y="192874"/>
                  </a:cubicBezTo>
                  <a:cubicBezTo>
                    <a:pt x="141818" y="201647"/>
                    <a:pt x="123998" y="206114"/>
                    <a:pt x="103994" y="206275"/>
                  </a:cubicBezTo>
                  <a:cubicBezTo>
                    <a:pt x="83994" y="206156"/>
                    <a:pt x="66200" y="201858"/>
                    <a:pt x="50610" y="193382"/>
                  </a:cubicBezTo>
                  <a:cubicBezTo>
                    <a:pt x="35021" y="184907"/>
                    <a:pt x="22734" y="172969"/>
                    <a:pt x="13750" y="157570"/>
                  </a:cubicBezTo>
                  <a:cubicBezTo>
                    <a:pt x="4766" y="142171"/>
                    <a:pt x="183" y="124026"/>
                    <a:pt x="0" y="103137"/>
                  </a:cubicBezTo>
                  <a:cubicBezTo>
                    <a:pt x="146" y="83598"/>
                    <a:pt x="4581" y="66089"/>
                    <a:pt x="13305" y="50610"/>
                  </a:cubicBezTo>
                  <a:cubicBezTo>
                    <a:pt x="22030" y="35132"/>
                    <a:pt x="34168" y="22877"/>
                    <a:pt x="49721" y="13845"/>
                  </a:cubicBezTo>
                  <a:cubicBezTo>
                    <a:pt x="65273" y="4814"/>
                    <a:pt x="83364" y="198"/>
                    <a:pt x="103994" y="0"/>
                  </a:cubicBezTo>
                  <a:close/>
                  <a:moveTo>
                    <a:pt x="103994" y="32825"/>
                  </a:moveTo>
                  <a:cubicBezTo>
                    <a:pt x="84451" y="33165"/>
                    <a:pt x="68516" y="39703"/>
                    <a:pt x="56190" y="52439"/>
                  </a:cubicBezTo>
                  <a:cubicBezTo>
                    <a:pt x="43864" y="65176"/>
                    <a:pt x="37505" y="82076"/>
                    <a:pt x="37111" y="103137"/>
                  </a:cubicBezTo>
                  <a:cubicBezTo>
                    <a:pt x="37558" y="123574"/>
                    <a:pt x="44025" y="140294"/>
                    <a:pt x="56512" y="153299"/>
                  </a:cubicBezTo>
                  <a:cubicBezTo>
                    <a:pt x="68999" y="166304"/>
                    <a:pt x="84827" y="173021"/>
                    <a:pt x="103994" y="173450"/>
                  </a:cubicBezTo>
                  <a:cubicBezTo>
                    <a:pt x="125175" y="172985"/>
                    <a:pt x="141622" y="166197"/>
                    <a:pt x="153335" y="153085"/>
                  </a:cubicBezTo>
                  <a:cubicBezTo>
                    <a:pt x="165048" y="139973"/>
                    <a:pt x="170991" y="123323"/>
                    <a:pt x="171164" y="103137"/>
                  </a:cubicBezTo>
                  <a:cubicBezTo>
                    <a:pt x="170723" y="82076"/>
                    <a:pt x="164245" y="65176"/>
                    <a:pt x="151728" y="52439"/>
                  </a:cubicBezTo>
                  <a:cubicBezTo>
                    <a:pt x="139210" y="39703"/>
                    <a:pt x="123299" y="33165"/>
                    <a:pt x="103994" y="32825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79" name="Полілінія: фігура 1278">
              <a:extLst>
                <a:ext uri="{FF2B5EF4-FFF2-40B4-BE49-F238E27FC236}">
                  <a16:creationId xmlns:a16="http://schemas.microsoft.com/office/drawing/2014/main" id="{EB233AEC-FFE4-0272-29BD-D130AF44F08C}"/>
                </a:ext>
              </a:extLst>
            </p:cNvPr>
            <p:cNvSpPr/>
            <p:nvPr/>
          </p:nvSpPr>
          <p:spPr>
            <a:xfrm>
              <a:off x="6879687" y="222406"/>
              <a:ext cx="167128" cy="206275"/>
            </a:xfrm>
            <a:custGeom>
              <a:avLst/>
              <a:gdLst/>
              <a:ahLst/>
              <a:cxnLst/>
              <a:rect l="l" t="t" r="r" b="b"/>
              <a:pathLst>
                <a:path w="167128" h="206275">
                  <a:moveTo>
                    <a:pt x="102262" y="0"/>
                  </a:moveTo>
                  <a:cubicBezTo>
                    <a:pt x="115353" y="95"/>
                    <a:pt x="127105" y="1974"/>
                    <a:pt x="137517" y="5637"/>
                  </a:cubicBezTo>
                  <a:cubicBezTo>
                    <a:pt x="147929" y="9300"/>
                    <a:pt x="156466" y="14176"/>
                    <a:pt x="163127" y="20266"/>
                  </a:cubicBezTo>
                  <a:lnTo>
                    <a:pt x="147411" y="46258"/>
                  </a:lnTo>
                  <a:cubicBezTo>
                    <a:pt x="141529" y="42197"/>
                    <a:pt x="135005" y="38958"/>
                    <a:pt x="127837" y="36540"/>
                  </a:cubicBezTo>
                  <a:cubicBezTo>
                    <a:pt x="120670" y="34123"/>
                    <a:pt x="112145" y="32885"/>
                    <a:pt x="102262" y="32825"/>
                  </a:cubicBezTo>
                  <a:cubicBezTo>
                    <a:pt x="83296" y="33039"/>
                    <a:pt x="67794" y="39328"/>
                    <a:pt x="55757" y="51689"/>
                  </a:cubicBezTo>
                  <a:cubicBezTo>
                    <a:pt x="43719" y="64051"/>
                    <a:pt x="37504" y="81200"/>
                    <a:pt x="37111" y="103137"/>
                  </a:cubicBezTo>
                  <a:cubicBezTo>
                    <a:pt x="37439" y="124324"/>
                    <a:pt x="43856" y="141259"/>
                    <a:pt x="56364" y="153942"/>
                  </a:cubicBezTo>
                  <a:cubicBezTo>
                    <a:pt x="68872" y="166626"/>
                    <a:pt x="85504" y="173128"/>
                    <a:pt x="106263" y="173450"/>
                  </a:cubicBezTo>
                  <a:cubicBezTo>
                    <a:pt x="114758" y="173444"/>
                    <a:pt x="123057" y="172098"/>
                    <a:pt x="131159" y="169413"/>
                  </a:cubicBezTo>
                  <a:cubicBezTo>
                    <a:pt x="139261" y="166727"/>
                    <a:pt x="146774" y="162737"/>
                    <a:pt x="153698" y="157444"/>
                  </a:cubicBezTo>
                  <a:lnTo>
                    <a:pt x="167128" y="183726"/>
                  </a:lnTo>
                  <a:cubicBezTo>
                    <a:pt x="160585" y="190535"/>
                    <a:pt x="151596" y="195970"/>
                    <a:pt x="140160" y="200031"/>
                  </a:cubicBezTo>
                  <a:cubicBezTo>
                    <a:pt x="128724" y="204093"/>
                    <a:pt x="116378" y="206174"/>
                    <a:pt x="103120" y="206275"/>
                  </a:cubicBezTo>
                  <a:cubicBezTo>
                    <a:pt x="72070" y="205872"/>
                    <a:pt x="47239" y="196471"/>
                    <a:pt x="28628" y="178072"/>
                  </a:cubicBezTo>
                  <a:cubicBezTo>
                    <a:pt x="10017" y="159673"/>
                    <a:pt x="475" y="134695"/>
                    <a:pt x="0" y="103137"/>
                  </a:cubicBezTo>
                  <a:cubicBezTo>
                    <a:pt x="40" y="83778"/>
                    <a:pt x="3988" y="66353"/>
                    <a:pt x="11844" y="50864"/>
                  </a:cubicBezTo>
                  <a:cubicBezTo>
                    <a:pt x="19700" y="35375"/>
                    <a:pt x="31223" y="23078"/>
                    <a:pt x="46413" y="13972"/>
                  </a:cubicBezTo>
                  <a:cubicBezTo>
                    <a:pt x="61604" y="4867"/>
                    <a:pt x="80220" y="209"/>
                    <a:pt x="102262" y="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80" name="Полілінія: фігура 1279">
              <a:extLst>
                <a:ext uri="{FF2B5EF4-FFF2-40B4-BE49-F238E27FC236}">
                  <a16:creationId xmlns:a16="http://schemas.microsoft.com/office/drawing/2014/main" id="{F60C39B6-3C2B-A865-9921-B65821FABA83}"/>
                </a:ext>
              </a:extLst>
            </p:cNvPr>
            <p:cNvSpPr/>
            <p:nvPr/>
          </p:nvSpPr>
          <p:spPr>
            <a:xfrm>
              <a:off x="7289262" y="222406"/>
              <a:ext cx="132266" cy="206275"/>
            </a:xfrm>
            <a:custGeom>
              <a:avLst/>
              <a:gdLst/>
              <a:ahLst/>
              <a:cxnLst/>
              <a:rect l="l" t="t" r="r" b="b"/>
              <a:pathLst>
                <a:path w="132266" h="206275">
                  <a:moveTo>
                    <a:pt x="66847" y="0"/>
                  </a:moveTo>
                  <a:cubicBezTo>
                    <a:pt x="79237" y="71"/>
                    <a:pt x="90335" y="1998"/>
                    <a:pt x="100142" y="5780"/>
                  </a:cubicBezTo>
                  <a:cubicBezTo>
                    <a:pt x="109950" y="9562"/>
                    <a:pt x="117898" y="14771"/>
                    <a:pt x="123988" y="21408"/>
                  </a:cubicBezTo>
                  <a:lnTo>
                    <a:pt x="105146" y="47687"/>
                  </a:lnTo>
                  <a:cubicBezTo>
                    <a:pt x="100424" y="42941"/>
                    <a:pt x="95305" y="39285"/>
                    <a:pt x="89791" y="36719"/>
                  </a:cubicBezTo>
                  <a:cubicBezTo>
                    <a:pt x="84277" y="34153"/>
                    <a:pt x="77582" y="32855"/>
                    <a:pt x="69706" y="32825"/>
                  </a:cubicBezTo>
                  <a:cubicBezTo>
                    <a:pt x="60907" y="32920"/>
                    <a:pt x="54057" y="34945"/>
                    <a:pt x="49154" y="38899"/>
                  </a:cubicBezTo>
                  <a:cubicBezTo>
                    <a:pt x="44251" y="42852"/>
                    <a:pt x="41761" y="48164"/>
                    <a:pt x="41684" y="54833"/>
                  </a:cubicBezTo>
                  <a:cubicBezTo>
                    <a:pt x="42155" y="64844"/>
                    <a:pt x="46873" y="72493"/>
                    <a:pt x="55837" y="77779"/>
                  </a:cubicBezTo>
                  <a:cubicBezTo>
                    <a:pt x="64801" y="83065"/>
                    <a:pt x="75180" y="88088"/>
                    <a:pt x="86975" y="92847"/>
                  </a:cubicBezTo>
                  <a:cubicBezTo>
                    <a:pt x="98770" y="97607"/>
                    <a:pt x="109149" y="104202"/>
                    <a:pt x="118113" y="112632"/>
                  </a:cubicBezTo>
                  <a:cubicBezTo>
                    <a:pt x="127077" y="121062"/>
                    <a:pt x="131795" y="133427"/>
                    <a:pt x="132266" y="149726"/>
                  </a:cubicBezTo>
                  <a:cubicBezTo>
                    <a:pt x="131821" y="166832"/>
                    <a:pt x="125360" y="180471"/>
                    <a:pt x="112884" y="190644"/>
                  </a:cubicBezTo>
                  <a:cubicBezTo>
                    <a:pt x="100407" y="200816"/>
                    <a:pt x="84585" y="206026"/>
                    <a:pt x="65417" y="206275"/>
                  </a:cubicBezTo>
                  <a:cubicBezTo>
                    <a:pt x="56688" y="206263"/>
                    <a:pt x="47942" y="205051"/>
                    <a:pt x="39179" y="202639"/>
                  </a:cubicBezTo>
                  <a:cubicBezTo>
                    <a:pt x="30415" y="200227"/>
                    <a:pt x="22541" y="196688"/>
                    <a:pt x="15557" y="192025"/>
                  </a:cubicBezTo>
                  <a:cubicBezTo>
                    <a:pt x="8574" y="187361"/>
                    <a:pt x="3388" y="181645"/>
                    <a:pt x="0" y="174877"/>
                  </a:cubicBezTo>
                  <a:lnTo>
                    <a:pt x="19987" y="150870"/>
                  </a:lnTo>
                  <a:cubicBezTo>
                    <a:pt x="26060" y="158438"/>
                    <a:pt x="33260" y="164095"/>
                    <a:pt x="41587" y="167841"/>
                  </a:cubicBezTo>
                  <a:cubicBezTo>
                    <a:pt x="49914" y="171586"/>
                    <a:pt x="58048" y="173456"/>
                    <a:pt x="65989" y="173450"/>
                  </a:cubicBezTo>
                  <a:cubicBezTo>
                    <a:pt x="74459" y="173420"/>
                    <a:pt x="81394" y="171407"/>
                    <a:pt x="86791" y="167412"/>
                  </a:cubicBezTo>
                  <a:cubicBezTo>
                    <a:pt x="92188" y="163416"/>
                    <a:pt x="94976" y="157616"/>
                    <a:pt x="95155" y="150012"/>
                  </a:cubicBezTo>
                  <a:cubicBezTo>
                    <a:pt x="94683" y="140474"/>
                    <a:pt x="89965" y="133040"/>
                    <a:pt x="81001" y="127709"/>
                  </a:cubicBezTo>
                  <a:cubicBezTo>
                    <a:pt x="72037" y="122378"/>
                    <a:pt x="61658" y="117212"/>
                    <a:pt x="49863" y="112212"/>
                  </a:cubicBezTo>
                  <a:cubicBezTo>
                    <a:pt x="38069" y="107212"/>
                    <a:pt x="27689" y="100438"/>
                    <a:pt x="18725" y="91892"/>
                  </a:cubicBezTo>
                  <a:cubicBezTo>
                    <a:pt x="9761" y="83345"/>
                    <a:pt x="5044" y="71088"/>
                    <a:pt x="4572" y="55119"/>
                  </a:cubicBezTo>
                  <a:cubicBezTo>
                    <a:pt x="4737" y="39697"/>
                    <a:pt x="10258" y="26760"/>
                    <a:pt x="21134" y="16309"/>
                  </a:cubicBezTo>
                  <a:cubicBezTo>
                    <a:pt x="32011" y="5858"/>
                    <a:pt x="47248" y="421"/>
                    <a:pt x="66847" y="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81" name="Полілінія: фігура 1280">
              <a:extLst>
                <a:ext uri="{FF2B5EF4-FFF2-40B4-BE49-F238E27FC236}">
                  <a16:creationId xmlns:a16="http://schemas.microsoft.com/office/drawing/2014/main" id="{09FFEA10-4A08-A34E-7AF9-3EDAEB81A6F1}"/>
                </a:ext>
              </a:extLst>
            </p:cNvPr>
            <p:cNvSpPr/>
            <p:nvPr/>
          </p:nvSpPr>
          <p:spPr>
            <a:xfrm>
              <a:off x="7613112" y="222406"/>
              <a:ext cx="208276" cy="206275"/>
            </a:xfrm>
            <a:custGeom>
              <a:avLst/>
              <a:gdLst/>
              <a:ahLst/>
              <a:cxnLst/>
              <a:rect l="l" t="t" r="r" b="b"/>
              <a:pathLst>
                <a:path w="208276" h="206275">
                  <a:moveTo>
                    <a:pt x="103994" y="0"/>
                  </a:moveTo>
                  <a:cubicBezTo>
                    <a:pt x="123998" y="119"/>
                    <a:pt x="141818" y="4417"/>
                    <a:pt x="157453" y="12892"/>
                  </a:cubicBezTo>
                  <a:cubicBezTo>
                    <a:pt x="173089" y="21368"/>
                    <a:pt x="185422" y="33306"/>
                    <a:pt x="194451" y="48705"/>
                  </a:cubicBezTo>
                  <a:cubicBezTo>
                    <a:pt x="203481" y="64104"/>
                    <a:pt x="208089" y="82248"/>
                    <a:pt x="208276" y="103137"/>
                  </a:cubicBezTo>
                  <a:cubicBezTo>
                    <a:pt x="208089" y="123307"/>
                    <a:pt x="203481" y="141112"/>
                    <a:pt x="194451" y="156554"/>
                  </a:cubicBezTo>
                  <a:cubicBezTo>
                    <a:pt x="185422" y="171995"/>
                    <a:pt x="173089" y="184102"/>
                    <a:pt x="157453" y="192874"/>
                  </a:cubicBezTo>
                  <a:cubicBezTo>
                    <a:pt x="141818" y="201647"/>
                    <a:pt x="123998" y="206114"/>
                    <a:pt x="103994" y="206275"/>
                  </a:cubicBezTo>
                  <a:cubicBezTo>
                    <a:pt x="83994" y="206156"/>
                    <a:pt x="66200" y="201858"/>
                    <a:pt x="50610" y="193382"/>
                  </a:cubicBezTo>
                  <a:cubicBezTo>
                    <a:pt x="35020" y="184907"/>
                    <a:pt x="22734" y="172969"/>
                    <a:pt x="13750" y="157570"/>
                  </a:cubicBezTo>
                  <a:cubicBezTo>
                    <a:pt x="4766" y="142171"/>
                    <a:pt x="183" y="124026"/>
                    <a:pt x="0" y="103137"/>
                  </a:cubicBezTo>
                  <a:cubicBezTo>
                    <a:pt x="146" y="83598"/>
                    <a:pt x="4581" y="66089"/>
                    <a:pt x="13305" y="50610"/>
                  </a:cubicBezTo>
                  <a:cubicBezTo>
                    <a:pt x="22030" y="35132"/>
                    <a:pt x="34168" y="22877"/>
                    <a:pt x="49721" y="13845"/>
                  </a:cubicBezTo>
                  <a:cubicBezTo>
                    <a:pt x="65273" y="4814"/>
                    <a:pt x="83365" y="198"/>
                    <a:pt x="103994" y="0"/>
                  </a:cubicBezTo>
                  <a:close/>
                  <a:moveTo>
                    <a:pt x="103994" y="32825"/>
                  </a:moveTo>
                  <a:cubicBezTo>
                    <a:pt x="84451" y="33165"/>
                    <a:pt x="68517" y="39703"/>
                    <a:pt x="56190" y="52439"/>
                  </a:cubicBezTo>
                  <a:cubicBezTo>
                    <a:pt x="43864" y="65176"/>
                    <a:pt x="37504" y="82076"/>
                    <a:pt x="37112" y="103137"/>
                  </a:cubicBezTo>
                  <a:cubicBezTo>
                    <a:pt x="37558" y="123574"/>
                    <a:pt x="44025" y="140294"/>
                    <a:pt x="56512" y="153299"/>
                  </a:cubicBezTo>
                  <a:cubicBezTo>
                    <a:pt x="68999" y="166304"/>
                    <a:pt x="84826" y="173021"/>
                    <a:pt x="103994" y="173450"/>
                  </a:cubicBezTo>
                  <a:cubicBezTo>
                    <a:pt x="125175" y="172985"/>
                    <a:pt x="141622" y="166197"/>
                    <a:pt x="153336" y="153085"/>
                  </a:cubicBezTo>
                  <a:cubicBezTo>
                    <a:pt x="165048" y="139973"/>
                    <a:pt x="170991" y="123323"/>
                    <a:pt x="171164" y="103137"/>
                  </a:cubicBezTo>
                  <a:cubicBezTo>
                    <a:pt x="170723" y="82076"/>
                    <a:pt x="164244" y="65176"/>
                    <a:pt x="151728" y="52439"/>
                  </a:cubicBezTo>
                  <a:cubicBezTo>
                    <a:pt x="139211" y="39703"/>
                    <a:pt x="123300" y="33165"/>
                    <a:pt x="103994" y="32825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82" name="Полілінія: фігура 1281">
              <a:extLst>
                <a:ext uri="{FF2B5EF4-FFF2-40B4-BE49-F238E27FC236}">
                  <a16:creationId xmlns:a16="http://schemas.microsoft.com/office/drawing/2014/main" id="{5A45E02E-9C96-36CF-4F02-6470EC1361D8}"/>
                </a:ext>
              </a:extLst>
            </p:cNvPr>
            <p:cNvSpPr/>
            <p:nvPr/>
          </p:nvSpPr>
          <p:spPr>
            <a:xfrm>
              <a:off x="8460837" y="228756"/>
              <a:ext cx="132266" cy="206275"/>
            </a:xfrm>
            <a:custGeom>
              <a:avLst/>
              <a:gdLst/>
              <a:ahLst/>
              <a:cxnLst/>
              <a:rect l="l" t="t" r="r" b="b"/>
              <a:pathLst>
                <a:path w="132266" h="206275">
                  <a:moveTo>
                    <a:pt x="66846" y="0"/>
                  </a:moveTo>
                  <a:cubicBezTo>
                    <a:pt x="79236" y="71"/>
                    <a:pt x="90334" y="1998"/>
                    <a:pt x="100142" y="5780"/>
                  </a:cubicBezTo>
                  <a:cubicBezTo>
                    <a:pt x="109950" y="9562"/>
                    <a:pt x="117898" y="14771"/>
                    <a:pt x="123987" y="21408"/>
                  </a:cubicBezTo>
                  <a:lnTo>
                    <a:pt x="105146" y="47687"/>
                  </a:lnTo>
                  <a:cubicBezTo>
                    <a:pt x="100424" y="42941"/>
                    <a:pt x="95305" y="39285"/>
                    <a:pt x="89790" y="36719"/>
                  </a:cubicBezTo>
                  <a:cubicBezTo>
                    <a:pt x="84276" y="34153"/>
                    <a:pt x="77580" y="32855"/>
                    <a:pt x="69706" y="32825"/>
                  </a:cubicBezTo>
                  <a:cubicBezTo>
                    <a:pt x="60906" y="32920"/>
                    <a:pt x="54056" y="34945"/>
                    <a:pt x="49154" y="38899"/>
                  </a:cubicBezTo>
                  <a:cubicBezTo>
                    <a:pt x="44251" y="42852"/>
                    <a:pt x="41761" y="48164"/>
                    <a:pt x="41683" y="54833"/>
                  </a:cubicBezTo>
                  <a:cubicBezTo>
                    <a:pt x="42155" y="64844"/>
                    <a:pt x="46873" y="72493"/>
                    <a:pt x="55837" y="77779"/>
                  </a:cubicBezTo>
                  <a:cubicBezTo>
                    <a:pt x="64800" y="83065"/>
                    <a:pt x="75180" y="88088"/>
                    <a:pt x="86974" y="92847"/>
                  </a:cubicBezTo>
                  <a:cubicBezTo>
                    <a:pt x="98770" y="97607"/>
                    <a:pt x="109148" y="104202"/>
                    <a:pt x="118112" y="112632"/>
                  </a:cubicBezTo>
                  <a:cubicBezTo>
                    <a:pt x="127076" y="121062"/>
                    <a:pt x="131794" y="133427"/>
                    <a:pt x="132266" y="149726"/>
                  </a:cubicBezTo>
                  <a:cubicBezTo>
                    <a:pt x="131821" y="166832"/>
                    <a:pt x="125360" y="180471"/>
                    <a:pt x="112883" y="190644"/>
                  </a:cubicBezTo>
                  <a:cubicBezTo>
                    <a:pt x="100406" y="200816"/>
                    <a:pt x="84584" y="206026"/>
                    <a:pt x="65416" y="206275"/>
                  </a:cubicBezTo>
                  <a:cubicBezTo>
                    <a:pt x="56688" y="206263"/>
                    <a:pt x="47942" y="205051"/>
                    <a:pt x="39179" y="202639"/>
                  </a:cubicBezTo>
                  <a:cubicBezTo>
                    <a:pt x="30415" y="200227"/>
                    <a:pt x="22541" y="196688"/>
                    <a:pt x="15557" y="192025"/>
                  </a:cubicBezTo>
                  <a:cubicBezTo>
                    <a:pt x="8573" y="187361"/>
                    <a:pt x="3388" y="181645"/>
                    <a:pt x="0" y="174877"/>
                  </a:cubicBezTo>
                  <a:lnTo>
                    <a:pt x="19987" y="150870"/>
                  </a:lnTo>
                  <a:cubicBezTo>
                    <a:pt x="26060" y="158438"/>
                    <a:pt x="33260" y="164095"/>
                    <a:pt x="41587" y="167841"/>
                  </a:cubicBezTo>
                  <a:cubicBezTo>
                    <a:pt x="49914" y="171586"/>
                    <a:pt x="58048" y="173456"/>
                    <a:pt x="65988" y="173450"/>
                  </a:cubicBezTo>
                  <a:cubicBezTo>
                    <a:pt x="74460" y="173420"/>
                    <a:pt x="81393" y="171407"/>
                    <a:pt x="86790" y="167412"/>
                  </a:cubicBezTo>
                  <a:cubicBezTo>
                    <a:pt x="92188" y="163416"/>
                    <a:pt x="94976" y="157616"/>
                    <a:pt x="95154" y="150012"/>
                  </a:cubicBezTo>
                  <a:cubicBezTo>
                    <a:pt x="94682" y="140474"/>
                    <a:pt x="89964" y="133040"/>
                    <a:pt x="81000" y="127709"/>
                  </a:cubicBezTo>
                  <a:cubicBezTo>
                    <a:pt x="72037" y="122378"/>
                    <a:pt x="61658" y="117212"/>
                    <a:pt x="49863" y="112212"/>
                  </a:cubicBezTo>
                  <a:cubicBezTo>
                    <a:pt x="38068" y="107212"/>
                    <a:pt x="27689" y="100438"/>
                    <a:pt x="18725" y="91892"/>
                  </a:cubicBezTo>
                  <a:cubicBezTo>
                    <a:pt x="9761" y="83345"/>
                    <a:pt x="5043" y="71088"/>
                    <a:pt x="4571" y="55119"/>
                  </a:cubicBezTo>
                  <a:cubicBezTo>
                    <a:pt x="4737" y="39697"/>
                    <a:pt x="10258" y="26760"/>
                    <a:pt x="21134" y="16309"/>
                  </a:cubicBezTo>
                  <a:cubicBezTo>
                    <a:pt x="32011" y="5858"/>
                    <a:pt x="47248" y="421"/>
                    <a:pt x="66846" y="0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83" name="Полілінія: фігура 1282">
              <a:extLst>
                <a:ext uri="{FF2B5EF4-FFF2-40B4-BE49-F238E27FC236}">
                  <a16:creationId xmlns:a16="http://schemas.microsoft.com/office/drawing/2014/main" id="{42ABC072-3978-6F44-78A9-B3748039A8D7}"/>
                </a:ext>
              </a:extLst>
            </p:cNvPr>
            <p:cNvSpPr/>
            <p:nvPr/>
          </p:nvSpPr>
          <p:spPr>
            <a:xfrm>
              <a:off x="5278136" y="228120"/>
              <a:ext cx="200025" cy="200561"/>
            </a:xfrm>
            <a:custGeom>
              <a:avLst/>
              <a:gdLst/>
              <a:ahLst/>
              <a:cxnLst/>
              <a:rect l="l" t="t" r="r" b="b"/>
              <a:pathLst>
                <a:path w="200025" h="200561">
                  <a:moveTo>
                    <a:pt x="84581" y="0"/>
                  </a:moveTo>
                  <a:lnTo>
                    <a:pt x="115443" y="0"/>
                  </a:lnTo>
                  <a:lnTo>
                    <a:pt x="200025" y="200561"/>
                  </a:lnTo>
                  <a:lnTo>
                    <a:pt x="162591" y="200561"/>
                  </a:lnTo>
                  <a:lnTo>
                    <a:pt x="141731" y="149412"/>
                  </a:lnTo>
                  <a:lnTo>
                    <a:pt x="56292" y="149412"/>
                  </a:lnTo>
                  <a:lnTo>
                    <a:pt x="35432" y="200561"/>
                  </a:lnTo>
                  <a:lnTo>
                    <a:pt x="0" y="200561"/>
                  </a:lnTo>
                  <a:lnTo>
                    <a:pt x="84581" y="0"/>
                  </a:lnTo>
                  <a:close/>
                  <a:moveTo>
                    <a:pt x="99155" y="45435"/>
                  </a:moveTo>
                  <a:lnTo>
                    <a:pt x="69722" y="116586"/>
                  </a:lnTo>
                  <a:lnTo>
                    <a:pt x="128301" y="116586"/>
                  </a:lnTo>
                  <a:lnTo>
                    <a:pt x="99155" y="45435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84" name="Полілінія: фігура 1283">
              <a:extLst>
                <a:ext uri="{FF2B5EF4-FFF2-40B4-BE49-F238E27FC236}">
                  <a16:creationId xmlns:a16="http://schemas.microsoft.com/office/drawing/2014/main" id="{578CB3DD-FA6E-3732-B1A5-412B80186D71}"/>
                </a:ext>
              </a:extLst>
            </p:cNvPr>
            <p:cNvSpPr/>
            <p:nvPr/>
          </p:nvSpPr>
          <p:spPr>
            <a:xfrm>
              <a:off x="6646896" y="228120"/>
              <a:ext cx="157412" cy="200561"/>
            </a:xfrm>
            <a:custGeom>
              <a:avLst/>
              <a:gdLst/>
              <a:ahLst/>
              <a:cxnLst/>
              <a:rect l="l" t="t" r="r" b="b"/>
              <a:pathLst>
                <a:path w="157412" h="200561">
                  <a:moveTo>
                    <a:pt x="60844" y="0"/>
                  </a:moveTo>
                  <a:cubicBezTo>
                    <a:pt x="87746" y="410"/>
                    <a:pt x="106663" y="6370"/>
                    <a:pt x="117594" y="17882"/>
                  </a:cubicBezTo>
                  <a:cubicBezTo>
                    <a:pt x="128526" y="29394"/>
                    <a:pt x="133797" y="44001"/>
                    <a:pt x="133409" y="61704"/>
                  </a:cubicBezTo>
                  <a:cubicBezTo>
                    <a:pt x="133240" y="73103"/>
                    <a:pt x="131136" y="82701"/>
                    <a:pt x="127097" y="90496"/>
                  </a:cubicBezTo>
                  <a:cubicBezTo>
                    <a:pt x="123058" y="98291"/>
                    <a:pt x="118099" y="104498"/>
                    <a:pt x="112220" y="109116"/>
                  </a:cubicBezTo>
                  <a:cubicBezTo>
                    <a:pt x="106341" y="113734"/>
                    <a:pt x="100557" y="116977"/>
                    <a:pt x="94868" y="118844"/>
                  </a:cubicBezTo>
                  <a:lnTo>
                    <a:pt x="157412" y="200561"/>
                  </a:lnTo>
                  <a:lnTo>
                    <a:pt x="114853" y="200561"/>
                  </a:lnTo>
                  <a:lnTo>
                    <a:pt x="59700" y="125695"/>
                  </a:lnTo>
                  <a:lnTo>
                    <a:pt x="35112" y="125695"/>
                  </a:lnTo>
                  <a:lnTo>
                    <a:pt x="35112" y="200561"/>
                  </a:lnTo>
                  <a:lnTo>
                    <a:pt x="0" y="200561"/>
                  </a:lnTo>
                  <a:lnTo>
                    <a:pt x="0" y="571"/>
                  </a:lnTo>
                  <a:cubicBezTo>
                    <a:pt x="4150" y="564"/>
                    <a:pt x="10634" y="515"/>
                    <a:pt x="19451" y="423"/>
                  </a:cubicBezTo>
                  <a:cubicBezTo>
                    <a:pt x="28269" y="332"/>
                    <a:pt x="36786" y="240"/>
                    <a:pt x="45002" y="148"/>
                  </a:cubicBezTo>
                  <a:cubicBezTo>
                    <a:pt x="53218" y="57"/>
                    <a:pt x="58498" y="7"/>
                    <a:pt x="60844" y="0"/>
                  </a:cubicBezTo>
                  <a:close/>
                  <a:moveTo>
                    <a:pt x="59128" y="32826"/>
                  </a:moveTo>
                  <a:cubicBezTo>
                    <a:pt x="55840" y="32832"/>
                    <a:pt x="52195" y="32891"/>
                    <a:pt x="48192" y="33005"/>
                  </a:cubicBezTo>
                  <a:cubicBezTo>
                    <a:pt x="44189" y="33118"/>
                    <a:pt x="39829" y="33249"/>
                    <a:pt x="35112" y="33398"/>
                  </a:cubicBezTo>
                  <a:lnTo>
                    <a:pt x="35112" y="92869"/>
                  </a:lnTo>
                  <a:lnTo>
                    <a:pt x="57985" y="92869"/>
                  </a:lnTo>
                  <a:cubicBezTo>
                    <a:pt x="68462" y="92869"/>
                    <a:pt x="77385" y="90296"/>
                    <a:pt x="84754" y="85149"/>
                  </a:cubicBezTo>
                  <a:cubicBezTo>
                    <a:pt x="92122" y="80003"/>
                    <a:pt x="95970" y="72283"/>
                    <a:pt x="96298" y="61990"/>
                  </a:cubicBezTo>
                  <a:cubicBezTo>
                    <a:pt x="96536" y="53895"/>
                    <a:pt x="93915" y="47068"/>
                    <a:pt x="88435" y="41511"/>
                  </a:cubicBezTo>
                  <a:cubicBezTo>
                    <a:pt x="82955" y="35953"/>
                    <a:pt x="73186" y="33058"/>
                    <a:pt x="59128" y="32826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85" name="Полілінія: фігура 1284">
              <a:extLst>
                <a:ext uri="{FF2B5EF4-FFF2-40B4-BE49-F238E27FC236}">
                  <a16:creationId xmlns:a16="http://schemas.microsoft.com/office/drawing/2014/main" id="{826BCFB6-E82D-A5A1-0DD2-3FE5E643937A}"/>
                </a:ext>
              </a:extLst>
            </p:cNvPr>
            <p:cNvSpPr/>
            <p:nvPr/>
          </p:nvSpPr>
          <p:spPr>
            <a:xfrm>
              <a:off x="8285196" y="228120"/>
              <a:ext cx="157412" cy="200561"/>
            </a:xfrm>
            <a:custGeom>
              <a:avLst/>
              <a:gdLst/>
              <a:ahLst/>
              <a:cxnLst/>
              <a:rect l="l" t="t" r="r" b="b"/>
              <a:pathLst>
                <a:path w="157412" h="200561">
                  <a:moveTo>
                    <a:pt x="60844" y="0"/>
                  </a:moveTo>
                  <a:cubicBezTo>
                    <a:pt x="87747" y="410"/>
                    <a:pt x="106663" y="6370"/>
                    <a:pt x="117594" y="17882"/>
                  </a:cubicBezTo>
                  <a:cubicBezTo>
                    <a:pt x="128525" y="29394"/>
                    <a:pt x="133797" y="44001"/>
                    <a:pt x="133409" y="61704"/>
                  </a:cubicBezTo>
                  <a:cubicBezTo>
                    <a:pt x="133240" y="73103"/>
                    <a:pt x="131136" y="82701"/>
                    <a:pt x="127097" y="90496"/>
                  </a:cubicBezTo>
                  <a:cubicBezTo>
                    <a:pt x="123058" y="98291"/>
                    <a:pt x="118099" y="104498"/>
                    <a:pt x="112219" y="109116"/>
                  </a:cubicBezTo>
                  <a:cubicBezTo>
                    <a:pt x="106341" y="113734"/>
                    <a:pt x="100557" y="116977"/>
                    <a:pt x="94868" y="118844"/>
                  </a:cubicBezTo>
                  <a:lnTo>
                    <a:pt x="157412" y="200561"/>
                  </a:lnTo>
                  <a:lnTo>
                    <a:pt x="114854" y="200561"/>
                  </a:lnTo>
                  <a:lnTo>
                    <a:pt x="59701" y="125695"/>
                  </a:lnTo>
                  <a:lnTo>
                    <a:pt x="35111" y="125695"/>
                  </a:lnTo>
                  <a:lnTo>
                    <a:pt x="35111" y="200561"/>
                  </a:lnTo>
                  <a:lnTo>
                    <a:pt x="0" y="200561"/>
                  </a:lnTo>
                  <a:lnTo>
                    <a:pt x="0" y="571"/>
                  </a:lnTo>
                  <a:cubicBezTo>
                    <a:pt x="4150" y="564"/>
                    <a:pt x="10634" y="515"/>
                    <a:pt x="19452" y="423"/>
                  </a:cubicBezTo>
                  <a:cubicBezTo>
                    <a:pt x="28269" y="332"/>
                    <a:pt x="36786" y="240"/>
                    <a:pt x="45002" y="148"/>
                  </a:cubicBezTo>
                  <a:cubicBezTo>
                    <a:pt x="53218" y="57"/>
                    <a:pt x="58499" y="7"/>
                    <a:pt x="60844" y="0"/>
                  </a:cubicBezTo>
                  <a:close/>
                  <a:moveTo>
                    <a:pt x="59128" y="32826"/>
                  </a:moveTo>
                  <a:cubicBezTo>
                    <a:pt x="55841" y="32832"/>
                    <a:pt x="52195" y="32891"/>
                    <a:pt x="48192" y="33005"/>
                  </a:cubicBezTo>
                  <a:cubicBezTo>
                    <a:pt x="44189" y="33118"/>
                    <a:pt x="39829" y="33249"/>
                    <a:pt x="35111" y="33398"/>
                  </a:cubicBezTo>
                  <a:lnTo>
                    <a:pt x="35111" y="92869"/>
                  </a:lnTo>
                  <a:lnTo>
                    <a:pt x="57985" y="92869"/>
                  </a:lnTo>
                  <a:cubicBezTo>
                    <a:pt x="68462" y="92869"/>
                    <a:pt x="77385" y="90296"/>
                    <a:pt x="84754" y="85149"/>
                  </a:cubicBezTo>
                  <a:cubicBezTo>
                    <a:pt x="92122" y="80003"/>
                    <a:pt x="95970" y="72283"/>
                    <a:pt x="96298" y="61990"/>
                  </a:cubicBezTo>
                  <a:cubicBezTo>
                    <a:pt x="96536" y="53895"/>
                    <a:pt x="93915" y="47068"/>
                    <a:pt x="88435" y="41511"/>
                  </a:cubicBezTo>
                  <a:cubicBezTo>
                    <a:pt x="82954" y="35953"/>
                    <a:pt x="73186" y="33058"/>
                    <a:pt x="59128" y="32826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89" name="Полілінія: фігура 1288">
              <a:extLst>
                <a:ext uri="{FF2B5EF4-FFF2-40B4-BE49-F238E27FC236}">
                  <a16:creationId xmlns:a16="http://schemas.microsoft.com/office/drawing/2014/main" id="{0F0D69FB-8578-886C-2BEB-3C045138339B}"/>
                </a:ext>
              </a:extLst>
            </p:cNvPr>
            <p:cNvSpPr/>
            <p:nvPr/>
          </p:nvSpPr>
          <p:spPr>
            <a:xfrm>
              <a:off x="5103828" y="228406"/>
              <a:ext cx="188881" cy="200275"/>
            </a:xfrm>
            <a:custGeom>
              <a:avLst/>
              <a:gdLst/>
              <a:ahLst/>
              <a:cxnLst/>
              <a:rect l="l" t="t" r="r" b="b"/>
              <a:pathLst>
                <a:path w="188881" h="200275">
                  <a:moveTo>
                    <a:pt x="0" y="0"/>
                  </a:moveTo>
                  <a:lnTo>
                    <a:pt x="37433" y="0"/>
                  </a:lnTo>
                  <a:lnTo>
                    <a:pt x="96869" y="148066"/>
                  </a:lnTo>
                  <a:lnTo>
                    <a:pt x="153733" y="0"/>
                  </a:lnTo>
                  <a:lnTo>
                    <a:pt x="188881" y="0"/>
                  </a:lnTo>
                  <a:lnTo>
                    <a:pt x="108871" y="200275"/>
                  </a:lnTo>
                  <a:lnTo>
                    <a:pt x="82296" y="2002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0" name="Полілінія: фігура 1289">
              <a:extLst>
                <a:ext uri="{FF2B5EF4-FFF2-40B4-BE49-F238E27FC236}">
                  <a16:creationId xmlns:a16="http://schemas.microsoft.com/office/drawing/2014/main" id="{1D6B8747-F636-CF1A-6742-094D7CF7C76F}"/>
                </a:ext>
              </a:extLst>
            </p:cNvPr>
            <p:cNvSpPr/>
            <p:nvPr/>
          </p:nvSpPr>
          <p:spPr>
            <a:xfrm>
              <a:off x="5503896" y="228978"/>
              <a:ext cx="125123" cy="199703"/>
            </a:xfrm>
            <a:custGeom>
              <a:avLst/>
              <a:gdLst/>
              <a:ahLst/>
              <a:cxnLst/>
              <a:rect l="l" t="t" r="r" b="b"/>
              <a:pathLst>
                <a:path w="125123" h="199703">
                  <a:moveTo>
                    <a:pt x="0" y="0"/>
                  </a:moveTo>
                  <a:lnTo>
                    <a:pt x="35111" y="0"/>
                  </a:lnTo>
                  <a:lnTo>
                    <a:pt x="35111" y="166878"/>
                  </a:lnTo>
                  <a:lnTo>
                    <a:pt x="125123" y="166878"/>
                  </a:lnTo>
                  <a:lnTo>
                    <a:pt x="125123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1" name="Полілінія: фігура 1290">
              <a:extLst>
                <a:ext uri="{FF2B5EF4-FFF2-40B4-BE49-F238E27FC236}">
                  <a16:creationId xmlns:a16="http://schemas.microsoft.com/office/drawing/2014/main" id="{896248D6-E86F-0122-2586-FF0BE38011E6}"/>
                </a:ext>
              </a:extLst>
            </p:cNvPr>
            <p:cNvSpPr/>
            <p:nvPr/>
          </p:nvSpPr>
          <p:spPr>
            <a:xfrm>
              <a:off x="5653438" y="225834"/>
              <a:ext cx="164557" cy="202847"/>
            </a:xfrm>
            <a:custGeom>
              <a:avLst/>
              <a:gdLst/>
              <a:ahLst/>
              <a:cxnLst/>
              <a:rect l="l" t="t" r="r" b="b"/>
              <a:pathLst>
                <a:path w="164557" h="202847">
                  <a:moveTo>
                    <a:pt x="0" y="0"/>
                  </a:moveTo>
                  <a:lnTo>
                    <a:pt x="35112" y="0"/>
                  </a:lnTo>
                  <a:lnTo>
                    <a:pt x="35112" y="107547"/>
                  </a:lnTo>
                  <a:cubicBezTo>
                    <a:pt x="35035" y="126499"/>
                    <a:pt x="39048" y="141583"/>
                    <a:pt x="47154" y="152798"/>
                  </a:cubicBezTo>
                  <a:cubicBezTo>
                    <a:pt x="55259" y="164012"/>
                    <a:pt x="67920" y="169753"/>
                    <a:pt x="85137" y="170021"/>
                  </a:cubicBezTo>
                  <a:cubicBezTo>
                    <a:pt x="100252" y="169938"/>
                    <a:pt x="111472" y="164755"/>
                    <a:pt x="118797" y="154474"/>
                  </a:cubicBezTo>
                  <a:cubicBezTo>
                    <a:pt x="126122" y="144192"/>
                    <a:pt x="129767" y="129310"/>
                    <a:pt x="129731" y="109829"/>
                  </a:cubicBezTo>
                  <a:lnTo>
                    <a:pt x="129731" y="0"/>
                  </a:lnTo>
                  <a:lnTo>
                    <a:pt x="164557" y="0"/>
                  </a:lnTo>
                  <a:lnTo>
                    <a:pt x="164557" y="116961"/>
                  </a:lnTo>
                  <a:cubicBezTo>
                    <a:pt x="164354" y="137241"/>
                    <a:pt x="160603" y="153708"/>
                    <a:pt x="153305" y="166362"/>
                  </a:cubicBezTo>
                  <a:cubicBezTo>
                    <a:pt x="146006" y="179015"/>
                    <a:pt x="136372" y="188277"/>
                    <a:pt x="124403" y="194147"/>
                  </a:cubicBezTo>
                  <a:cubicBezTo>
                    <a:pt x="112435" y="200017"/>
                    <a:pt x="99347" y="202917"/>
                    <a:pt x="85137" y="202846"/>
                  </a:cubicBezTo>
                  <a:cubicBezTo>
                    <a:pt x="59829" y="202840"/>
                    <a:pt x="39422" y="195503"/>
                    <a:pt x="23916" y="180836"/>
                  </a:cubicBezTo>
                  <a:cubicBezTo>
                    <a:pt x="8411" y="166169"/>
                    <a:pt x="439" y="144212"/>
                    <a:pt x="0" y="11496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2" name="Полілінія: фігура 1291">
              <a:extLst>
                <a:ext uri="{FF2B5EF4-FFF2-40B4-BE49-F238E27FC236}">
                  <a16:creationId xmlns:a16="http://schemas.microsoft.com/office/drawing/2014/main" id="{03EBA87E-9D8A-82FA-1343-1D70971E029D}"/>
                </a:ext>
              </a:extLst>
            </p:cNvPr>
            <p:cNvSpPr/>
            <p:nvPr/>
          </p:nvSpPr>
          <p:spPr>
            <a:xfrm>
              <a:off x="5875371" y="228978"/>
              <a:ext cx="118550" cy="199703"/>
            </a:xfrm>
            <a:custGeom>
              <a:avLst/>
              <a:gdLst/>
              <a:ahLst/>
              <a:cxnLst/>
              <a:rect l="l" t="t" r="r" b="b"/>
              <a:pathLst>
                <a:path w="118550" h="199703">
                  <a:moveTo>
                    <a:pt x="0" y="0"/>
                  </a:moveTo>
                  <a:lnTo>
                    <a:pt x="115693" y="0"/>
                  </a:lnTo>
                  <a:lnTo>
                    <a:pt x="115693" y="32825"/>
                  </a:lnTo>
                  <a:lnTo>
                    <a:pt x="35111" y="32825"/>
                  </a:lnTo>
                  <a:lnTo>
                    <a:pt x="35111" y="82296"/>
                  </a:lnTo>
                  <a:lnTo>
                    <a:pt x="107120" y="82296"/>
                  </a:lnTo>
                  <a:lnTo>
                    <a:pt x="107120" y="115121"/>
                  </a:lnTo>
                  <a:lnTo>
                    <a:pt x="35111" y="115121"/>
                  </a:lnTo>
                  <a:lnTo>
                    <a:pt x="35111" y="166878"/>
                  </a:lnTo>
                  <a:lnTo>
                    <a:pt x="118550" y="166878"/>
                  </a:lnTo>
                  <a:lnTo>
                    <a:pt x="118550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3" name="Полілінія: фігура 1292">
              <a:extLst>
                <a:ext uri="{FF2B5EF4-FFF2-40B4-BE49-F238E27FC236}">
                  <a16:creationId xmlns:a16="http://schemas.microsoft.com/office/drawing/2014/main" id="{8CF4ED95-EFE6-E14C-6953-1F0B585F28FA}"/>
                </a:ext>
              </a:extLst>
            </p:cNvPr>
            <p:cNvSpPr/>
            <p:nvPr/>
          </p:nvSpPr>
          <p:spPr>
            <a:xfrm>
              <a:off x="6256371" y="228978"/>
              <a:ext cx="114264" cy="199703"/>
            </a:xfrm>
            <a:custGeom>
              <a:avLst/>
              <a:gdLst/>
              <a:ahLst/>
              <a:cxnLst/>
              <a:rect l="l" t="t" r="r" b="b"/>
              <a:pathLst>
                <a:path w="114264" h="199703">
                  <a:moveTo>
                    <a:pt x="0" y="0"/>
                  </a:moveTo>
                  <a:lnTo>
                    <a:pt x="114264" y="0"/>
                  </a:lnTo>
                  <a:lnTo>
                    <a:pt x="114264" y="32825"/>
                  </a:lnTo>
                  <a:lnTo>
                    <a:pt x="35111" y="32825"/>
                  </a:lnTo>
                  <a:lnTo>
                    <a:pt x="35111" y="89154"/>
                  </a:lnTo>
                  <a:lnTo>
                    <a:pt x="105692" y="89154"/>
                  </a:lnTo>
                  <a:lnTo>
                    <a:pt x="105692" y="121979"/>
                  </a:lnTo>
                  <a:lnTo>
                    <a:pt x="35111" y="121979"/>
                  </a:lnTo>
                  <a:lnTo>
                    <a:pt x="35111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4" name="Полілінія: фігура 1293">
              <a:extLst>
                <a:ext uri="{FF2B5EF4-FFF2-40B4-BE49-F238E27FC236}">
                  <a16:creationId xmlns:a16="http://schemas.microsoft.com/office/drawing/2014/main" id="{F06F5CB2-BF8A-303C-71F4-C37BDCC90F24}"/>
                </a:ext>
              </a:extLst>
            </p:cNvPr>
            <p:cNvSpPr/>
            <p:nvPr/>
          </p:nvSpPr>
          <p:spPr>
            <a:xfrm>
              <a:off x="7082188" y="225834"/>
              <a:ext cx="164557" cy="202847"/>
            </a:xfrm>
            <a:custGeom>
              <a:avLst/>
              <a:gdLst/>
              <a:ahLst/>
              <a:cxnLst/>
              <a:rect l="l" t="t" r="r" b="b"/>
              <a:pathLst>
                <a:path w="164557" h="202847">
                  <a:moveTo>
                    <a:pt x="0" y="0"/>
                  </a:moveTo>
                  <a:lnTo>
                    <a:pt x="35112" y="0"/>
                  </a:lnTo>
                  <a:lnTo>
                    <a:pt x="35112" y="107547"/>
                  </a:lnTo>
                  <a:cubicBezTo>
                    <a:pt x="35035" y="126499"/>
                    <a:pt x="39049" y="141583"/>
                    <a:pt x="47154" y="152798"/>
                  </a:cubicBezTo>
                  <a:cubicBezTo>
                    <a:pt x="55259" y="164012"/>
                    <a:pt x="67920" y="169753"/>
                    <a:pt x="85137" y="170021"/>
                  </a:cubicBezTo>
                  <a:cubicBezTo>
                    <a:pt x="100252" y="169938"/>
                    <a:pt x="111472" y="164755"/>
                    <a:pt x="118797" y="154474"/>
                  </a:cubicBezTo>
                  <a:cubicBezTo>
                    <a:pt x="126122" y="144192"/>
                    <a:pt x="129767" y="129310"/>
                    <a:pt x="129731" y="109829"/>
                  </a:cubicBezTo>
                  <a:lnTo>
                    <a:pt x="129731" y="0"/>
                  </a:lnTo>
                  <a:lnTo>
                    <a:pt x="164557" y="0"/>
                  </a:lnTo>
                  <a:lnTo>
                    <a:pt x="164557" y="116961"/>
                  </a:lnTo>
                  <a:cubicBezTo>
                    <a:pt x="164354" y="137241"/>
                    <a:pt x="160604" y="153708"/>
                    <a:pt x="153304" y="166362"/>
                  </a:cubicBezTo>
                  <a:cubicBezTo>
                    <a:pt x="146005" y="179015"/>
                    <a:pt x="136372" y="188277"/>
                    <a:pt x="124403" y="194147"/>
                  </a:cubicBezTo>
                  <a:cubicBezTo>
                    <a:pt x="112435" y="200017"/>
                    <a:pt x="99346" y="202917"/>
                    <a:pt x="85137" y="202846"/>
                  </a:cubicBezTo>
                  <a:cubicBezTo>
                    <a:pt x="59829" y="202840"/>
                    <a:pt x="39422" y="195503"/>
                    <a:pt x="23917" y="180836"/>
                  </a:cubicBezTo>
                  <a:cubicBezTo>
                    <a:pt x="8411" y="166169"/>
                    <a:pt x="439" y="144212"/>
                    <a:pt x="0" y="11496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5" name="Полілінія: фігура 1294">
              <a:extLst>
                <a:ext uri="{FF2B5EF4-FFF2-40B4-BE49-F238E27FC236}">
                  <a16:creationId xmlns:a16="http://schemas.microsoft.com/office/drawing/2014/main" id="{5D5D3B3E-0F5D-ED8E-B427-B45C87D31A57}"/>
                </a:ext>
              </a:extLst>
            </p:cNvPr>
            <p:cNvSpPr/>
            <p:nvPr/>
          </p:nvSpPr>
          <p:spPr>
            <a:xfrm>
              <a:off x="7441186" y="228978"/>
              <a:ext cx="164842" cy="199703"/>
            </a:xfrm>
            <a:custGeom>
              <a:avLst/>
              <a:gdLst/>
              <a:ahLst/>
              <a:cxnLst/>
              <a:rect l="l" t="t" r="r" b="b"/>
              <a:pathLst>
                <a:path w="164842" h="199703">
                  <a:moveTo>
                    <a:pt x="0" y="0"/>
                  </a:moveTo>
                  <a:lnTo>
                    <a:pt x="164842" y="0"/>
                  </a:lnTo>
                  <a:lnTo>
                    <a:pt x="164842" y="32825"/>
                  </a:lnTo>
                  <a:lnTo>
                    <a:pt x="99976" y="32825"/>
                  </a:lnTo>
                  <a:lnTo>
                    <a:pt x="99976" y="199703"/>
                  </a:lnTo>
                  <a:lnTo>
                    <a:pt x="64865" y="199703"/>
                  </a:lnTo>
                  <a:lnTo>
                    <a:pt x="64865" y="32825"/>
                  </a:lnTo>
                  <a:lnTo>
                    <a:pt x="0" y="328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6" name="Полілінія: фігура 1295">
              <a:extLst>
                <a:ext uri="{FF2B5EF4-FFF2-40B4-BE49-F238E27FC236}">
                  <a16:creationId xmlns:a16="http://schemas.microsoft.com/office/drawing/2014/main" id="{F48B521E-E6F6-F63F-8713-4D426A6CFE49}"/>
                </a:ext>
              </a:extLst>
            </p:cNvPr>
            <p:cNvSpPr/>
            <p:nvPr/>
          </p:nvSpPr>
          <p:spPr>
            <a:xfrm>
              <a:off x="7866096" y="228978"/>
              <a:ext cx="201989" cy="199703"/>
            </a:xfrm>
            <a:custGeom>
              <a:avLst/>
              <a:gdLst/>
              <a:ahLst/>
              <a:cxnLst/>
              <a:rect l="l" t="t" r="r" b="b"/>
              <a:pathLst>
                <a:path w="201989" h="199703">
                  <a:moveTo>
                    <a:pt x="0" y="0"/>
                  </a:moveTo>
                  <a:lnTo>
                    <a:pt x="35397" y="0"/>
                  </a:lnTo>
                  <a:lnTo>
                    <a:pt x="103710" y="93289"/>
                  </a:lnTo>
                  <a:lnTo>
                    <a:pt x="168876" y="0"/>
                  </a:lnTo>
                  <a:lnTo>
                    <a:pt x="201989" y="0"/>
                  </a:lnTo>
                  <a:lnTo>
                    <a:pt x="201989" y="199703"/>
                  </a:lnTo>
                  <a:lnTo>
                    <a:pt x="167163" y="199703"/>
                  </a:lnTo>
                  <a:lnTo>
                    <a:pt x="167163" y="55345"/>
                  </a:lnTo>
                  <a:lnTo>
                    <a:pt x="103996" y="144071"/>
                  </a:lnTo>
                  <a:lnTo>
                    <a:pt x="98851" y="144071"/>
                  </a:lnTo>
                  <a:lnTo>
                    <a:pt x="35111" y="56201"/>
                  </a:lnTo>
                  <a:lnTo>
                    <a:pt x="35111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97" name="Полілінія: фігура 1296">
              <a:extLst>
                <a:ext uri="{FF2B5EF4-FFF2-40B4-BE49-F238E27FC236}">
                  <a16:creationId xmlns:a16="http://schemas.microsoft.com/office/drawing/2014/main" id="{9B0C22B9-C983-0E4A-B1B7-24C0BBEC4187}"/>
                </a:ext>
              </a:extLst>
            </p:cNvPr>
            <p:cNvSpPr/>
            <p:nvPr/>
          </p:nvSpPr>
          <p:spPr>
            <a:xfrm>
              <a:off x="8123271" y="228978"/>
              <a:ext cx="118550" cy="199703"/>
            </a:xfrm>
            <a:custGeom>
              <a:avLst/>
              <a:gdLst/>
              <a:ahLst/>
              <a:cxnLst/>
              <a:rect l="l" t="t" r="r" b="b"/>
              <a:pathLst>
                <a:path w="118550" h="199703">
                  <a:moveTo>
                    <a:pt x="0" y="0"/>
                  </a:moveTo>
                  <a:lnTo>
                    <a:pt x="115693" y="0"/>
                  </a:lnTo>
                  <a:lnTo>
                    <a:pt x="115693" y="32825"/>
                  </a:lnTo>
                  <a:lnTo>
                    <a:pt x="35111" y="32825"/>
                  </a:lnTo>
                  <a:lnTo>
                    <a:pt x="35111" y="82296"/>
                  </a:lnTo>
                  <a:lnTo>
                    <a:pt x="107120" y="82296"/>
                  </a:lnTo>
                  <a:lnTo>
                    <a:pt x="107120" y="115121"/>
                  </a:lnTo>
                  <a:lnTo>
                    <a:pt x="35111" y="115121"/>
                  </a:lnTo>
                  <a:lnTo>
                    <a:pt x="35111" y="166878"/>
                  </a:lnTo>
                  <a:lnTo>
                    <a:pt x="118550" y="166878"/>
                  </a:lnTo>
                  <a:lnTo>
                    <a:pt x="118550" y="199703"/>
                  </a:lnTo>
                  <a:lnTo>
                    <a:pt x="0" y="1997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  <p:grpSp>
        <p:nvGrpSpPr>
          <p:cNvPr id="1304" name="Групувати 1303">
            <a:extLst>
              <a:ext uri="{FF2B5EF4-FFF2-40B4-BE49-F238E27FC236}">
                <a16:creationId xmlns:a16="http://schemas.microsoft.com/office/drawing/2014/main" id="{6C0B19A9-DD72-043C-7EDA-D0DA3CA458EE}"/>
              </a:ext>
            </a:extLst>
          </p:cNvPr>
          <p:cNvGrpSpPr/>
          <p:nvPr/>
        </p:nvGrpSpPr>
        <p:grpSpPr>
          <a:xfrm>
            <a:off x="485391" y="863690"/>
            <a:ext cx="799958" cy="665320"/>
            <a:chOff x="485461" y="1589911"/>
            <a:chExt cx="799958" cy="665320"/>
          </a:xfrm>
        </p:grpSpPr>
        <p:sp>
          <p:nvSpPr>
            <p:cNvPr id="1299" name="Полілінія: фігура 1298">
              <a:extLst>
                <a:ext uri="{FF2B5EF4-FFF2-40B4-BE49-F238E27FC236}">
                  <a16:creationId xmlns:a16="http://schemas.microsoft.com/office/drawing/2014/main" id="{095BAA9E-7BF6-B5DC-0E58-994EE98896B2}"/>
                </a:ext>
              </a:extLst>
            </p:cNvPr>
            <p:cNvSpPr/>
            <p:nvPr/>
          </p:nvSpPr>
          <p:spPr>
            <a:xfrm>
              <a:off x="493892" y="1749454"/>
              <a:ext cx="791527" cy="505777"/>
            </a:xfrm>
            <a:custGeom>
              <a:avLst/>
              <a:gdLst>
                <a:gd name="connsiteX0" fmla="*/ 639128 w 791527"/>
                <a:gd name="connsiteY0" fmla="*/ 192405 h 505777"/>
                <a:gd name="connsiteX1" fmla="*/ 735330 w 791527"/>
                <a:gd name="connsiteY1" fmla="*/ 96202 h 505777"/>
                <a:gd name="connsiteX2" fmla="*/ 791528 w 791527"/>
                <a:gd name="connsiteY2" fmla="*/ 152400 h 505777"/>
                <a:gd name="connsiteX3" fmla="*/ 791528 w 791527"/>
                <a:gd name="connsiteY3" fmla="*/ 0 h 505777"/>
                <a:gd name="connsiteX4" fmla="*/ 639128 w 791527"/>
                <a:gd name="connsiteY4" fmla="*/ 0 h 505777"/>
                <a:gd name="connsiteX5" fmla="*/ 695325 w 791527"/>
                <a:gd name="connsiteY5" fmla="*/ 56198 h 505777"/>
                <a:gd name="connsiteX6" fmla="*/ 601028 w 791527"/>
                <a:gd name="connsiteY6" fmla="*/ 150495 h 505777"/>
                <a:gd name="connsiteX7" fmla="*/ 439103 w 791527"/>
                <a:gd name="connsiteY7" fmla="*/ 312420 h 505777"/>
                <a:gd name="connsiteX8" fmla="*/ 296228 w 791527"/>
                <a:gd name="connsiteY8" fmla="*/ 169545 h 505777"/>
                <a:gd name="connsiteX9" fmla="*/ 0 w 791527"/>
                <a:gd name="connsiteY9" fmla="*/ 465773 h 505777"/>
                <a:gd name="connsiteX10" fmla="*/ 40005 w 791527"/>
                <a:gd name="connsiteY10" fmla="*/ 505778 h 505777"/>
                <a:gd name="connsiteX11" fmla="*/ 296228 w 791527"/>
                <a:gd name="connsiteY11" fmla="*/ 249555 h 505777"/>
                <a:gd name="connsiteX12" fmla="*/ 439103 w 791527"/>
                <a:gd name="connsiteY12" fmla="*/ 392430 h 505777"/>
                <a:gd name="connsiteX13" fmla="*/ 639128 w 791527"/>
                <a:gd name="connsiteY13" fmla="*/ 192405 h 50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91527" h="505777">
                  <a:moveTo>
                    <a:pt x="639128" y="192405"/>
                  </a:moveTo>
                  <a:lnTo>
                    <a:pt x="735330" y="96202"/>
                  </a:lnTo>
                  <a:lnTo>
                    <a:pt x="791528" y="152400"/>
                  </a:lnTo>
                  <a:lnTo>
                    <a:pt x="791528" y="0"/>
                  </a:lnTo>
                  <a:lnTo>
                    <a:pt x="639128" y="0"/>
                  </a:lnTo>
                  <a:lnTo>
                    <a:pt x="695325" y="56198"/>
                  </a:lnTo>
                  <a:lnTo>
                    <a:pt x="601028" y="150495"/>
                  </a:lnTo>
                  <a:lnTo>
                    <a:pt x="439103" y="312420"/>
                  </a:lnTo>
                  <a:lnTo>
                    <a:pt x="296228" y="169545"/>
                  </a:lnTo>
                  <a:lnTo>
                    <a:pt x="0" y="465773"/>
                  </a:lnTo>
                  <a:lnTo>
                    <a:pt x="40005" y="505778"/>
                  </a:lnTo>
                  <a:lnTo>
                    <a:pt x="296228" y="249555"/>
                  </a:lnTo>
                  <a:lnTo>
                    <a:pt x="439103" y="392430"/>
                  </a:lnTo>
                  <a:lnTo>
                    <a:pt x="639128" y="192405"/>
                  </a:lnTo>
                  <a:close/>
                </a:path>
              </a:pathLst>
            </a:custGeom>
            <a:solidFill>
              <a:srgbClr val="88D3F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00" name="Полілінія: фігура 1299">
              <a:extLst>
                <a:ext uri="{FF2B5EF4-FFF2-40B4-BE49-F238E27FC236}">
                  <a16:creationId xmlns:a16="http://schemas.microsoft.com/office/drawing/2014/main" id="{E469ECBB-8C80-2D8B-B7D8-C2421618BCF8}"/>
                </a:ext>
              </a:extLst>
            </p:cNvPr>
            <p:cNvSpPr/>
            <p:nvPr/>
          </p:nvSpPr>
          <p:spPr>
            <a:xfrm>
              <a:off x="551995" y="1589911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solidFill>
              <a:srgbClr val="88D3F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01" name="Полілінія: фігура 1300">
              <a:extLst>
                <a:ext uri="{FF2B5EF4-FFF2-40B4-BE49-F238E27FC236}">
                  <a16:creationId xmlns:a16="http://schemas.microsoft.com/office/drawing/2014/main" id="{170C4A06-B73E-33F7-1FC2-00C639215675}"/>
                </a:ext>
              </a:extLst>
            </p:cNvPr>
            <p:cNvSpPr/>
            <p:nvPr/>
          </p:nvSpPr>
          <p:spPr>
            <a:xfrm>
              <a:off x="485461" y="1694688"/>
              <a:ext cx="604315" cy="408524"/>
            </a:xfrm>
            <a:custGeom>
              <a:avLst/>
              <a:gdLst>
                <a:gd name="connsiteX0" fmla="*/ 572978 w 604315"/>
                <a:gd name="connsiteY0" fmla="*/ 187735 h 408524"/>
                <a:gd name="connsiteX1" fmla="*/ 582503 w 604315"/>
                <a:gd name="connsiteY1" fmla="*/ 178210 h 408524"/>
                <a:gd name="connsiteX2" fmla="*/ 604315 w 604315"/>
                <a:gd name="connsiteY2" fmla="*/ 156398 h 408524"/>
                <a:gd name="connsiteX3" fmla="*/ 577836 w 604315"/>
                <a:gd name="connsiteY3" fmla="*/ 37336 h 408524"/>
                <a:gd name="connsiteX4" fmla="*/ 571359 w 604315"/>
                <a:gd name="connsiteY4" fmla="*/ 26668 h 408524"/>
                <a:gd name="connsiteX5" fmla="*/ 533259 w 604315"/>
                <a:gd name="connsiteY5" fmla="*/ 6379 h 408524"/>
                <a:gd name="connsiteX6" fmla="*/ 456487 w 604315"/>
                <a:gd name="connsiteY6" fmla="*/ 6379 h 408524"/>
                <a:gd name="connsiteX7" fmla="*/ 418387 w 604315"/>
                <a:gd name="connsiteY7" fmla="*/ 26668 h 408524"/>
                <a:gd name="connsiteX8" fmla="*/ 411910 w 604315"/>
                <a:gd name="connsiteY8" fmla="*/ 37336 h 408524"/>
                <a:gd name="connsiteX9" fmla="*/ 399909 w 604315"/>
                <a:gd name="connsiteY9" fmla="*/ 93152 h 408524"/>
                <a:gd name="connsiteX10" fmla="*/ 399909 w 604315"/>
                <a:gd name="connsiteY10" fmla="*/ 93152 h 408524"/>
                <a:gd name="connsiteX11" fmla="*/ 387431 w 604315"/>
                <a:gd name="connsiteY11" fmla="*/ 37336 h 408524"/>
                <a:gd name="connsiteX12" fmla="*/ 380859 w 604315"/>
                <a:gd name="connsiteY12" fmla="*/ 26668 h 408524"/>
                <a:gd name="connsiteX13" fmla="*/ 342759 w 604315"/>
                <a:gd name="connsiteY13" fmla="*/ 6379 h 408524"/>
                <a:gd name="connsiteX14" fmla="*/ 228459 w 604315"/>
                <a:gd name="connsiteY14" fmla="*/ 26668 h 408524"/>
                <a:gd name="connsiteX15" fmla="*/ 221982 w 604315"/>
                <a:gd name="connsiteY15" fmla="*/ 37336 h 408524"/>
                <a:gd name="connsiteX16" fmla="*/ 209409 w 604315"/>
                <a:gd name="connsiteY16" fmla="*/ 91342 h 408524"/>
                <a:gd name="connsiteX17" fmla="*/ 209409 w 604315"/>
                <a:gd name="connsiteY17" fmla="*/ 91342 h 408524"/>
                <a:gd name="connsiteX18" fmla="*/ 197026 w 604315"/>
                <a:gd name="connsiteY18" fmla="*/ 37336 h 408524"/>
                <a:gd name="connsiteX19" fmla="*/ 190359 w 604315"/>
                <a:gd name="connsiteY19" fmla="*/ 26668 h 408524"/>
                <a:gd name="connsiteX20" fmla="*/ 152259 w 604315"/>
                <a:gd name="connsiteY20" fmla="*/ 6379 h 408524"/>
                <a:gd name="connsiteX21" fmla="*/ 75487 w 604315"/>
                <a:gd name="connsiteY21" fmla="*/ 6379 h 408524"/>
                <a:gd name="connsiteX22" fmla="*/ 37387 w 604315"/>
                <a:gd name="connsiteY22" fmla="*/ 26668 h 408524"/>
                <a:gd name="connsiteX23" fmla="*/ 30910 w 604315"/>
                <a:gd name="connsiteY23" fmla="*/ 37336 h 408524"/>
                <a:gd name="connsiteX24" fmla="*/ 621 w 604315"/>
                <a:gd name="connsiteY24" fmla="*/ 175639 h 408524"/>
                <a:gd name="connsiteX25" fmla="*/ 14999 w 604315"/>
                <a:gd name="connsiteY25" fmla="*/ 199844 h 408524"/>
                <a:gd name="connsiteX26" fmla="*/ 15765 w 604315"/>
                <a:gd name="connsiteY26" fmla="*/ 200023 h 408524"/>
                <a:gd name="connsiteX27" fmla="*/ 18909 w 604315"/>
                <a:gd name="connsiteY27" fmla="*/ 200023 h 408524"/>
                <a:gd name="connsiteX28" fmla="*/ 37959 w 604315"/>
                <a:gd name="connsiteY28" fmla="*/ 185068 h 408524"/>
                <a:gd name="connsiteX29" fmla="*/ 66534 w 604315"/>
                <a:gd name="connsiteY29" fmla="*/ 57148 h 408524"/>
                <a:gd name="connsiteX30" fmla="*/ 66534 w 604315"/>
                <a:gd name="connsiteY30" fmla="*/ 57148 h 408524"/>
                <a:gd name="connsiteX31" fmla="*/ 66534 w 604315"/>
                <a:gd name="connsiteY31" fmla="*/ 124775 h 408524"/>
                <a:gd name="connsiteX32" fmla="*/ 37959 w 604315"/>
                <a:gd name="connsiteY32" fmla="*/ 266698 h 408524"/>
                <a:gd name="connsiteX33" fmla="*/ 66534 w 604315"/>
                <a:gd name="connsiteY33" fmla="*/ 266698 h 408524"/>
                <a:gd name="connsiteX34" fmla="*/ 66534 w 604315"/>
                <a:gd name="connsiteY34" fmla="*/ 408525 h 408524"/>
                <a:gd name="connsiteX35" fmla="*/ 104634 w 604315"/>
                <a:gd name="connsiteY35" fmla="*/ 370425 h 408524"/>
                <a:gd name="connsiteX36" fmla="*/ 104634 w 604315"/>
                <a:gd name="connsiteY36" fmla="*/ 266698 h 408524"/>
                <a:gd name="connsiteX37" fmla="*/ 123684 w 604315"/>
                <a:gd name="connsiteY37" fmla="*/ 266698 h 408524"/>
                <a:gd name="connsiteX38" fmla="*/ 123684 w 604315"/>
                <a:gd name="connsiteY38" fmla="*/ 351375 h 408524"/>
                <a:gd name="connsiteX39" fmla="*/ 161784 w 604315"/>
                <a:gd name="connsiteY39" fmla="*/ 313275 h 408524"/>
                <a:gd name="connsiteX40" fmla="*/ 161784 w 604315"/>
                <a:gd name="connsiteY40" fmla="*/ 266698 h 408524"/>
                <a:gd name="connsiteX41" fmla="*/ 190359 w 604315"/>
                <a:gd name="connsiteY41" fmla="*/ 266698 h 408524"/>
                <a:gd name="connsiteX42" fmla="*/ 161784 w 604315"/>
                <a:gd name="connsiteY42" fmla="*/ 124870 h 408524"/>
                <a:gd name="connsiteX43" fmla="*/ 161784 w 604315"/>
                <a:gd name="connsiteY43" fmla="*/ 58195 h 408524"/>
                <a:gd name="connsiteX44" fmla="*/ 161784 w 604315"/>
                <a:gd name="connsiteY44" fmla="*/ 58195 h 408524"/>
                <a:gd name="connsiteX45" fmla="*/ 190359 w 604315"/>
                <a:gd name="connsiteY45" fmla="*/ 182592 h 408524"/>
                <a:gd name="connsiteX46" fmla="*/ 209409 w 604315"/>
                <a:gd name="connsiteY46" fmla="*/ 200023 h 408524"/>
                <a:gd name="connsiteX47" fmla="*/ 209409 w 604315"/>
                <a:gd name="connsiteY47" fmla="*/ 200023 h 408524"/>
                <a:gd name="connsiteX48" fmla="*/ 227887 w 604315"/>
                <a:gd name="connsiteY48" fmla="*/ 185068 h 408524"/>
                <a:gd name="connsiteX49" fmla="*/ 228459 w 604315"/>
                <a:gd name="connsiteY49" fmla="*/ 180973 h 408524"/>
                <a:gd name="connsiteX50" fmla="*/ 256272 w 604315"/>
                <a:gd name="connsiteY50" fmla="*/ 58767 h 408524"/>
                <a:gd name="connsiteX51" fmla="*/ 256272 w 604315"/>
                <a:gd name="connsiteY51" fmla="*/ 58767 h 408524"/>
                <a:gd name="connsiteX52" fmla="*/ 256272 w 604315"/>
                <a:gd name="connsiteY52" fmla="*/ 218501 h 408524"/>
                <a:gd name="connsiteX53" fmla="*/ 277322 w 604315"/>
                <a:gd name="connsiteY53" fmla="*/ 197356 h 408524"/>
                <a:gd name="connsiteX54" fmla="*/ 331204 w 604315"/>
                <a:gd name="connsiteY54" fmla="*/ 197326 h 408524"/>
                <a:gd name="connsiteX55" fmla="*/ 331233 w 604315"/>
                <a:gd name="connsiteY55" fmla="*/ 197356 h 408524"/>
                <a:gd name="connsiteX56" fmla="*/ 352284 w 604315"/>
                <a:gd name="connsiteY56" fmla="*/ 217644 h 408524"/>
                <a:gd name="connsiteX57" fmla="*/ 352284 w 604315"/>
                <a:gd name="connsiteY57" fmla="*/ 58862 h 408524"/>
                <a:gd name="connsiteX58" fmla="*/ 352284 w 604315"/>
                <a:gd name="connsiteY58" fmla="*/ 58862 h 408524"/>
                <a:gd name="connsiteX59" fmla="*/ 380859 w 604315"/>
                <a:gd name="connsiteY59" fmla="*/ 185164 h 408524"/>
                <a:gd name="connsiteX60" fmla="*/ 399909 w 604315"/>
                <a:gd name="connsiteY60" fmla="*/ 200023 h 408524"/>
                <a:gd name="connsiteX61" fmla="*/ 399909 w 604315"/>
                <a:gd name="connsiteY61" fmla="*/ 200023 h 408524"/>
                <a:gd name="connsiteX62" fmla="*/ 418482 w 604315"/>
                <a:gd name="connsiteY62" fmla="*/ 185068 h 408524"/>
                <a:gd name="connsiteX63" fmla="*/ 447057 w 604315"/>
                <a:gd name="connsiteY63" fmla="*/ 58767 h 408524"/>
                <a:gd name="connsiteX64" fmla="*/ 447057 w 604315"/>
                <a:gd name="connsiteY64" fmla="*/ 58767 h 408524"/>
                <a:gd name="connsiteX65" fmla="*/ 447057 w 604315"/>
                <a:gd name="connsiteY65" fmla="*/ 313084 h 408524"/>
                <a:gd name="connsiteX66" fmla="*/ 447057 w 604315"/>
                <a:gd name="connsiteY66" fmla="*/ 313084 h 408524"/>
                <a:gd name="connsiteX67" fmla="*/ 485157 w 604315"/>
                <a:gd name="connsiteY67" fmla="*/ 274984 h 408524"/>
                <a:gd name="connsiteX68" fmla="*/ 485157 w 604315"/>
                <a:gd name="connsiteY68" fmla="*/ 209548 h 408524"/>
                <a:gd name="connsiteX69" fmla="*/ 504207 w 604315"/>
                <a:gd name="connsiteY69" fmla="*/ 209548 h 408524"/>
                <a:gd name="connsiteX70" fmla="*/ 504207 w 604315"/>
                <a:gd name="connsiteY70" fmla="*/ 256315 h 408524"/>
                <a:gd name="connsiteX71" fmla="*/ 542307 w 604315"/>
                <a:gd name="connsiteY71" fmla="*/ 218215 h 408524"/>
                <a:gd name="connsiteX72" fmla="*/ 542307 w 604315"/>
                <a:gd name="connsiteY72" fmla="*/ 58862 h 408524"/>
                <a:gd name="connsiteX73" fmla="*/ 542307 w 604315"/>
                <a:gd name="connsiteY73" fmla="*/ 58862 h 408524"/>
                <a:gd name="connsiteX74" fmla="*/ 572311 w 604315"/>
                <a:gd name="connsiteY74" fmla="*/ 187831 h 408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604315" h="408524">
                  <a:moveTo>
                    <a:pt x="572978" y="187735"/>
                  </a:moveTo>
                  <a:lnTo>
                    <a:pt x="582503" y="178210"/>
                  </a:lnTo>
                  <a:lnTo>
                    <a:pt x="604315" y="156398"/>
                  </a:lnTo>
                  <a:lnTo>
                    <a:pt x="577836" y="37336"/>
                  </a:lnTo>
                  <a:cubicBezTo>
                    <a:pt x="577026" y="33118"/>
                    <a:pt x="574727" y="29332"/>
                    <a:pt x="571359" y="26668"/>
                  </a:cubicBezTo>
                  <a:cubicBezTo>
                    <a:pt x="559951" y="17716"/>
                    <a:pt x="547053" y="10848"/>
                    <a:pt x="533259" y="6379"/>
                  </a:cubicBezTo>
                  <a:cubicBezTo>
                    <a:pt x="508375" y="-2126"/>
                    <a:pt x="481371" y="-2126"/>
                    <a:pt x="456487" y="6379"/>
                  </a:cubicBezTo>
                  <a:cubicBezTo>
                    <a:pt x="442697" y="10859"/>
                    <a:pt x="429801" y="17726"/>
                    <a:pt x="418387" y="26668"/>
                  </a:cubicBezTo>
                  <a:cubicBezTo>
                    <a:pt x="415092" y="29396"/>
                    <a:pt x="412810" y="33153"/>
                    <a:pt x="411910" y="37336"/>
                  </a:cubicBezTo>
                  <a:lnTo>
                    <a:pt x="399909" y="93152"/>
                  </a:lnTo>
                  <a:lnTo>
                    <a:pt x="399909" y="93152"/>
                  </a:lnTo>
                  <a:lnTo>
                    <a:pt x="387431" y="37336"/>
                  </a:lnTo>
                  <a:cubicBezTo>
                    <a:pt x="386557" y="33120"/>
                    <a:pt x="384231" y="29344"/>
                    <a:pt x="380859" y="26668"/>
                  </a:cubicBezTo>
                  <a:cubicBezTo>
                    <a:pt x="369451" y="17716"/>
                    <a:pt x="356553" y="10848"/>
                    <a:pt x="342759" y="6379"/>
                  </a:cubicBezTo>
                  <a:cubicBezTo>
                    <a:pt x="303653" y="-6242"/>
                    <a:pt x="260832" y="1358"/>
                    <a:pt x="228459" y="26668"/>
                  </a:cubicBezTo>
                  <a:cubicBezTo>
                    <a:pt x="225163" y="29396"/>
                    <a:pt x="222882" y="33153"/>
                    <a:pt x="221982" y="37336"/>
                  </a:cubicBezTo>
                  <a:lnTo>
                    <a:pt x="209409" y="91342"/>
                  </a:lnTo>
                  <a:cubicBezTo>
                    <a:pt x="209409" y="91342"/>
                    <a:pt x="209409" y="91342"/>
                    <a:pt x="209409" y="91342"/>
                  </a:cubicBezTo>
                  <a:lnTo>
                    <a:pt x="197026" y="37336"/>
                  </a:lnTo>
                  <a:cubicBezTo>
                    <a:pt x="196076" y="33127"/>
                    <a:pt x="193725" y="29366"/>
                    <a:pt x="190359" y="26668"/>
                  </a:cubicBezTo>
                  <a:cubicBezTo>
                    <a:pt x="178945" y="17726"/>
                    <a:pt x="166049" y="10859"/>
                    <a:pt x="152259" y="6379"/>
                  </a:cubicBezTo>
                  <a:cubicBezTo>
                    <a:pt x="127375" y="-2126"/>
                    <a:pt x="100371" y="-2126"/>
                    <a:pt x="75487" y="6379"/>
                  </a:cubicBezTo>
                  <a:cubicBezTo>
                    <a:pt x="61705" y="10879"/>
                    <a:pt x="48813" y="17745"/>
                    <a:pt x="37387" y="26668"/>
                  </a:cubicBezTo>
                  <a:cubicBezTo>
                    <a:pt x="34091" y="29396"/>
                    <a:pt x="31810" y="33153"/>
                    <a:pt x="30910" y="37336"/>
                  </a:cubicBezTo>
                  <a:lnTo>
                    <a:pt x="621" y="175639"/>
                  </a:lnTo>
                  <a:cubicBezTo>
                    <a:pt x="-2093" y="186293"/>
                    <a:pt x="4344" y="197130"/>
                    <a:pt x="14999" y="199844"/>
                  </a:cubicBezTo>
                  <a:cubicBezTo>
                    <a:pt x="15253" y="199908"/>
                    <a:pt x="15509" y="199968"/>
                    <a:pt x="15765" y="200023"/>
                  </a:cubicBezTo>
                  <a:cubicBezTo>
                    <a:pt x="16811" y="200117"/>
                    <a:pt x="17863" y="200117"/>
                    <a:pt x="18909" y="200023"/>
                  </a:cubicBezTo>
                  <a:cubicBezTo>
                    <a:pt x="28018" y="200235"/>
                    <a:pt x="36002" y="193968"/>
                    <a:pt x="37959" y="185068"/>
                  </a:cubicBezTo>
                  <a:lnTo>
                    <a:pt x="66534" y="57148"/>
                  </a:lnTo>
                  <a:lnTo>
                    <a:pt x="66534" y="57148"/>
                  </a:lnTo>
                  <a:lnTo>
                    <a:pt x="66534" y="124775"/>
                  </a:lnTo>
                  <a:lnTo>
                    <a:pt x="37959" y="266698"/>
                  </a:lnTo>
                  <a:lnTo>
                    <a:pt x="66534" y="266698"/>
                  </a:lnTo>
                  <a:lnTo>
                    <a:pt x="66534" y="408525"/>
                  </a:lnTo>
                  <a:lnTo>
                    <a:pt x="104634" y="370425"/>
                  </a:lnTo>
                  <a:lnTo>
                    <a:pt x="104634" y="266698"/>
                  </a:lnTo>
                  <a:lnTo>
                    <a:pt x="123684" y="266698"/>
                  </a:lnTo>
                  <a:lnTo>
                    <a:pt x="123684" y="351375"/>
                  </a:lnTo>
                  <a:lnTo>
                    <a:pt x="161784" y="313275"/>
                  </a:lnTo>
                  <a:lnTo>
                    <a:pt x="161784" y="266698"/>
                  </a:lnTo>
                  <a:lnTo>
                    <a:pt x="190359" y="266698"/>
                  </a:lnTo>
                  <a:lnTo>
                    <a:pt x="161784" y="124870"/>
                  </a:lnTo>
                  <a:lnTo>
                    <a:pt x="161784" y="58195"/>
                  </a:lnTo>
                  <a:lnTo>
                    <a:pt x="161784" y="58195"/>
                  </a:lnTo>
                  <a:lnTo>
                    <a:pt x="190359" y="182592"/>
                  </a:lnTo>
                  <a:cubicBezTo>
                    <a:pt x="191202" y="192476"/>
                    <a:pt x="199489" y="200059"/>
                    <a:pt x="209409" y="200023"/>
                  </a:cubicBezTo>
                  <a:lnTo>
                    <a:pt x="209409" y="200023"/>
                  </a:lnTo>
                  <a:cubicBezTo>
                    <a:pt x="218304" y="199964"/>
                    <a:pt x="225975" y="193756"/>
                    <a:pt x="227887" y="185068"/>
                  </a:cubicBezTo>
                  <a:lnTo>
                    <a:pt x="228459" y="180973"/>
                  </a:lnTo>
                  <a:lnTo>
                    <a:pt x="256272" y="58767"/>
                  </a:lnTo>
                  <a:cubicBezTo>
                    <a:pt x="256272" y="58767"/>
                    <a:pt x="256272" y="58767"/>
                    <a:pt x="256272" y="58767"/>
                  </a:cubicBezTo>
                  <a:lnTo>
                    <a:pt x="256272" y="218501"/>
                  </a:lnTo>
                  <a:lnTo>
                    <a:pt x="277322" y="197356"/>
                  </a:lnTo>
                  <a:cubicBezTo>
                    <a:pt x="292192" y="182468"/>
                    <a:pt x="316316" y="182455"/>
                    <a:pt x="331204" y="197326"/>
                  </a:cubicBezTo>
                  <a:cubicBezTo>
                    <a:pt x="331213" y="197336"/>
                    <a:pt x="331224" y="197346"/>
                    <a:pt x="331233" y="197356"/>
                  </a:cubicBezTo>
                  <a:lnTo>
                    <a:pt x="352284" y="217644"/>
                  </a:lnTo>
                  <a:lnTo>
                    <a:pt x="352284" y="58862"/>
                  </a:lnTo>
                  <a:cubicBezTo>
                    <a:pt x="352284" y="58862"/>
                    <a:pt x="352284" y="58862"/>
                    <a:pt x="352284" y="58862"/>
                  </a:cubicBezTo>
                  <a:lnTo>
                    <a:pt x="380859" y="185164"/>
                  </a:lnTo>
                  <a:cubicBezTo>
                    <a:pt x="382854" y="194025"/>
                    <a:pt x="390828" y="200245"/>
                    <a:pt x="399909" y="200023"/>
                  </a:cubicBezTo>
                  <a:lnTo>
                    <a:pt x="399909" y="200023"/>
                  </a:lnTo>
                  <a:cubicBezTo>
                    <a:pt x="408840" y="200008"/>
                    <a:pt x="416562" y="193790"/>
                    <a:pt x="418482" y="185068"/>
                  </a:cubicBezTo>
                  <a:lnTo>
                    <a:pt x="447057" y="58767"/>
                  </a:lnTo>
                  <a:cubicBezTo>
                    <a:pt x="447057" y="58767"/>
                    <a:pt x="447057" y="58767"/>
                    <a:pt x="447057" y="58767"/>
                  </a:cubicBezTo>
                  <a:lnTo>
                    <a:pt x="447057" y="313084"/>
                  </a:lnTo>
                  <a:lnTo>
                    <a:pt x="447057" y="313084"/>
                  </a:lnTo>
                  <a:lnTo>
                    <a:pt x="485157" y="274984"/>
                  </a:lnTo>
                  <a:lnTo>
                    <a:pt x="485157" y="209548"/>
                  </a:lnTo>
                  <a:lnTo>
                    <a:pt x="504207" y="209548"/>
                  </a:lnTo>
                  <a:lnTo>
                    <a:pt x="504207" y="256315"/>
                  </a:lnTo>
                  <a:lnTo>
                    <a:pt x="542307" y="218215"/>
                  </a:lnTo>
                  <a:lnTo>
                    <a:pt x="542307" y="58862"/>
                  </a:lnTo>
                  <a:cubicBezTo>
                    <a:pt x="542307" y="58862"/>
                    <a:pt x="542307" y="58862"/>
                    <a:pt x="542307" y="58862"/>
                  </a:cubicBezTo>
                  <a:lnTo>
                    <a:pt x="572311" y="187831"/>
                  </a:lnTo>
                  <a:close/>
                </a:path>
              </a:pathLst>
            </a:custGeom>
            <a:solidFill>
              <a:srgbClr val="88D3F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02" name="Полілінія: фігура 1301">
              <a:extLst>
                <a:ext uri="{FF2B5EF4-FFF2-40B4-BE49-F238E27FC236}">
                  <a16:creationId xmlns:a16="http://schemas.microsoft.com/office/drawing/2014/main" id="{9AD62815-53E5-065E-542D-E74A72618DBF}"/>
                </a:ext>
              </a:extLst>
            </p:cNvPr>
            <p:cNvSpPr/>
            <p:nvPr/>
          </p:nvSpPr>
          <p:spPr>
            <a:xfrm>
              <a:off x="932899" y="1589911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solidFill>
              <a:srgbClr val="88D3F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  <p:sp>
          <p:nvSpPr>
            <p:cNvPr id="1303" name="Полілінія: фігура 1302">
              <a:extLst>
                <a:ext uri="{FF2B5EF4-FFF2-40B4-BE49-F238E27FC236}">
                  <a16:creationId xmlns:a16="http://schemas.microsoft.com/office/drawing/2014/main" id="{35926A8C-CFBD-0A01-3E94-30CCB6ECFD7A}"/>
                </a:ext>
              </a:extLst>
            </p:cNvPr>
            <p:cNvSpPr/>
            <p:nvPr/>
          </p:nvSpPr>
          <p:spPr>
            <a:xfrm>
              <a:off x="742114" y="1589911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solidFill>
              <a:srgbClr val="88D3F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uk-UA"/>
            </a:p>
          </p:txBody>
        </p:sp>
      </p:grpSp>
      <p:grpSp>
        <p:nvGrpSpPr>
          <p:cNvPr id="1306" name="Групувати 1305">
            <a:extLst>
              <a:ext uri="{FF2B5EF4-FFF2-40B4-BE49-F238E27FC236}">
                <a16:creationId xmlns:a16="http://schemas.microsoft.com/office/drawing/2014/main" id="{7F882853-2A13-25B8-1877-F1E1338B6FE4}"/>
              </a:ext>
            </a:extLst>
          </p:cNvPr>
          <p:cNvGrpSpPr/>
          <p:nvPr/>
        </p:nvGrpSpPr>
        <p:grpSpPr>
          <a:xfrm>
            <a:off x="10613803" y="104129"/>
            <a:ext cx="1405132" cy="300056"/>
            <a:chOff x="8944864" y="1776832"/>
            <a:chExt cx="1022457" cy="221924"/>
          </a:xfrm>
        </p:grpSpPr>
        <p:sp>
          <p:nvSpPr>
            <p:cNvPr id="1307" name="TextBox 1306">
              <a:extLst>
                <a:ext uri="{FF2B5EF4-FFF2-40B4-BE49-F238E27FC236}">
                  <a16:creationId xmlns:a16="http://schemas.microsoft.com/office/drawing/2014/main" id="{F0A90B24-827C-92B2-928F-7E9C00C3C12D}"/>
                </a:ext>
              </a:extLst>
            </p:cNvPr>
            <p:cNvSpPr txBox="1"/>
            <p:nvPr/>
          </p:nvSpPr>
          <p:spPr>
            <a:xfrm>
              <a:off x="9569202" y="1795187"/>
              <a:ext cx="97196" cy="96262"/>
            </a:xfrm>
            <a:custGeom>
              <a:avLst/>
              <a:gdLst/>
              <a:ahLst/>
              <a:cxnLst/>
              <a:rect l="l" t="t" r="r" b="b"/>
              <a:pathLst>
                <a:path w="97196" h="96262">
                  <a:moveTo>
                    <a:pt x="48531" y="0"/>
                  </a:moveTo>
                  <a:cubicBezTo>
                    <a:pt x="57866" y="55"/>
                    <a:pt x="66182" y="2061"/>
                    <a:pt x="73479" y="6016"/>
                  </a:cubicBezTo>
                  <a:cubicBezTo>
                    <a:pt x="80775" y="9972"/>
                    <a:pt x="86530" y="15542"/>
                    <a:pt x="90744" y="22729"/>
                  </a:cubicBezTo>
                  <a:cubicBezTo>
                    <a:pt x="94958" y="29915"/>
                    <a:pt x="97109" y="38382"/>
                    <a:pt x="97196" y="48130"/>
                  </a:cubicBezTo>
                  <a:cubicBezTo>
                    <a:pt x="97109" y="57543"/>
                    <a:pt x="94958" y="65852"/>
                    <a:pt x="90744" y="73058"/>
                  </a:cubicBezTo>
                  <a:cubicBezTo>
                    <a:pt x="86530" y="80264"/>
                    <a:pt x="80775" y="85914"/>
                    <a:pt x="73479" y="90008"/>
                  </a:cubicBezTo>
                  <a:cubicBezTo>
                    <a:pt x="66182" y="94102"/>
                    <a:pt x="57866" y="96186"/>
                    <a:pt x="48531" y="96262"/>
                  </a:cubicBezTo>
                  <a:cubicBezTo>
                    <a:pt x="39198" y="96206"/>
                    <a:pt x="30894" y="94200"/>
                    <a:pt x="23618" y="90245"/>
                  </a:cubicBezTo>
                  <a:cubicBezTo>
                    <a:pt x="16343" y="86290"/>
                    <a:pt x="10610" y="80719"/>
                    <a:pt x="6417" y="73532"/>
                  </a:cubicBezTo>
                  <a:cubicBezTo>
                    <a:pt x="2225" y="66346"/>
                    <a:pt x="86" y="57879"/>
                    <a:pt x="0" y="48130"/>
                  </a:cubicBezTo>
                  <a:cubicBezTo>
                    <a:pt x="68" y="39012"/>
                    <a:pt x="2138" y="30841"/>
                    <a:pt x="6210" y="23618"/>
                  </a:cubicBezTo>
                  <a:cubicBezTo>
                    <a:pt x="10281" y="16395"/>
                    <a:pt x="15946" y="10676"/>
                    <a:pt x="23203" y="6461"/>
                  </a:cubicBezTo>
                  <a:cubicBezTo>
                    <a:pt x="30461" y="2246"/>
                    <a:pt x="38904" y="92"/>
                    <a:pt x="48531" y="0"/>
                  </a:cubicBezTo>
                  <a:close/>
                  <a:moveTo>
                    <a:pt x="48531" y="15318"/>
                  </a:moveTo>
                  <a:cubicBezTo>
                    <a:pt x="39411" y="15477"/>
                    <a:pt x="31975" y="18528"/>
                    <a:pt x="26223" y="24472"/>
                  </a:cubicBezTo>
                  <a:cubicBezTo>
                    <a:pt x="20470" y="30415"/>
                    <a:pt x="17503" y="38302"/>
                    <a:pt x="17319" y="48130"/>
                  </a:cubicBezTo>
                  <a:cubicBezTo>
                    <a:pt x="17528" y="57667"/>
                    <a:pt x="20545" y="65470"/>
                    <a:pt x="26373" y="71539"/>
                  </a:cubicBezTo>
                  <a:cubicBezTo>
                    <a:pt x="32200" y="77608"/>
                    <a:pt x="39586" y="80743"/>
                    <a:pt x="48531" y="80943"/>
                  </a:cubicBezTo>
                  <a:cubicBezTo>
                    <a:pt x="58415" y="80726"/>
                    <a:pt x="66091" y="77558"/>
                    <a:pt x="71557" y="71439"/>
                  </a:cubicBezTo>
                  <a:cubicBezTo>
                    <a:pt x="77023" y="65320"/>
                    <a:pt x="79796" y="57551"/>
                    <a:pt x="79877" y="48130"/>
                  </a:cubicBezTo>
                  <a:cubicBezTo>
                    <a:pt x="79671" y="38302"/>
                    <a:pt x="76648" y="30415"/>
                    <a:pt x="70807" y="24472"/>
                  </a:cubicBezTo>
                  <a:cubicBezTo>
                    <a:pt x="64965" y="18528"/>
                    <a:pt x="57540" y="15477"/>
                    <a:pt x="48531" y="15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308" name="TextBox 1307">
              <a:extLst>
                <a:ext uri="{FF2B5EF4-FFF2-40B4-BE49-F238E27FC236}">
                  <a16:creationId xmlns:a16="http://schemas.microsoft.com/office/drawing/2014/main" id="{E0EFA243-074D-75C2-5540-A4FF6183C278}"/>
                </a:ext>
              </a:extLst>
            </p:cNvPr>
            <p:cNvSpPr txBox="1"/>
            <p:nvPr/>
          </p:nvSpPr>
          <p:spPr>
            <a:xfrm>
              <a:off x="9683502" y="1795187"/>
              <a:ext cx="83594" cy="96262"/>
            </a:xfrm>
            <a:custGeom>
              <a:avLst/>
              <a:gdLst/>
              <a:ahLst/>
              <a:cxnLst/>
              <a:rect l="l" t="t" r="r" b="b"/>
              <a:pathLst>
                <a:path w="83594" h="96262">
                  <a:moveTo>
                    <a:pt x="46532" y="0"/>
                  </a:moveTo>
                  <a:cubicBezTo>
                    <a:pt x="53144" y="19"/>
                    <a:pt x="58862" y="846"/>
                    <a:pt x="63688" y="2481"/>
                  </a:cubicBezTo>
                  <a:cubicBezTo>
                    <a:pt x="68514" y="4115"/>
                    <a:pt x="72796" y="6441"/>
                    <a:pt x="76534" y="9457"/>
                  </a:cubicBezTo>
                  <a:lnTo>
                    <a:pt x="69608" y="22523"/>
                  </a:lnTo>
                  <a:cubicBezTo>
                    <a:pt x="67196" y="20297"/>
                    <a:pt x="64117" y="18546"/>
                    <a:pt x="60371" y="17270"/>
                  </a:cubicBezTo>
                  <a:cubicBezTo>
                    <a:pt x="56625" y="15994"/>
                    <a:pt x="52679" y="15343"/>
                    <a:pt x="48533" y="15318"/>
                  </a:cubicBezTo>
                  <a:cubicBezTo>
                    <a:pt x="39354" y="15385"/>
                    <a:pt x="31901" y="18253"/>
                    <a:pt x="26173" y="23923"/>
                  </a:cubicBezTo>
                  <a:cubicBezTo>
                    <a:pt x="20446" y="29593"/>
                    <a:pt x="17494" y="37664"/>
                    <a:pt x="17319" y="48135"/>
                  </a:cubicBezTo>
                  <a:cubicBezTo>
                    <a:pt x="17453" y="58192"/>
                    <a:pt x="20354" y="66143"/>
                    <a:pt x="26023" y="71988"/>
                  </a:cubicBezTo>
                  <a:cubicBezTo>
                    <a:pt x="31692" y="77832"/>
                    <a:pt x="39329" y="80817"/>
                    <a:pt x="48933" y="80943"/>
                  </a:cubicBezTo>
                  <a:cubicBezTo>
                    <a:pt x="52674" y="80885"/>
                    <a:pt x="56364" y="80234"/>
                    <a:pt x="60005" y="78991"/>
                  </a:cubicBezTo>
                  <a:cubicBezTo>
                    <a:pt x="63645" y="77748"/>
                    <a:pt x="66402" y="76264"/>
                    <a:pt x="68276" y="74537"/>
                  </a:cubicBezTo>
                  <a:lnTo>
                    <a:pt x="68276" y="59857"/>
                  </a:lnTo>
                  <a:lnTo>
                    <a:pt x="45732" y="59857"/>
                  </a:lnTo>
                  <a:lnTo>
                    <a:pt x="45732" y="44539"/>
                  </a:lnTo>
                  <a:lnTo>
                    <a:pt x="83594" y="44539"/>
                  </a:lnTo>
                  <a:lnTo>
                    <a:pt x="83594" y="83208"/>
                  </a:lnTo>
                  <a:cubicBezTo>
                    <a:pt x="79251" y="87365"/>
                    <a:pt x="73848" y="90573"/>
                    <a:pt x="67385" y="92832"/>
                  </a:cubicBezTo>
                  <a:cubicBezTo>
                    <a:pt x="60922" y="95091"/>
                    <a:pt x="54683" y="96234"/>
                    <a:pt x="48666" y="96262"/>
                  </a:cubicBezTo>
                  <a:cubicBezTo>
                    <a:pt x="33274" y="96073"/>
                    <a:pt x="21345" y="91686"/>
                    <a:pt x="12878" y="83100"/>
                  </a:cubicBezTo>
                  <a:cubicBezTo>
                    <a:pt x="4412" y="74514"/>
                    <a:pt x="119" y="62859"/>
                    <a:pt x="0" y="48135"/>
                  </a:cubicBezTo>
                  <a:cubicBezTo>
                    <a:pt x="46" y="39100"/>
                    <a:pt x="1953" y="30968"/>
                    <a:pt x="5721" y="23739"/>
                  </a:cubicBezTo>
                  <a:cubicBezTo>
                    <a:pt x="9488" y="16510"/>
                    <a:pt x="14842" y="10771"/>
                    <a:pt x="21781" y="6521"/>
                  </a:cubicBezTo>
                  <a:cubicBezTo>
                    <a:pt x="28721" y="2271"/>
                    <a:pt x="36971" y="97"/>
                    <a:pt x="46532" y="0"/>
                  </a:cubicBez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309" name="TextBox 1308">
              <a:extLst>
                <a:ext uri="{FF2B5EF4-FFF2-40B4-BE49-F238E27FC236}">
                  <a16:creationId xmlns:a16="http://schemas.microsoft.com/office/drawing/2014/main" id="{869ABAE8-1D56-5268-6A45-954594AFA050}"/>
                </a:ext>
              </a:extLst>
            </p:cNvPr>
            <p:cNvSpPr txBox="1"/>
            <p:nvPr/>
          </p:nvSpPr>
          <p:spPr>
            <a:xfrm>
              <a:off x="92879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310" name="TextBox 1309">
              <a:extLst>
                <a:ext uri="{FF2B5EF4-FFF2-40B4-BE49-F238E27FC236}">
                  <a16:creationId xmlns:a16="http://schemas.microsoft.com/office/drawing/2014/main" id="{EBF80B0F-A664-C790-D578-897AB4F2E398}"/>
                </a:ext>
              </a:extLst>
            </p:cNvPr>
            <p:cNvSpPr txBox="1"/>
            <p:nvPr/>
          </p:nvSpPr>
          <p:spPr>
            <a:xfrm>
              <a:off x="97832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311" name="TextBox 1310">
              <a:extLst>
                <a:ext uri="{FF2B5EF4-FFF2-40B4-BE49-F238E27FC236}">
                  <a16:creationId xmlns:a16="http://schemas.microsoft.com/office/drawing/2014/main" id="{6AD0C5D1-09FE-2A2C-8E32-64CD6C3DA947}"/>
                </a:ext>
              </a:extLst>
            </p:cNvPr>
            <p:cNvSpPr txBox="1"/>
            <p:nvPr/>
          </p:nvSpPr>
          <p:spPr>
            <a:xfrm>
              <a:off x="9185612" y="1796788"/>
              <a:ext cx="79726" cy="93195"/>
            </a:xfrm>
            <a:custGeom>
              <a:avLst/>
              <a:gdLst/>
              <a:ahLst/>
              <a:cxnLst/>
              <a:rect l="l" t="t" r="r" b="b"/>
              <a:pathLst>
                <a:path w="79726" h="93195">
                  <a:moveTo>
                    <a:pt x="0" y="0"/>
                  </a:moveTo>
                  <a:lnTo>
                    <a:pt x="13054" y="0"/>
                  </a:lnTo>
                  <a:lnTo>
                    <a:pt x="64408" y="64837"/>
                  </a:lnTo>
                  <a:lnTo>
                    <a:pt x="64408" y="0"/>
                  </a:lnTo>
                  <a:lnTo>
                    <a:pt x="79726" y="0"/>
                  </a:lnTo>
                  <a:lnTo>
                    <a:pt x="79726" y="93195"/>
                  </a:lnTo>
                  <a:lnTo>
                    <a:pt x="66672" y="93195"/>
                  </a:lnTo>
                  <a:lnTo>
                    <a:pt x="15318" y="28624"/>
                  </a:lnTo>
                  <a:lnTo>
                    <a:pt x="15318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312" name="TextBox 1311">
              <a:extLst>
                <a:ext uri="{FF2B5EF4-FFF2-40B4-BE49-F238E27FC236}">
                  <a16:creationId xmlns:a16="http://schemas.microsoft.com/office/drawing/2014/main" id="{8D69F4F8-9D59-97FB-8E18-3109DFA597FB}"/>
                </a:ext>
              </a:extLst>
            </p:cNvPr>
            <p:cNvSpPr txBox="1"/>
            <p:nvPr/>
          </p:nvSpPr>
          <p:spPr>
            <a:xfrm>
              <a:off x="9404688" y="1796788"/>
              <a:ext cx="53323" cy="93195"/>
            </a:xfrm>
            <a:custGeom>
              <a:avLst/>
              <a:gdLst/>
              <a:ahLst/>
              <a:cxnLst/>
              <a:rect l="l" t="t" r="r" b="b"/>
              <a:pathLst>
                <a:path w="53323" h="93195">
                  <a:moveTo>
                    <a:pt x="0" y="0"/>
                  </a:moveTo>
                  <a:lnTo>
                    <a:pt x="53323" y="0"/>
                  </a:lnTo>
                  <a:lnTo>
                    <a:pt x="53323" y="15318"/>
                  </a:lnTo>
                  <a:lnTo>
                    <a:pt x="16385" y="15318"/>
                  </a:lnTo>
                  <a:lnTo>
                    <a:pt x="16385" y="41605"/>
                  </a:lnTo>
                  <a:lnTo>
                    <a:pt x="49322" y="41605"/>
                  </a:lnTo>
                  <a:lnTo>
                    <a:pt x="49322" y="56924"/>
                  </a:lnTo>
                  <a:lnTo>
                    <a:pt x="16385" y="56924"/>
                  </a:lnTo>
                  <a:lnTo>
                    <a:pt x="16385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313" name="TextBox 1312">
              <a:extLst>
                <a:ext uri="{FF2B5EF4-FFF2-40B4-BE49-F238E27FC236}">
                  <a16:creationId xmlns:a16="http://schemas.microsoft.com/office/drawing/2014/main" id="{A58C4D68-8964-1E28-7FF2-009ECF94CBFB}"/>
                </a:ext>
              </a:extLst>
            </p:cNvPr>
            <p:cNvSpPr txBox="1"/>
            <p:nvPr/>
          </p:nvSpPr>
          <p:spPr>
            <a:xfrm>
              <a:off x="9478810" y="1796788"/>
              <a:ext cx="76926" cy="93195"/>
            </a:xfrm>
            <a:custGeom>
              <a:avLst/>
              <a:gdLst/>
              <a:ahLst/>
              <a:cxnLst/>
              <a:rect l="l" t="t" r="r" b="b"/>
              <a:pathLst>
                <a:path w="76926" h="93195">
                  <a:moveTo>
                    <a:pt x="0" y="0"/>
                  </a:moveTo>
                  <a:lnTo>
                    <a:pt x="76926" y="0"/>
                  </a:lnTo>
                  <a:lnTo>
                    <a:pt x="76926" y="15318"/>
                  </a:lnTo>
                  <a:lnTo>
                    <a:pt x="46656" y="15318"/>
                  </a:lnTo>
                  <a:lnTo>
                    <a:pt x="46656" y="93195"/>
                  </a:lnTo>
                  <a:lnTo>
                    <a:pt x="30270" y="93195"/>
                  </a:lnTo>
                  <a:lnTo>
                    <a:pt x="30270" y="15318"/>
                  </a:lnTo>
                  <a:lnTo>
                    <a:pt x="0" y="15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314" name="TextBox 1313">
              <a:extLst>
                <a:ext uri="{FF2B5EF4-FFF2-40B4-BE49-F238E27FC236}">
                  <a16:creationId xmlns:a16="http://schemas.microsoft.com/office/drawing/2014/main" id="{BC5CA553-BAB6-76B8-0032-E1FC983AD8B8}"/>
                </a:ext>
              </a:extLst>
            </p:cNvPr>
            <p:cNvSpPr txBox="1"/>
            <p:nvPr/>
          </p:nvSpPr>
          <p:spPr>
            <a:xfrm>
              <a:off x="9892378" y="1796788"/>
              <a:ext cx="74943" cy="93195"/>
            </a:xfrm>
            <a:custGeom>
              <a:avLst/>
              <a:gdLst/>
              <a:ahLst/>
              <a:cxnLst/>
              <a:rect l="l" t="t" r="r" b="b"/>
              <a:pathLst>
                <a:path w="74943" h="93195">
                  <a:moveTo>
                    <a:pt x="2667" y="0"/>
                  </a:moveTo>
                  <a:lnTo>
                    <a:pt x="73609" y="0"/>
                  </a:lnTo>
                  <a:lnTo>
                    <a:pt x="73609" y="11322"/>
                  </a:lnTo>
                  <a:lnTo>
                    <a:pt x="21870" y="77876"/>
                  </a:lnTo>
                  <a:lnTo>
                    <a:pt x="74943" y="77876"/>
                  </a:lnTo>
                  <a:lnTo>
                    <a:pt x="74943" y="93195"/>
                  </a:lnTo>
                  <a:lnTo>
                    <a:pt x="0" y="93195"/>
                  </a:lnTo>
                  <a:lnTo>
                    <a:pt x="0" y="82006"/>
                  </a:lnTo>
                  <a:lnTo>
                    <a:pt x="51607" y="15318"/>
                  </a:lnTo>
                  <a:lnTo>
                    <a:pt x="2667" y="15318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315" name="Freeform 218">
              <a:extLst>
                <a:ext uri="{FF2B5EF4-FFF2-40B4-BE49-F238E27FC236}">
                  <a16:creationId xmlns:a16="http://schemas.microsoft.com/office/drawing/2014/main" id="{6CDDE110-D03C-C2D7-F99C-A4C2FDF862A8}"/>
                </a:ext>
              </a:extLst>
            </p:cNvPr>
            <p:cNvSpPr/>
            <p:nvPr/>
          </p:nvSpPr>
          <p:spPr>
            <a:xfrm>
              <a:off x="9064800" y="1991655"/>
              <a:ext cx="4609" cy="1336"/>
            </a:xfrm>
            <a:custGeom>
              <a:avLst/>
              <a:gdLst/>
              <a:ahLst/>
              <a:cxnLst/>
              <a:rect l="0" t="0" r="0" b="0"/>
              <a:pathLst>
                <a:path w="13665" h="3962">
                  <a:moveTo>
                    <a:pt x="0" y="3962"/>
                  </a:moveTo>
                  <a:cubicBezTo>
                    <a:pt x="4610" y="2731"/>
                    <a:pt x="9169" y="1626"/>
                    <a:pt x="13665" y="0"/>
                  </a:cubicBezTo>
                  <a:cubicBezTo>
                    <a:pt x="8978" y="1384"/>
                    <a:pt x="4508" y="2731"/>
                    <a:pt x="0" y="3962"/>
                  </a:cubicBezTo>
                </a:path>
              </a:pathLst>
            </a:custGeom>
            <a:solidFill>
              <a:srgbClr val="000000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pic>
          <p:nvPicPr>
            <p:cNvPr id="1316" name="Picture 219">
              <a:extLst>
                <a:ext uri="{FF2B5EF4-FFF2-40B4-BE49-F238E27FC236}">
                  <a16:creationId xmlns:a16="http://schemas.microsoft.com/office/drawing/2014/main" id="{72C8E0E9-B9C8-D315-EF50-BB63BD31A220}"/>
                </a:ext>
              </a:extLst>
            </p:cNvPr>
            <p:cNvPicPr/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058175" y="1988501"/>
              <a:ext cx="15518" cy="10255"/>
            </a:xfrm>
            <a:prstGeom prst="rect">
              <a:avLst/>
            </a:prstGeom>
            <a:noFill/>
          </p:spPr>
        </p:pic>
        <p:grpSp>
          <p:nvGrpSpPr>
            <p:cNvPr id="1317" name="Групувати 1316">
              <a:extLst>
                <a:ext uri="{FF2B5EF4-FFF2-40B4-BE49-F238E27FC236}">
                  <a16:creationId xmlns:a16="http://schemas.microsoft.com/office/drawing/2014/main" id="{39C8AF97-26E4-DC84-9E91-C030D195F6CD}"/>
                </a:ext>
              </a:extLst>
            </p:cNvPr>
            <p:cNvGrpSpPr/>
            <p:nvPr/>
          </p:nvGrpSpPr>
          <p:grpSpPr>
            <a:xfrm>
              <a:off x="8944864" y="1776832"/>
              <a:ext cx="207633" cy="206717"/>
              <a:chOff x="5192198" y="3302281"/>
              <a:chExt cx="207633" cy="206717"/>
            </a:xfrm>
          </p:grpSpPr>
          <p:sp>
            <p:nvSpPr>
              <p:cNvPr id="1331" name="Freeform 220">
                <a:extLst>
                  <a:ext uri="{FF2B5EF4-FFF2-40B4-BE49-F238E27FC236}">
                    <a16:creationId xmlns:a16="http://schemas.microsoft.com/office/drawing/2014/main" id="{D1E87989-C671-57A8-0F93-3B284BFD6319}"/>
                  </a:ext>
                </a:extLst>
              </p:cNvPr>
              <p:cNvSpPr/>
              <p:nvPr/>
            </p:nvSpPr>
            <p:spPr>
              <a:xfrm>
                <a:off x="5309209" y="3316368"/>
                <a:ext cx="90622" cy="178639"/>
              </a:xfrm>
              <a:custGeom>
                <a:avLst/>
                <a:gdLst/>
                <a:ahLst/>
                <a:cxnLst/>
                <a:rect l="0" t="0" r="0" b="0"/>
                <a:pathLst>
                  <a:path w="268693" h="529665">
                    <a:moveTo>
                      <a:pt x="249186" y="162356"/>
                    </a:moveTo>
                    <a:cubicBezTo>
                      <a:pt x="249490" y="162482"/>
                      <a:pt x="249770" y="162521"/>
                      <a:pt x="250049" y="162724"/>
                    </a:cubicBezTo>
                    <a:cubicBezTo>
                      <a:pt x="233972" y="106400"/>
                      <a:pt x="199834" y="59042"/>
                      <a:pt x="150126" y="24841"/>
                    </a:cubicBezTo>
                    <a:cubicBezTo>
                      <a:pt x="127165" y="9055"/>
                      <a:pt x="100622" y="0"/>
                      <a:pt x="77356" y="0"/>
                    </a:cubicBezTo>
                    <a:cubicBezTo>
                      <a:pt x="63970" y="0"/>
                      <a:pt x="51701" y="2844"/>
                      <a:pt x="41008" y="8661"/>
                    </a:cubicBezTo>
                    <a:cubicBezTo>
                      <a:pt x="13894" y="24498"/>
                      <a:pt x="0" y="46990"/>
                      <a:pt x="0" y="75565"/>
                    </a:cubicBezTo>
                    <a:cubicBezTo>
                      <a:pt x="0" y="122174"/>
                      <a:pt x="27051" y="149669"/>
                      <a:pt x="67932" y="191324"/>
                    </a:cubicBezTo>
                    <a:cubicBezTo>
                      <a:pt x="89205" y="213003"/>
                      <a:pt x="113068" y="237336"/>
                      <a:pt x="136474" y="268591"/>
                    </a:cubicBezTo>
                    <a:cubicBezTo>
                      <a:pt x="174879" y="319785"/>
                      <a:pt x="184366" y="391375"/>
                      <a:pt x="161239" y="455687"/>
                    </a:cubicBezTo>
                    <a:cubicBezTo>
                      <a:pt x="151143" y="483754"/>
                      <a:pt x="135737" y="508431"/>
                      <a:pt x="115798" y="528992"/>
                    </a:cubicBezTo>
                    <a:cubicBezTo>
                      <a:pt x="115519" y="529068"/>
                      <a:pt x="115468" y="529462"/>
                      <a:pt x="115214" y="529665"/>
                    </a:cubicBezTo>
                    <a:cubicBezTo>
                      <a:pt x="163931" y="502233"/>
                      <a:pt x="200685" y="463269"/>
                      <a:pt x="223342" y="414768"/>
                    </a:cubicBezTo>
                    <a:cubicBezTo>
                      <a:pt x="268693" y="317359"/>
                      <a:pt x="235026" y="249795"/>
                      <a:pt x="214922" y="209384"/>
                    </a:cubicBezTo>
                    <a:cubicBezTo>
                      <a:pt x="204610" y="188670"/>
                      <a:pt x="197193" y="173531"/>
                      <a:pt x="204711" y="162191"/>
                    </a:cubicBezTo>
                    <a:cubicBezTo>
                      <a:pt x="213411" y="149098"/>
                      <a:pt x="229451" y="148463"/>
                      <a:pt x="249186" y="162356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sp>
            <p:nvSpPr>
              <p:cNvPr id="1332" name="Freeform 221">
                <a:extLst>
                  <a:ext uri="{FF2B5EF4-FFF2-40B4-BE49-F238E27FC236}">
                    <a16:creationId xmlns:a16="http://schemas.microsoft.com/office/drawing/2014/main" id="{3CD0E71D-92F6-E26D-F8D1-E74D6D6370B6}"/>
                  </a:ext>
                </a:extLst>
              </p:cNvPr>
              <p:cNvSpPr/>
              <p:nvPr/>
            </p:nvSpPr>
            <p:spPr>
              <a:xfrm>
                <a:off x="5192198" y="3326401"/>
                <a:ext cx="131219" cy="179925"/>
              </a:xfrm>
              <a:custGeom>
                <a:avLst/>
                <a:gdLst/>
                <a:ahLst/>
                <a:cxnLst/>
                <a:rect l="0" t="0" r="0" b="0"/>
                <a:pathLst>
                  <a:path w="389064" h="533476">
                    <a:moveTo>
                      <a:pt x="374561" y="363639"/>
                    </a:moveTo>
                    <a:cubicBezTo>
                      <a:pt x="345733" y="318936"/>
                      <a:pt x="304800" y="303162"/>
                      <a:pt x="261519" y="286563"/>
                    </a:cubicBezTo>
                    <a:cubicBezTo>
                      <a:pt x="219050" y="270142"/>
                      <a:pt x="175095" y="253251"/>
                      <a:pt x="137757" y="209398"/>
                    </a:cubicBezTo>
                    <a:cubicBezTo>
                      <a:pt x="101156" y="166739"/>
                      <a:pt x="85764" y="111430"/>
                      <a:pt x="94044" y="53988"/>
                    </a:cubicBezTo>
                    <a:cubicBezTo>
                      <a:pt x="96635" y="36322"/>
                      <a:pt x="101651" y="19495"/>
                      <a:pt x="108243" y="3988"/>
                    </a:cubicBezTo>
                    <a:cubicBezTo>
                      <a:pt x="108509" y="3214"/>
                      <a:pt x="108801" y="2451"/>
                      <a:pt x="108827" y="2439"/>
                    </a:cubicBezTo>
                    <a:cubicBezTo>
                      <a:pt x="109182" y="1486"/>
                      <a:pt x="109386" y="788"/>
                      <a:pt x="109703" y="0"/>
                    </a:cubicBezTo>
                    <a:cubicBezTo>
                      <a:pt x="104902" y="3988"/>
                      <a:pt x="100559" y="8408"/>
                      <a:pt x="96063" y="12675"/>
                    </a:cubicBezTo>
                    <a:cubicBezTo>
                      <a:pt x="96139" y="12599"/>
                      <a:pt x="96241" y="12535"/>
                      <a:pt x="96330" y="12459"/>
                    </a:cubicBezTo>
                    <a:cubicBezTo>
                      <a:pt x="96241" y="12535"/>
                      <a:pt x="96139" y="12612"/>
                      <a:pt x="96063" y="12688"/>
                    </a:cubicBezTo>
                    <a:cubicBezTo>
                      <a:pt x="35345" y="69977"/>
                      <a:pt x="0" y="149556"/>
                      <a:pt x="0" y="234925"/>
                    </a:cubicBezTo>
                    <a:cubicBezTo>
                      <a:pt x="0" y="369468"/>
                      <a:pt x="90031" y="490258"/>
                      <a:pt x="218974" y="528586"/>
                    </a:cubicBezTo>
                    <a:cubicBezTo>
                      <a:pt x="231445" y="531837"/>
                      <a:pt x="244221" y="533476"/>
                      <a:pt x="256972" y="533476"/>
                    </a:cubicBezTo>
                    <a:cubicBezTo>
                      <a:pt x="300482" y="533476"/>
                      <a:pt x="339344" y="514349"/>
                      <a:pt x="363881" y="480910"/>
                    </a:cubicBezTo>
                    <a:cubicBezTo>
                      <a:pt x="376135" y="464070"/>
                      <a:pt x="383044" y="444995"/>
                      <a:pt x="385800" y="426034"/>
                    </a:cubicBezTo>
                    <a:cubicBezTo>
                      <a:pt x="389064" y="403453"/>
                      <a:pt x="385838" y="381190"/>
                      <a:pt x="374561" y="363639"/>
                    </a:cubicBezTo>
                  </a:path>
                </a:pathLst>
              </a:cu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 dirty="0"/>
              </a:p>
            </p:txBody>
          </p:sp>
          <p:sp>
            <p:nvSpPr>
              <p:cNvPr id="1333" name="Freeform 222">
                <a:extLst>
                  <a:ext uri="{FF2B5EF4-FFF2-40B4-BE49-F238E27FC236}">
                    <a16:creationId xmlns:a16="http://schemas.microsoft.com/office/drawing/2014/main" id="{78863327-0FB3-2ACC-50A4-F1AE64ECEEE3}"/>
                  </a:ext>
                </a:extLst>
              </p:cNvPr>
              <p:cNvSpPr/>
              <p:nvPr/>
            </p:nvSpPr>
            <p:spPr>
              <a:xfrm>
                <a:off x="5231948" y="3302281"/>
                <a:ext cx="129163" cy="206717"/>
              </a:xfrm>
              <a:custGeom>
                <a:avLst/>
                <a:gdLst/>
                <a:ahLst/>
                <a:cxnLst/>
                <a:rect l="0" t="0" r="0" b="0"/>
                <a:pathLst>
                  <a:path w="382967" h="612914">
                    <a:moveTo>
                      <a:pt x="342366" y="327609"/>
                    </a:moveTo>
                    <a:cubicBezTo>
                      <a:pt x="320078" y="297904"/>
                      <a:pt x="296850" y="274142"/>
                      <a:pt x="276352" y="253340"/>
                    </a:cubicBezTo>
                    <a:cubicBezTo>
                      <a:pt x="233743" y="209868"/>
                      <a:pt x="200215" y="175692"/>
                      <a:pt x="200215" y="117323"/>
                    </a:cubicBezTo>
                    <a:cubicBezTo>
                      <a:pt x="200215" y="57811"/>
                      <a:pt x="243726" y="25121"/>
                      <a:pt x="284543" y="15316"/>
                    </a:cubicBezTo>
                    <a:cubicBezTo>
                      <a:pt x="282499" y="14656"/>
                      <a:pt x="280162" y="14313"/>
                      <a:pt x="278054" y="13742"/>
                    </a:cubicBezTo>
                    <a:cubicBezTo>
                      <a:pt x="249555" y="5157"/>
                      <a:pt x="218605" y="0"/>
                      <a:pt x="188531" y="0"/>
                    </a:cubicBezTo>
                    <a:cubicBezTo>
                      <a:pt x="138582" y="0"/>
                      <a:pt x="99174" y="10275"/>
                      <a:pt x="60719" y="33389"/>
                    </a:cubicBezTo>
                    <a:cubicBezTo>
                      <a:pt x="32842" y="50127"/>
                      <a:pt x="10960" y="87922"/>
                      <a:pt x="4864" y="129718"/>
                    </a:cubicBezTo>
                    <a:cubicBezTo>
                      <a:pt x="686" y="158141"/>
                      <a:pt x="0" y="213157"/>
                      <a:pt x="41846" y="262065"/>
                    </a:cubicBezTo>
                    <a:cubicBezTo>
                      <a:pt x="74536" y="300393"/>
                      <a:pt x="114948" y="316002"/>
                      <a:pt x="153987" y="331038"/>
                    </a:cubicBezTo>
                    <a:cubicBezTo>
                      <a:pt x="199809" y="348652"/>
                      <a:pt x="247002" y="366953"/>
                      <a:pt x="280975" y="419442"/>
                    </a:cubicBezTo>
                    <a:cubicBezTo>
                      <a:pt x="304025" y="455091"/>
                      <a:pt x="303886" y="505104"/>
                      <a:pt x="282499" y="547801"/>
                    </a:cubicBezTo>
                    <a:cubicBezTo>
                      <a:pt x="281102" y="550659"/>
                      <a:pt x="279552" y="553415"/>
                      <a:pt x="277952" y="556132"/>
                    </a:cubicBezTo>
                    <a:cubicBezTo>
                      <a:pt x="277520" y="556932"/>
                      <a:pt x="277038" y="557745"/>
                      <a:pt x="276581" y="558545"/>
                    </a:cubicBezTo>
                    <a:cubicBezTo>
                      <a:pt x="259715" y="585304"/>
                      <a:pt x="231902" y="606069"/>
                      <a:pt x="204165" y="612914"/>
                    </a:cubicBezTo>
                    <a:cubicBezTo>
                      <a:pt x="219011" y="610793"/>
                      <a:pt x="233401" y="607555"/>
                      <a:pt x="247307" y="602856"/>
                    </a:cubicBezTo>
                    <a:cubicBezTo>
                      <a:pt x="248679" y="602462"/>
                      <a:pt x="250038" y="602043"/>
                      <a:pt x="251435" y="601649"/>
                    </a:cubicBezTo>
                    <a:cubicBezTo>
                      <a:pt x="253213" y="601001"/>
                      <a:pt x="254864" y="600100"/>
                      <a:pt x="256603" y="599427"/>
                    </a:cubicBezTo>
                    <a:cubicBezTo>
                      <a:pt x="259804" y="598157"/>
                      <a:pt x="262979" y="596823"/>
                      <a:pt x="266103" y="595375"/>
                    </a:cubicBezTo>
                    <a:cubicBezTo>
                      <a:pt x="268084" y="594448"/>
                      <a:pt x="270091" y="593559"/>
                      <a:pt x="272110" y="592505"/>
                    </a:cubicBezTo>
                    <a:cubicBezTo>
                      <a:pt x="276936" y="590092"/>
                      <a:pt x="281686" y="587336"/>
                      <a:pt x="286334" y="584453"/>
                    </a:cubicBezTo>
                    <a:cubicBezTo>
                      <a:pt x="287007" y="584022"/>
                      <a:pt x="287642" y="583590"/>
                      <a:pt x="288252" y="583183"/>
                    </a:cubicBezTo>
                    <a:cubicBezTo>
                      <a:pt x="293408" y="579894"/>
                      <a:pt x="298386" y="576198"/>
                      <a:pt x="303301" y="572274"/>
                    </a:cubicBezTo>
                    <a:cubicBezTo>
                      <a:pt x="303695" y="571944"/>
                      <a:pt x="304101" y="571601"/>
                      <a:pt x="304495" y="571296"/>
                    </a:cubicBezTo>
                    <a:cubicBezTo>
                      <a:pt x="308991" y="567575"/>
                      <a:pt x="313398" y="563587"/>
                      <a:pt x="317716" y="559282"/>
                    </a:cubicBezTo>
                    <a:cubicBezTo>
                      <a:pt x="318795" y="558139"/>
                      <a:pt x="319900" y="556932"/>
                      <a:pt x="321018" y="555789"/>
                    </a:cubicBezTo>
                    <a:cubicBezTo>
                      <a:pt x="323939" y="552703"/>
                      <a:pt x="326796" y="549477"/>
                      <a:pt x="329565" y="546087"/>
                    </a:cubicBezTo>
                    <a:cubicBezTo>
                      <a:pt x="331787" y="543470"/>
                      <a:pt x="333832" y="540753"/>
                      <a:pt x="335877" y="538022"/>
                    </a:cubicBezTo>
                    <a:cubicBezTo>
                      <a:pt x="338036" y="535114"/>
                      <a:pt x="340182" y="532091"/>
                      <a:pt x="342265" y="529005"/>
                    </a:cubicBezTo>
                    <a:cubicBezTo>
                      <a:pt x="343255" y="527494"/>
                      <a:pt x="344283" y="526046"/>
                      <a:pt x="345210" y="524535"/>
                    </a:cubicBezTo>
                    <a:cubicBezTo>
                      <a:pt x="345502" y="524141"/>
                      <a:pt x="345782" y="523709"/>
                      <a:pt x="346087" y="523239"/>
                    </a:cubicBezTo>
                    <a:lnTo>
                      <a:pt x="346036" y="523062"/>
                    </a:lnTo>
                    <a:cubicBezTo>
                      <a:pt x="352792" y="511949"/>
                      <a:pt x="358609" y="500176"/>
                      <a:pt x="363092" y="487616"/>
                    </a:cubicBezTo>
                    <a:cubicBezTo>
                      <a:pt x="382967" y="432472"/>
                      <a:pt x="374992" y="371144"/>
                      <a:pt x="342366" y="327609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</p:grpSp>
        <p:grpSp>
          <p:nvGrpSpPr>
            <p:cNvPr id="1318" name="Групувати 1317">
              <a:extLst>
                <a:ext uri="{FF2B5EF4-FFF2-40B4-BE49-F238E27FC236}">
                  <a16:creationId xmlns:a16="http://schemas.microsoft.com/office/drawing/2014/main" id="{FE704B67-BB7F-45EB-CB23-C8F108C02CBA}"/>
                </a:ext>
              </a:extLst>
            </p:cNvPr>
            <p:cNvGrpSpPr/>
            <p:nvPr/>
          </p:nvGrpSpPr>
          <p:grpSpPr>
            <a:xfrm>
              <a:off x="9192478" y="1930875"/>
              <a:ext cx="575419" cy="50379"/>
              <a:chOff x="4220435" y="3738620"/>
              <a:chExt cx="575419" cy="50379"/>
            </a:xfrm>
          </p:grpSpPr>
          <p:sp>
            <p:nvSpPr>
              <p:cNvPr id="1319" name="TextBox 1318">
                <a:extLst>
                  <a:ext uri="{FF2B5EF4-FFF2-40B4-BE49-F238E27FC236}">
                    <a16:creationId xmlns:a16="http://schemas.microsoft.com/office/drawing/2014/main" id="{42002FC8-9992-E94D-09E1-B42F695113B4}"/>
                  </a:ext>
                </a:extLst>
              </p:cNvPr>
              <p:cNvSpPr txBox="1"/>
              <p:nvPr/>
            </p:nvSpPr>
            <p:spPr>
              <a:xfrm>
                <a:off x="4600817" y="3741001"/>
                <a:ext cx="29929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29929" h="47998">
                    <a:moveTo>
                      <a:pt x="15198" y="0"/>
                    </a:moveTo>
                    <a:cubicBezTo>
                      <a:pt x="17931" y="19"/>
                      <a:pt x="20418" y="463"/>
                      <a:pt x="22659" y="1331"/>
                    </a:cubicBezTo>
                    <a:cubicBezTo>
                      <a:pt x="24899" y="2200"/>
                      <a:pt x="26701" y="3376"/>
                      <a:pt x="28065" y="4860"/>
                    </a:cubicBezTo>
                    <a:lnTo>
                      <a:pt x="25002" y="9127"/>
                    </a:lnTo>
                    <a:cubicBezTo>
                      <a:pt x="23783" y="7889"/>
                      <a:pt x="22405" y="6947"/>
                      <a:pt x="20868" y="6301"/>
                    </a:cubicBezTo>
                    <a:cubicBezTo>
                      <a:pt x="19331" y="5655"/>
                      <a:pt x="17552" y="5330"/>
                      <a:pt x="15531" y="5326"/>
                    </a:cubicBezTo>
                    <a:cubicBezTo>
                      <a:pt x="12905" y="5353"/>
                      <a:pt x="10853" y="5981"/>
                      <a:pt x="9377" y="7210"/>
                    </a:cubicBezTo>
                    <a:cubicBezTo>
                      <a:pt x="7902" y="8438"/>
                      <a:pt x="7151" y="10099"/>
                      <a:pt x="7126" y="12195"/>
                    </a:cubicBezTo>
                    <a:cubicBezTo>
                      <a:pt x="7187" y="14454"/>
                      <a:pt x="7977" y="16223"/>
                      <a:pt x="9498" y="17502"/>
                    </a:cubicBezTo>
                    <a:cubicBezTo>
                      <a:pt x="11018" y="18780"/>
                      <a:pt x="12903" y="19858"/>
                      <a:pt x="15153" y="20734"/>
                    </a:cubicBezTo>
                    <a:cubicBezTo>
                      <a:pt x="17403" y="21611"/>
                      <a:pt x="19652" y="22575"/>
                      <a:pt x="21902" y="23627"/>
                    </a:cubicBezTo>
                    <a:cubicBezTo>
                      <a:pt x="24152" y="24680"/>
                      <a:pt x="26037" y="26110"/>
                      <a:pt x="27557" y="27916"/>
                    </a:cubicBezTo>
                    <a:cubicBezTo>
                      <a:pt x="29078" y="29723"/>
                      <a:pt x="29868" y="32197"/>
                      <a:pt x="29929" y="35336"/>
                    </a:cubicBezTo>
                    <a:cubicBezTo>
                      <a:pt x="29825" y="39219"/>
                      <a:pt x="28351" y="42288"/>
                      <a:pt x="25507" y="44543"/>
                    </a:cubicBezTo>
                    <a:cubicBezTo>
                      <a:pt x="22663" y="46798"/>
                      <a:pt x="19071" y="47949"/>
                      <a:pt x="14731" y="47998"/>
                    </a:cubicBezTo>
                    <a:cubicBezTo>
                      <a:pt x="11753" y="47981"/>
                      <a:pt x="8872" y="47365"/>
                      <a:pt x="6089" y="46150"/>
                    </a:cubicBezTo>
                    <a:cubicBezTo>
                      <a:pt x="3305" y="44935"/>
                      <a:pt x="1276" y="43220"/>
                      <a:pt x="0" y="41005"/>
                    </a:cubicBezTo>
                    <a:lnTo>
                      <a:pt x="3264" y="37137"/>
                    </a:lnTo>
                    <a:cubicBezTo>
                      <a:pt x="4693" y="38943"/>
                      <a:pt x="6465" y="40316"/>
                      <a:pt x="8579" y="41255"/>
                    </a:cubicBezTo>
                    <a:cubicBezTo>
                      <a:pt x="10693" y="42194"/>
                      <a:pt x="12766" y="42666"/>
                      <a:pt x="14798" y="42672"/>
                    </a:cubicBezTo>
                    <a:cubicBezTo>
                      <a:pt x="17309" y="42665"/>
                      <a:pt x="19441" y="42045"/>
                      <a:pt x="21193" y="40813"/>
                    </a:cubicBezTo>
                    <a:cubicBezTo>
                      <a:pt x="22946" y="39581"/>
                      <a:pt x="23860" y="37777"/>
                      <a:pt x="23936" y="35403"/>
                    </a:cubicBezTo>
                    <a:cubicBezTo>
                      <a:pt x="23876" y="33168"/>
                      <a:pt x="23085" y="31398"/>
                      <a:pt x="21565" y="30095"/>
                    </a:cubicBezTo>
                    <a:cubicBezTo>
                      <a:pt x="20045" y="28792"/>
                      <a:pt x="18160" y="27681"/>
                      <a:pt x="15910" y="26763"/>
                    </a:cubicBezTo>
                    <a:cubicBezTo>
                      <a:pt x="13660" y="25844"/>
                      <a:pt x="11410" y="24845"/>
                      <a:pt x="9160" y="23763"/>
                    </a:cubicBezTo>
                    <a:cubicBezTo>
                      <a:pt x="6910" y="22682"/>
                      <a:pt x="5025" y="21246"/>
                      <a:pt x="3505" y="19455"/>
                    </a:cubicBezTo>
                    <a:cubicBezTo>
                      <a:pt x="1985" y="17663"/>
                      <a:pt x="1194" y="15243"/>
                      <a:pt x="1134" y="12195"/>
                    </a:cubicBezTo>
                    <a:cubicBezTo>
                      <a:pt x="1165" y="8740"/>
                      <a:pt x="2400" y="5865"/>
                      <a:pt x="4839" y="3571"/>
                    </a:cubicBezTo>
                    <a:cubicBezTo>
                      <a:pt x="7278" y="1278"/>
                      <a:pt x="10731" y="87"/>
                      <a:pt x="1519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0" name="TextBox 1319">
                <a:extLst>
                  <a:ext uri="{FF2B5EF4-FFF2-40B4-BE49-F238E27FC236}">
                    <a16:creationId xmlns:a16="http://schemas.microsoft.com/office/drawing/2014/main" id="{433BAD0E-916A-6590-1362-9DF9DE6BD990}"/>
                  </a:ext>
                </a:extLst>
              </p:cNvPr>
              <p:cNvSpPr txBox="1"/>
              <p:nvPr/>
            </p:nvSpPr>
            <p:spPr>
              <a:xfrm>
                <a:off x="4646060" y="3741001"/>
                <a:ext cx="41130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41130" h="47998">
                    <a:moveTo>
                      <a:pt x="22933" y="0"/>
                    </a:moveTo>
                    <a:cubicBezTo>
                      <a:pt x="26078" y="1"/>
                      <a:pt x="28840" y="381"/>
                      <a:pt x="31219" y="1140"/>
                    </a:cubicBezTo>
                    <a:cubicBezTo>
                      <a:pt x="33597" y="1899"/>
                      <a:pt x="35725" y="3028"/>
                      <a:pt x="37602" y="4527"/>
                    </a:cubicBezTo>
                    <a:lnTo>
                      <a:pt x="35138" y="9061"/>
                    </a:lnTo>
                    <a:cubicBezTo>
                      <a:pt x="33740" y="7826"/>
                      <a:pt x="32033" y="6895"/>
                      <a:pt x="30019" y="6268"/>
                    </a:cubicBezTo>
                    <a:cubicBezTo>
                      <a:pt x="28004" y="5641"/>
                      <a:pt x="25864" y="5327"/>
                      <a:pt x="23600" y="5326"/>
                    </a:cubicBezTo>
                    <a:cubicBezTo>
                      <a:pt x="18314" y="5399"/>
                      <a:pt x="14079" y="7103"/>
                      <a:pt x="10895" y="10437"/>
                    </a:cubicBezTo>
                    <a:cubicBezTo>
                      <a:pt x="7710" y="13771"/>
                      <a:pt x="6076" y="18293"/>
                      <a:pt x="5993" y="24002"/>
                    </a:cubicBezTo>
                    <a:cubicBezTo>
                      <a:pt x="6072" y="29738"/>
                      <a:pt x="7714" y="34266"/>
                      <a:pt x="10920" y="37586"/>
                    </a:cubicBezTo>
                    <a:cubicBezTo>
                      <a:pt x="14125" y="40907"/>
                      <a:pt x="18418" y="42602"/>
                      <a:pt x="23800" y="42672"/>
                    </a:cubicBezTo>
                    <a:cubicBezTo>
                      <a:pt x="26071" y="42650"/>
                      <a:pt x="28314" y="42261"/>
                      <a:pt x="30527" y="41505"/>
                    </a:cubicBezTo>
                    <a:cubicBezTo>
                      <a:pt x="32741" y="40748"/>
                      <a:pt x="34500" y="39759"/>
                      <a:pt x="35805" y="38536"/>
                    </a:cubicBezTo>
                    <a:lnTo>
                      <a:pt x="35805" y="28929"/>
                    </a:lnTo>
                    <a:lnTo>
                      <a:pt x="23199" y="28929"/>
                    </a:lnTo>
                    <a:lnTo>
                      <a:pt x="23199" y="23603"/>
                    </a:lnTo>
                    <a:lnTo>
                      <a:pt x="41130" y="23603"/>
                    </a:lnTo>
                    <a:lnTo>
                      <a:pt x="41130" y="41538"/>
                    </a:lnTo>
                    <a:cubicBezTo>
                      <a:pt x="38960" y="43614"/>
                      <a:pt x="36258" y="45207"/>
                      <a:pt x="33026" y="46316"/>
                    </a:cubicBezTo>
                    <a:cubicBezTo>
                      <a:pt x="29795" y="47426"/>
                      <a:pt x="26675" y="47987"/>
                      <a:pt x="23666" y="47998"/>
                    </a:cubicBezTo>
                    <a:cubicBezTo>
                      <a:pt x="16319" y="47906"/>
                      <a:pt x="10558" y="45724"/>
                      <a:pt x="6381" y="41450"/>
                    </a:cubicBezTo>
                    <a:cubicBezTo>
                      <a:pt x="2204" y="37176"/>
                      <a:pt x="78" y="31361"/>
                      <a:pt x="0" y="24002"/>
                    </a:cubicBezTo>
                    <a:cubicBezTo>
                      <a:pt x="25" y="19485"/>
                      <a:pt x="974" y="15425"/>
                      <a:pt x="2848" y="11821"/>
                    </a:cubicBezTo>
                    <a:cubicBezTo>
                      <a:pt x="4722" y="8217"/>
                      <a:pt x="7370" y="5358"/>
                      <a:pt x="10792" y="3244"/>
                    </a:cubicBezTo>
                    <a:cubicBezTo>
                      <a:pt x="14215" y="1129"/>
                      <a:pt x="18261" y="48"/>
                      <a:pt x="2293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1" name="TextBox 1320">
                <a:extLst>
                  <a:ext uri="{FF2B5EF4-FFF2-40B4-BE49-F238E27FC236}">
                    <a16:creationId xmlns:a16="http://schemas.microsoft.com/office/drawing/2014/main" id="{E787D36A-0A81-7056-CE2C-210314E0AB10}"/>
                  </a:ext>
                </a:extLst>
              </p:cNvPr>
              <p:cNvSpPr txBox="1"/>
              <p:nvPr/>
            </p:nvSpPr>
            <p:spPr>
              <a:xfrm>
                <a:off x="4479416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70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70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7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2" name="TextBox 1321">
                <a:extLst>
                  <a:ext uri="{FF2B5EF4-FFF2-40B4-BE49-F238E27FC236}">
                    <a16:creationId xmlns:a16="http://schemas.microsoft.com/office/drawing/2014/main" id="{FB890F0A-A59B-0683-7511-842BB89A3D8F}"/>
                  </a:ext>
                </a:extLst>
              </p:cNvPr>
              <p:cNvSpPr txBox="1"/>
              <p:nvPr/>
            </p:nvSpPr>
            <p:spPr>
              <a:xfrm>
                <a:off x="4700872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69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69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8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3" name="TextBox 1322">
                <a:extLst>
                  <a:ext uri="{FF2B5EF4-FFF2-40B4-BE49-F238E27FC236}">
                    <a16:creationId xmlns:a16="http://schemas.microsoft.com/office/drawing/2014/main" id="{82E3F2CE-7BF3-CF27-7B64-13E38B3D573A}"/>
                  </a:ext>
                </a:extLst>
              </p:cNvPr>
              <p:cNvSpPr txBox="1"/>
              <p:nvPr/>
            </p:nvSpPr>
            <p:spPr>
              <a:xfrm>
                <a:off x="4330639" y="3738620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60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9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4" name="TextBox 1323">
                <a:extLst>
                  <a:ext uri="{FF2B5EF4-FFF2-40B4-BE49-F238E27FC236}">
                    <a16:creationId xmlns:a16="http://schemas.microsoft.com/office/drawing/2014/main" id="{A73AB933-DFE0-063D-5BE9-CC6DACFBEF4C}"/>
                  </a:ext>
                </a:extLst>
              </p:cNvPr>
              <p:cNvSpPr txBox="1"/>
              <p:nvPr/>
            </p:nvSpPr>
            <p:spPr>
              <a:xfrm>
                <a:off x="4428271" y="3741001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59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8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5" name="TextBox 1324">
                <a:extLst>
                  <a:ext uri="{FF2B5EF4-FFF2-40B4-BE49-F238E27FC236}">
                    <a16:creationId xmlns:a16="http://schemas.microsoft.com/office/drawing/2014/main" id="{C6647BD3-AD0E-5276-5BF6-D668B50BC532}"/>
                  </a:ext>
                </a:extLst>
              </p:cNvPr>
              <p:cNvSpPr txBox="1"/>
              <p:nvPr/>
            </p:nvSpPr>
            <p:spPr>
              <a:xfrm>
                <a:off x="4220435" y="3738620"/>
                <a:ext cx="37396" cy="47264"/>
              </a:xfrm>
              <a:custGeom>
                <a:avLst/>
                <a:gdLst/>
                <a:ahLst/>
                <a:cxnLst/>
                <a:rect l="l" t="t" r="r" b="b"/>
                <a:pathLst>
                  <a:path w="37396" h="472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25670"/>
                    </a:lnTo>
                    <a:cubicBezTo>
                      <a:pt x="5682" y="30781"/>
                      <a:pt x="6869" y="34760"/>
                      <a:pt x="9219" y="37604"/>
                    </a:cubicBezTo>
                    <a:cubicBezTo>
                      <a:pt x="11568" y="40449"/>
                      <a:pt x="14939" y="41894"/>
                      <a:pt x="19331" y="41938"/>
                    </a:cubicBezTo>
                    <a:cubicBezTo>
                      <a:pt x="23204" y="41940"/>
                      <a:pt x="26230" y="40620"/>
                      <a:pt x="28410" y="37980"/>
                    </a:cubicBezTo>
                    <a:cubicBezTo>
                      <a:pt x="30591" y="35339"/>
                      <a:pt x="31699" y="31369"/>
                      <a:pt x="31737" y="26070"/>
                    </a:cubicBezTo>
                    <a:lnTo>
                      <a:pt x="31737" y="0"/>
                    </a:lnTo>
                    <a:lnTo>
                      <a:pt x="37396" y="0"/>
                    </a:lnTo>
                    <a:lnTo>
                      <a:pt x="37396" y="27203"/>
                    </a:lnTo>
                    <a:cubicBezTo>
                      <a:pt x="37349" y="31943"/>
                      <a:pt x="36495" y="35790"/>
                      <a:pt x="34832" y="38746"/>
                    </a:cubicBezTo>
                    <a:cubicBezTo>
                      <a:pt x="33169" y="41701"/>
                      <a:pt x="30976" y="43864"/>
                      <a:pt x="28254" y="45234"/>
                    </a:cubicBezTo>
                    <a:cubicBezTo>
                      <a:pt x="25531" y="46604"/>
                      <a:pt x="22557" y="47281"/>
                      <a:pt x="19331" y="47264"/>
                    </a:cubicBezTo>
                    <a:cubicBezTo>
                      <a:pt x="13624" y="47263"/>
                      <a:pt x="9001" y="45550"/>
                      <a:pt x="5464" y="42126"/>
                    </a:cubicBezTo>
                    <a:cubicBezTo>
                      <a:pt x="1926" y="38702"/>
                      <a:pt x="105" y="33572"/>
                      <a:pt x="0" y="267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6" name="TextBox 1325">
                <a:extLst>
                  <a:ext uri="{FF2B5EF4-FFF2-40B4-BE49-F238E27FC236}">
                    <a16:creationId xmlns:a16="http://schemas.microsoft.com/office/drawing/2014/main" id="{F0EBE794-4B2F-702B-9E6B-78C9E91E4ED6}"/>
                  </a:ext>
                </a:extLst>
              </p:cNvPr>
              <p:cNvSpPr txBox="1"/>
              <p:nvPr/>
            </p:nvSpPr>
            <p:spPr>
              <a:xfrm>
                <a:off x="4278251" y="3738620"/>
                <a:ext cx="5659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5659" h="466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7" name="TextBox 1326">
                <a:extLst>
                  <a:ext uri="{FF2B5EF4-FFF2-40B4-BE49-F238E27FC236}">
                    <a16:creationId xmlns:a16="http://schemas.microsoft.com/office/drawing/2014/main" id="{E5C68959-6AEC-4FC9-1CA0-B40B04AFA3E7}"/>
                  </a:ext>
                </a:extLst>
              </p:cNvPr>
              <p:cNvSpPr txBox="1"/>
              <p:nvPr/>
            </p:nvSpPr>
            <p:spPr>
              <a:xfrm>
                <a:off x="4285044" y="3738620"/>
                <a:ext cx="28403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28403" h="46664">
                    <a:moveTo>
                      <a:pt x="20469" y="0"/>
                    </a:moveTo>
                    <a:lnTo>
                      <a:pt x="27337" y="0"/>
                    </a:lnTo>
                    <a:lnTo>
                      <a:pt x="6534" y="21932"/>
                    </a:lnTo>
                    <a:lnTo>
                      <a:pt x="28403" y="46664"/>
                    </a:lnTo>
                    <a:lnTo>
                      <a:pt x="21136" y="46664"/>
                    </a:lnTo>
                    <a:lnTo>
                      <a:pt x="0" y="22332"/>
                    </a:lnTo>
                    <a:lnTo>
                      <a:pt x="2046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8" name="TextBox 1327">
                <a:extLst>
                  <a:ext uri="{FF2B5EF4-FFF2-40B4-BE49-F238E27FC236}">
                    <a16:creationId xmlns:a16="http://schemas.microsoft.com/office/drawing/2014/main" id="{E3E395C4-9542-E304-BCE5-F244E86E04F7}"/>
                  </a:ext>
                </a:extLst>
              </p:cNvPr>
              <p:cNvSpPr txBox="1"/>
              <p:nvPr/>
            </p:nvSpPr>
            <p:spPr>
              <a:xfrm>
                <a:off x="4374312" y="3741001"/>
                <a:ext cx="38330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330" h="46664">
                    <a:moveTo>
                      <a:pt x="0" y="0"/>
                    </a:moveTo>
                    <a:lnTo>
                      <a:pt x="38330" y="0"/>
                    </a:lnTo>
                    <a:lnTo>
                      <a:pt x="38330" y="5325"/>
                    </a:lnTo>
                    <a:lnTo>
                      <a:pt x="21995" y="5325"/>
                    </a:lnTo>
                    <a:lnTo>
                      <a:pt x="21995" y="46664"/>
                    </a:lnTo>
                    <a:lnTo>
                      <a:pt x="16336" y="46664"/>
                    </a:lnTo>
                    <a:lnTo>
                      <a:pt x="16336" y="5325"/>
                    </a:lnTo>
                    <a:lnTo>
                      <a:pt x="0" y="53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29" name="TextBox 1328">
                <a:extLst>
                  <a:ext uri="{FF2B5EF4-FFF2-40B4-BE49-F238E27FC236}">
                    <a16:creationId xmlns:a16="http://schemas.microsoft.com/office/drawing/2014/main" id="{389D8FA6-FB76-92FF-D709-850A6C57A450}"/>
                  </a:ext>
                </a:extLst>
              </p:cNvPr>
              <p:cNvSpPr txBox="1"/>
              <p:nvPr/>
            </p:nvSpPr>
            <p:spPr>
              <a:xfrm>
                <a:off x="4542571" y="3741001"/>
                <a:ext cx="38997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997" h="46664">
                    <a:moveTo>
                      <a:pt x="0" y="0"/>
                    </a:moveTo>
                    <a:lnTo>
                      <a:pt x="4527" y="0"/>
                    </a:lnTo>
                    <a:lnTo>
                      <a:pt x="33671" y="36798"/>
                    </a:lnTo>
                    <a:lnTo>
                      <a:pt x="33671" y="0"/>
                    </a:lnTo>
                    <a:lnTo>
                      <a:pt x="38997" y="0"/>
                    </a:lnTo>
                    <a:lnTo>
                      <a:pt x="38997" y="46664"/>
                    </a:lnTo>
                    <a:lnTo>
                      <a:pt x="34470" y="46664"/>
                    </a:lnTo>
                    <a:lnTo>
                      <a:pt x="5326" y="9999"/>
                    </a:lnTo>
                    <a:lnTo>
                      <a:pt x="5326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330" name="TextBox 1329">
                <a:extLst>
                  <a:ext uri="{FF2B5EF4-FFF2-40B4-BE49-F238E27FC236}">
                    <a16:creationId xmlns:a16="http://schemas.microsoft.com/office/drawing/2014/main" id="{B0AC894D-9A10-8D38-7BC2-CD7569930336}"/>
                  </a:ext>
                </a:extLst>
              </p:cNvPr>
              <p:cNvSpPr txBox="1"/>
              <p:nvPr/>
            </p:nvSpPr>
            <p:spPr>
              <a:xfrm>
                <a:off x="4758121" y="3741001"/>
                <a:ext cx="37733" cy="47727"/>
              </a:xfrm>
              <a:custGeom>
                <a:avLst/>
                <a:gdLst/>
                <a:ahLst/>
                <a:cxnLst/>
                <a:rect l="l" t="t" r="r" b="b"/>
                <a:pathLst>
                  <a:path w="37733" h="47727">
                    <a:moveTo>
                      <a:pt x="2767" y="0"/>
                    </a:moveTo>
                    <a:lnTo>
                      <a:pt x="36951" y="0"/>
                    </a:lnTo>
                    <a:lnTo>
                      <a:pt x="36951" y="5632"/>
                    </a:lnTo>
                    <a:lnTo>
                      <a:pt x="10158" y="38742"/>
                    </a:lnTo>
                    <a:lnTo>
                      <a:pt x="7260" y="42095"/>
                    </a:lnTo>
                    <a:lnTo>
                      <a:pt x="37733" y="42095"/>
                    </a:lnTo>
                    <a:lnTo>
                      <a:pt x="37733" y="47727"/>
                    </a:lnTo>
                    <a:lnTo>
                      <a:pt x="0" y="47727"/>
                    </a:lnTo>
                    <a:lnTo>
                      <a:pt x="0" y="41867"/>
                    </a:lnTo>
                    <a:lnTo>
                      <a:pt x="24450" y="11297"/>
                    </a:lnTo>
                    <a:cubicBezTo>
                      <a:pt x="26186" y="9126"/>
                      <a:pt x="27836" y="7238"/>
                      <a:pt x="29398" y="5632"/>
                    </a:cubicBezTo>
                    <a:lnTo>
                      <a:pt x="2767" y="5632"/>
                    </a:lnTo>
                    <a:lnTo>
                      <a:pt x="276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8052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F64175-9CA3-446A-7493-13BF0394D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082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 descr="Изображение выглядит как карта, текст, атлас">
            <a:extLst>
              <a:ext uri="{FF2B5EF4-FFF2-40B4-BE49-F238E27FC236}">
                <a16:creationId xmlns:a16="http://schemas.microsoft.com/office/drawing/2014/main" id="{F5466A40-D000-F096-8392-419E3E7E667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52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42000"/>
                    </a14:imgEffect>
                    <a14:imgEffect>
                      <a14:brightnessContrast bright="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713"/>
          <a:stretch/>
        </p:blipFill>
        <p:spPr>
          <a:xfrm>
            <a:off x="0" y="0"/>
            <a:ext cx="6827267" cy="6858000"/>
          </a:xfrm>
          <a:prstGeom prst="rect">
            <a:avLst/>
          </a:prstGeom>
        </p:spPr>
      </p:pic>
      <p:grpSp>
        <p:nvGrpSpPr>
          <p:cNvPr id="36" name="Групувати 35">
            <a:extLst>
              <a:ext uri="{FF2B5EF4-FFF2-40B4-BE49-F238E27FC236}">
                <a16:creationId xmlns:a16="http://schemas.microsoft.com/office/drawing/2014/main" id="{26223E41-CB44-4B0F-7E88-9769C0EAAFAB}"/>
              </a:ext>
            </a:extLst>
          </p:cNvPr>
          <p:cNvGrpSpPr>
            <a:grpSpLocks/>
          </p:cNvGrpSpPr>
          <p:nvPr/>
        </p:nvGrpSpPr>
        <p:grpSpPr>
          <a:xfrm>
            <a:off x="-52781" y="1060480"/>
            <a:ext cx="12375317" cy="5573195"/>
            <a:chOff x="-75484" y="1064995"/>
            <a:chExt cx="12375317" cy="5573195"/>
          </a:xfrm>
        </p:grpSpPr>
        <p:sp>
          <p:nvSpPr>
            <p:cNvPr id="37" name="Прямокутник 49">
              <a:extLst>
                <a:ext uri="{FF2B5EF4-FFF2-40B4-BE49-F238E27FC236}">
                  <a16:creationId xmlns:a16="http://schemas.microsoft.com/office/drawing/2014/main" id="{F6FEDC7E-D531-0699-4A77-A96E7D0F5825}"/>
                </a:ext>
              </a:extLst>
            </p:cNvPr>
            <p:cNvSpPr>
              <a:spLocks/>
            </p:cNvSpPr>
            <p:nvPr/>
          </p:nvSpPr>
          <p:spPr>
            <a:xfrm>
              <a:off x="-75484" y="2330945"/>
              <a:ext cx="12267483" cy="4307245"/>
            </a:xfrm>
            <a:custGeom>
              <a:avLst/>
              <a:gdLst>
                <a:gd name="connsiteX0" fmla="*/ 0 w 12263460"/>
                <a:gd name="connsiteY0" fmla="*/ 0 h 914400"/>
                <a:gd name="connsiteX1" fmla="*/ 12263460 w 12263460"/>
                <a:gd name="connsiteY1" fmla="*/ 0 h 914400"/>
                <a:gd name="connsiteX2" fmla="*/ 12263460 w 12263460"/>
                <a:gd name="connsiteY2" fmla="*/ 914400 h 914400"/>
                <a:gd name="connsiteX3" fmla="*/ 0 w 12263460"/>
                <a:gd name="connsiteY3" fmla="*/ 914400 h 914400"/>
                <a:gd name="connsiteX4" fmla="*/ 0 w 12263460"/>
                <a:gd name="connsiteY4" fmla="*/ 0 h 914400"/>
                <a:gd name="connsiteX0" fmla="*/ 0 w 12276160"/>
                <a:gd name="connsiteY0" fmla="*/ 3390900 h 4305300"/>
                <a:gd name="connsiteX1" fmla="*/ 12276160 w 12276160"/>
                <a:gd name="connsiteY1" fmla="*/ 0 h 4305300"/>
                <a:gd name="connsiteX2" fmla="*/ 12263460 w 12276160"/>
                <a:gd name="connsiteY2" fmla="*/ 4305300 h 4305300"/>
                <a:gd name="connsiteX3" fmla="*/ 0 w 12276160"/>
                <a:gd name="connsiteY3" fmla="*/ 4305300 h 4305300"/>
                <a:gd name="connsiteX4" fmla="*/ 0 w 12276160"/>
                <a:gd name="connsiteY4" fmla="*/ 3390900 h 4305300"/>
                <a:gd name="connsiteX0" fmla="*/ 0 w 12276160"/>
                <a:gd name="connsiteY0" fmla="*/ 3390900 h 4305300"/>
                <a:gd name="connsiteX1" fmla="*/ 10015560 w 12276160"/>
                <a:gd name="connsiteY1" fmla="*/ 766443 h 4305300"/>
                <a:gd name="connsiteX2" fmla="*/ 12276160 w 12276160"/>
                <a:gd name="connsiteY2" fmla="*/ 0 h 4305300"/>
                <a:gd name="connsiteX3" fmla="*/ 12263460 w 12276160"/>
                <a:gd name="connsiteY3" fmla="*/ 4305300 h 4305300"/>
                <a:gd name="connsiteX4" fmla="*/ 0 w 12276160"/>
                <a:gd name="connsiteY4" fmla="*/ 4305300 h 4305300"/>
                <a:gd name="connsiteX5" fmla="*/ 0 w 12276160"/>
                <a:gd name="connsiteY5" fmla="*/ 3390900 h 4305300"/>
                <a:gd name="connsiteX0" fmla="*/ 0 w 12276160"/>
                <a:gd name="connsiteY0" fmla="*/ 3390900 h 4305300"/>
                <a:gd name="connsiteX1" fmla="*/ 10015560 w 12276160"/>
                <a:gd name="connsiteY1" fmla="*/ 766443 h 4305300"/>
                <a:gd name="connsiteX2" fmla="*/ 12276160 w 12276160"/>
                <a:gd name="connsiteY2" fmla="*/ 0 h 4305300"/>
                <a:gd name="connsiteX3" fmla="*/ 12263460 w 12276160"/>
                <a:gd name="connsiteY3" fmla="*/ 4305300 h 4305300"/>
                <a:gd name="connsiteX4" fmla="*/ 0 w 12276160"/>
                <a:gd name="connsiteY4" fmla="*/ 4305300 h 4305300"/>
                <a:gd name="connsiteX5" fmla="*/ 0 w 12276160"/>
                <a:gd name="connsiteY5" fmla="*/ 3390900 h 4305300"/>
                <a:gd name="connsiteX0" fmla="*/ 0 w 12276160"/>
                <a:gd name="connsiteY0" fmla="*/ 3390900 h 4305300"/>
                <a:gd name="connsiteX1" fmla="*/ 4478360 w 12276160"/>
                <a:gd name="connsiteY1" fmla="*/ 2150743 h 4305300"/>
                <a:gd name="connsiteX2" fmla="*/ 10015560 w 12276160"/>
                <a:gd name="connsiteY2" fmla="*/ 766443 h 4305300"/>
                <a:gd name="connsiteX3" fmla="*/ 12276160 w 12276160"/>
                <a:gd name="connsiteY3" fmla="*/ 0 h 4305300"/>
                <a:gd name="connsiteX4" fmla="*/ 12263460 w 12276160"/>
                <a:gd name="connsiteY4" fmla="*/ 4305300 h 4305300"/>
                <a:gd name="connsiteX5" fmla="*/ 0 w 12276160"/>
                <a:gd name="connsiteY5" fmla="*/ 4305300 h 4305300"/>
                <a:gd name="connsiteX6" fmla="*/ 0 w 12276160"/>
                <a:gd name="connsiteY6" fmla="*/ 3390900 h 4305300"/>
                <a:gd name="connsiteX0" fmla="*/ 0 w 12276160"/>
                <a:gd name="connsiteY0" fmla="*/ 3390900 h 4305300"/>
                <a:gd name="connsiteX1" fmla="*/ 4478360 w 12276160"/>
                <a:gd name="connsiteY1" fmla="*/ 2150743 h 4305300"/>
                <a:gd name="connsiteX2" fmla="*/ 10015560 w 12276160"/>
                <a:gd name="connsiteY2" fmla="*/ 766443 h 4305300"/>
                <a:gd name="connsiteX3" fmla="*/ 12276160 w 12276160"/>
                <a:gd name="connsiteY3" fmla="*/ 0 h 4305300"/>
                <a:gd name="connsiteX4" fmla="*/ 12263460 w 12276160"/>
                <a:gd name="connsiteY4" fmla="*/ 4305300 h 4305300"/>
                <a:gd name="connsiteX5" fmla="*/ 0 w 12276160"/>
                <a:gd name="connsiteY5" fmla="*/ 4305300 h 4305300"/>
                <a:gd name="connsiteX6" fmla="*/ 0 w 12276160"/>
                <a:gd name="connsiteY6" fmla="*/ 3390900 h 4305300"/>
                <a:gd name="connsiteX0" fmla="*/ 0 w 12276160"/>
                <a:gd name="connsiteY0" fmla="*/ 3390900 h 4305300"/>
                <a:gd name="connsiteX1" fmla="*/ 4478360 w 12276160"/>
                <a:gd name="connsiteY1" fmla="*/ 2150743 h 4305300"/>
                <a:gd name="connsiteX2" fmla="*/ 10015560 w 12276160"/>
                <a:gd name="connsiteY2" fmla="*/ 766443 h 4305300"/>
                <a:gd name="connsiteX3" fmla="*/ 12276160 w 12276160"/>
                <a:gd name="connsiteY3" fmla="*/ 0 h 4305300"/>
                <a:gd name="connsiteX4" fmla="*/ 12263460 w 12276160"/>
                <a:gd name="connsiteY4" fmla="*/ 4305300 h 4305300"/>
                <a:gd name="connsiteX5" fmla="*/ 0 w 12276160"/>
                <a:gd name="connsiteY5" fmla="*/ 4305300 h 4305300"/>
                <a:gd name="connsiteX6" fmla="*/ 0 w 12276160"/>
                <a:gd name="connsiteY6" fmla="*/ 3390900 h 4305300"/>
                <a:gd name="connsiteX0" fmla="*/ 0 w 12276160"/>
                <a:gd name="connsiteY0" fmla="*/ 3390900 h 4305300"/>
                <a:gd name="connsiteX1" fmla="*/ 4478360 w 12276160"/>
                <a:gd name="connsiteY1" fmla="*/ 2150743 h 4305300"/>
                <a:gd name="connsiteX2" fmla="*/ 10015560 w 12276160"/>
                <a:gd name="connsiteY2" fmla="*/ 766443 h 4305300"/>
                <a:gd name="connsiteX3" fmla="*/ 12276160 w 12276160"/>
                <a:gd name="connsiteY3" fmla="*/ 0 h 4305300"/>
                <a:gd name="connsiteX4" fmla="*/ 12263460 w 12276160"/>
                <a:gd name="connsiteY4" fmla="*/ 4305300 h 4305300"/>
                <a:gd name="connsiteX5" fmla="*/ 0 w 12276160"/>
                <a:gd name="connsiteY5" fmla="*/ 4305300 h 4305300"/>
                <a:gd name="connsiteX6" fmla="*/ 0 w 12276160"/>
                <a:gd name="connsiteY6" fmla="*/ 3390900 h 4305300"/>
                <a:gd name="connsiteX0" fmla="*/ 0 w 12276160"/>
                <a:gd name="connsiteY0" fmla="*/ 3390900 h 4542493"/>
                <a:gd name="connsiteX1" fmla="*/ 4478360 w 12276160"/>
                <a:gd name="connsiteY1" fmla="*/ 2150743 h 4542493"/>
                <a:gd name="connsiteX2" fmla="*/ 10015560 w 12276160"/>
                <a:gd name="connsiteY2" fmla="*/ 766443 h 4542493"/>
                <a:gd name="connsiteX3" fmla="*/ 12276160 w 12276160"/>
                <a:gd name="connsiteY3" fmla="*/ 0 h 4542493"/>
                <a:gd name="connsiteX4" fmla="*/ 12263460 w 12276160"/>
                <a:gd name="connsiteY4" fmla="*/ 4305300 h 4542493"/>
                <a:gd name="connsiteX5" fmla="*/ 7718925 w 12276160"/>
                <a:gd name="connsiteY5" fmla="*/ 3929103 h 4542493"/>
                <a:gd name="connsiteX6" fmla="*/ 0 w 12276160"/>
                <a:gd name="connsiteY6" fmla="*/ 4305300 h 4542493"/>
                <a:gd name="connsiteX7" fmla="*/ 0 w 12276160"/>
                <a:gd name="connsiteY7" fmla="*/ 3390900 h 4542493"/>
                <a:gd name="connsiteX0" fmla="*/ 0 w 12276160"/>
                <a:gd name="connsiteY0" fmla="*/ 3390900 h 4515913"/>
                <a:gd name="connsiteX1" fmla="*/ 4478360 w 12276160"/>
                <a:gd name="connsiteY1" fmla="*/ 2150743 h 4515913"/>
                <a:gd name="connsiteX2" fmla="*/ 10015560 w 12276160"/>
                <a:gd name="connsiteY2" fmla="*/ 766443 h 4515913"/>
                <a:gd name="connsiteX3" fmla="*/ 12276160 w 12276160"/>
                <a:gd name="connsiteY3" fmla="*/ 0 h 4515913"/>
                <a:gd name="connsiteX4" fmla="*/ 12263460 w 12276160"/>
                <a:gd name="connsiteY4" fmla="*/ 4305300 h 4515913"/>
                <a:gd name="connsiteX5" fmla="*/ 7718925 w 12276160"/>
                <a:gd name="connsiteY5" fmla="*/ 3929103 h 4515913"/>
                <a:gd name="connsiteX6" fmla="*/ 0 w 12276160"/>
                <a:gd name="connsiteY6" fmla="*/ 4305300 h 4515913"/>
                <a:gd name="connsiteX7" fmla="*/ 0 w 12276160"/>
                <a:gd name="connsiteY7" fmla="*/ 3390900 h 4515913"/>
                <a:gd name="connsiteX0" fmla="*/ 0 w 12276160"/>
                <a:gd name="connsiteY0" fmla="*/ 3390900 h 4543819"/>
                <a:gd name="connsiteX1" fmla="*/ 4478360 w 12276160"/>
                <a:gd name="connsiteY1" fmla="*/ 2150743 h 4543819"/>
                <a:gd name="connsiteX2" fmla="*/ 10015560 w 12276160"/>
                <a:gd name="connsiteY2" fmla="*/ 766443 h 4543819"/>
                <a:gd name="connsiteX3" fmla="*/ 12276160 w 12276160"/>
                <a:gd name="connsiteY3" fmla="*/ 0 h 4543819"/>
                <a:gd name="connsiteX4" fmla="*/ 12263460 w 12276160"/>
                <a:gd name="connsiteY4" fmla="*/ 4305300 h 4543819"/>
                <a:gd name="connsiteX5" fmla="*/ 6301119 w 12276160"/>
                <a:gd name="connsiteY5" fmla="*/ 4132303 h 4543819"/>
                <a:gd name="connsiteX6" fmla="*/ 0 w 12276160"/>
                <a:gd name="connsiteY6" fmla="*/ 4305300 h 4543819"/>
                <a:gd name="connsiteX7" fmla="*/ 0 w 12276160"/>
                <a:gd name="connsiteY7" fmla="*/ 3390900 h 4543819"/>
                <a:gd name="connsiteX0" fmla="*/ 0 w 12276160"/>
                <a:gd name="connsiteY0" fmla="*/ 3390900 h 4505676"/>
                <a:gd name="connsiteX1" fmla="*/ 4478360 w 12276160"/>
                <a:gd name="connsiteY1" fmla="*/ 2150743 h 4505676"/>
                <a:gd name="connsiteX2" fmla="*/ 10015560 w 12276160"/>
                <a:gd name="connsiteY2" fmla="*/ 766443 h 4505676"/>
                <a:gd name="connsiteX3" fmla="*/ 12276160 w 12276160"/>
                <a:gd name="connsiteY3" fmla="*/ 0 h 4505676"/>
                <a:gd name="connsiteX4" fmla="*/ 12263460 w 12276160"/>
                <a:gd name="connsiteY4" fmla="*/ 4305300 h 4505676"/>
                <a:gd name="connsiteX5" fmla="*/ 5731464 w 12276160"/>
                <a:gd name="connsiteY5" fmla="*/ 3840203 h 4505676"/>
                <a:gd name="connsiteX6" fmla="*/ 0 w 12276160"/>
                <a:gd name="connsiteY6" fmla="*/ 4305300 h 4505676"/>
                <a:gd name="connsiteX7" fmla="*/ 0 w 12276160"/>
                <a:gd name="connsiteY7" fmla="*/ 3390900 h 4505676"/>
                <a:gd name="connsiteX0" fmla="*/ 0 w 12276160"/>
                <a:gd name="connsiteY0" fmla="*/ 3390900 h 4516199"/>
                <a:gd name="connsiteX1" fmla="*/ 4478360 w 12276160"/>
                <a:gd name="connsiteY1" fmla="*/ 2150743 h 4516199"/>
                <a:gd name="connsiteX2" fmla="*/ 10015560 w 12276160"/>
                <a:gd name="connsiteY2" fmla="*/ 766443 h 4516199"/>
                <a:gd name="connsiteX3" fmla="*/ 12276160 w 12276160"/>
                <a:gd name="connsiteY3" fmla="*/ 0 h 4516199"/>
                <a:gd name="connsiteX4" fmla="*/ 12263460 w 12276160"/>
                <a:gd name="connsiteY4" fmla="*/ 4305300 h 4516199"/>
                <a:gd name="connsiteX5" fmla="*/ 5731464 w 12276160"/>
                <a:gd name="connsiteY5" fmla="*/ 3840203 h 4516199"/>
                <a:gd name="connsiteX6" fmla="*/ 0 w 12276160"/>
                <a:gd name="connsiteY6" fmla="*/ 4305300 h 4516199"/>
                <a:gd name="connsiteX7" fmla="*/ 0 w 12276160"/>
                <a:gd name="connsiteY7" fmla="*/ 3390900 h 4516199"/>
                <a:gd name="connsiteX0" fmla="*/ 0 w 12276160"/>
                <a:gd name="connsiteY0" fmla="*/ 3390900 h 4516199"/>
                <a:gd name="connsiteX1" fmla="*/ 4478360 w 12276160"/>
                <a:gd name="connsiteY1" fmla="*/ 2150743 h 4516199"/>
                <a:gd name="connsiteX2" fmla="*/ 10015560 w 12276160"/>
                <a:gd name="connsiteY2" fmla="*/ 766443 h 4516199"/>
                <a:gd name="connsiteX3" fmla="*/ 12276160 w 12276160"/>
                <a:gd name="connsiteY3" fmla="*/ 0 h 4516199"/>
                <a:gd name="connsiteX4" fmla="*/ 12263460 w 12276160"/>
                <a:gd name="connsiteY4" fmla="*/ 4305300 h 4516199"/>
                <a:gd name="connsiteX5" fmla="*/ 5731464 w 12276160"/>
                <a:gd name="connsiteY5" fmla="*/ 3840203 h 4516199"/>
                <a:gd name="connsiteX6" fmla="*/ 0 w 12276160"/>
                <a:gd name="connsiteY6" fmla="*/ 4305300 h 4516199"/>
                <a:gd name="connsiteX7" fmla="*/ 0 w 12276160"/>
                <a:gd name="connsiteY7" fmla="*/ 3390900 h 4516199"/>
                <a:gd name="connsiteX0" fmla="*/ 0 w 12276160"/>
                <a:gd name="connsiteY0" fmla="*/ 3390900 h 4307245"/>
                <a:gd name="connsiteX1" fmla="*/ 4478360 w 12276160"/>
                <a:gd name="connsiteY1" fmla="*/ 2150743 h 4307245"/>
                <a:gd name="connsiteX2" fmla="*/ 10015560 w 12276160"/>
                <a:gd name="connsiteY2" fmla="*/ 766443 h 4307245"/>
                <a:gd name="connsiteX3" fmla="*/ 12276160 w 12276160"/>
                <a:gd name="connsiteY3" fmla="*/ 0 h 4307245"/>
                <a:gd name="connsiteX4" fmla="*/ 12263460 w 12276160"/>
                <a:gd name="connsiteY4" fmla="*/ 4305300 h 4307245"/>
                <a:gd name="connsiteX5" fmla="*/ 5731464 w 12276160"/>
                <a:gd name="connsiteY5" fmla="*/ 3840203 h 4307245"/>
                <a:gd name="connsiteX6" fmla="*/ 0 w 12276160"/>
                <a:gd name="connsiteY6" fmla="*/ 4305300 h 4307245"/>
                <a:gd name="connsiteX7" fmla="*/ 0 w 12276160"/>
                <a:gd name="connsiteY7" fmla="*/ 3390900 h 430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76160" h="4307245">
                  <a:moveTo>
                    <a:pt x="0" y="3390900"/>
                  </a:moveTo>
                  <a:cubicBezTo>
                    <a:pt x="1091410" y="3582140"/>
                    <a:pt x="2776931" y="2438658"/>
                    <a:pt x="4478360" y="2150743"/>
                  </a:cubicBezTo>
                  <a:cubicBezTo>
                    <a:pt x="6312720" y="1840334"/>
                    <a:pt x="8768843" y="1129133"/>
                    <a:pt x="10015560" y="766443"/>
                  </a:cubicBezTo>
                  <a:lnTo>
                    <a:pt x="12276160" y="0"/>
                  </a:lnTo>
                  <a:cubicBezTo>
                    <a:pt x="12271927" y="1435100"/>
                    <a:pt x="12267693" y="2870200"/>
                    <a:pt x="12263460" y="4305300"/>
                  </a:cubicBezTo>
                  <a:cubicBezTo>
                    <a:pt x="11001781" y="4346317"/>
                    <a:pt x="7531415" y="3724008"/>
                    <a:pt x="5731464" y="3840203"/>
                  </a:cubicBezTo>
                  <a:cubicBezTo>
                    <a:pt x="2335078" y="4059456"/>
                    <a:pt x="1240071" y="4149467"/>
                    <a:pt x="0" y="4305300"/>
                  </a:cubicBezTo>
                  <a:lnTo>
                    <a:pt x="0" y="3390900"/>
                  </a:lnTo>
                  <a:close/>
                </a:path>
              </a:pathLst>
            </a:custGeom>
            <a:gradFill>
              <a:gsLst>
                <a:gs pos="50000">
                  <a:srgbClr val="95D8F2"/>
                </a:gs>
                <a:gs pos="0">
                  <a:srgbClr val="00A1DF"/>
                </a:gs>
                <a:gs pos="100000">
                  <a:srgbClr val="E0F3FB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38" name="Полілінія: фігура 37">
              <a:extLst>
                <a:ext uri="{FF2B5EF4-FFF2-40B4-BE49-F238E27FC236}">
                  <a16:creationId xmlns:a16="http://schemas.microsoft.com/office/drawing/2014/main" id="{3A53768D-DA89-120F-29E9-F0148A1F8E65}"/>
                </a:ext>
              </a:extLst>
            </p:cNvPr>
            <p:cNvSpPr>
              <a:spLocks/>
            </p:cNvSpPr>
            <p:nvPr/>
          </p:nvSpPr>
          <p:spPr>
            <a:xfrm>
              <a:off x="-31867" y="1064995"/>
              <a:ext cx="12331700" cy="3835447"/>
            </a:xfrm>
            <a:custGeom>
              <a:avLst/>
              <a:gdLst>
                <a:gd name="connsiteX0" fmla="*/ 0 w 12331700"/>
                <a:gd name="connsiteY0" fmla="*/ 3771900 h 3835447"/>
                <a:gd name="connsiteX1" fmla="*/ 736600 w 12331700"/>
                <a:gd name="connsiteY1" fmla="*/ 3771900 h 3835447"/>
                <a:gd name="connsiteX2" fmla="*/ 2273300 w 12331700"/>
                <a:gd name="connsiteY2" fmla="*/ 3111500 h 3835447"/>
                <a:gd name="connsiteX3" fmla="*/ 4572000 w 12331700"/>
                <a:gd name="connsiteY3" fmla="*/ 2603500 h 3835447"/>
                <a:gd name="connsiteX4" fmla="*/ 5867400 w 12331700"/>
                <a:gd name="connsiteY4" fmla="*/ 2349500 h 3835447"/>
                <a:gd name="connsiteX5" fmla="*/ 7950200 w 12331700"/>
                <a:gd name="connsiteY5" fmla="*/ 1778000 h 3835447"/>
                <a:gd name="connsiteX6" fmla="*/ 9105900 w 12331700"/>
                <a:gd name="connsiteY6" fmla="*/ 1244600 h 3835447"/>
                <a:gd name="connsiteX7" fmla="*/ 9613900 w 12331700"/>
                <a:gd name="connsiteY7" fmla="*/ 990600 h 3835447"/>
                <a:gd name="connsiteX8" fmla="*/ 10845800 w 12331700"/>
                <a:gd name="connsiteY8" fmla="*/ 660400 h 3835447"/>
                <a:gd name="connsiteX9" fmla="*/ 12331700 w 12331700"/>
                <a:gd name="connsiteY9" fmla="*/ 0 h 3835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31700" h="3835447">
                  <a:moveTo>
                    <a:pt x="0" y="3771900"/>
                  </a:moveTo>
                  <a:cubicBezTo>
                    <a:pt x="178858" y="3826933"/>
                    <a:pt x="357717" y="3881967"/>
                    <a:pt x="736600" y="3771900"/>
                  </a:cubicBezTo>
                  <a:cubicBezTo>
                    <a:pt x="1115483" y="3661833"/>
                    <a:pt x="1634067" y="3306233"/>
                    <a:pt x="2273300" y="3111500"/>
                  </a:cubicBezTo>
                  <a:cubicBezTo>
                    <a:pt x="2912533" y="2916767"/>
                    <a:pt x="3972983" y="2730500"/>
                    <a:pt x="4572000" y="2603500"/>
                  </a:cubicBezTo>
                  <a:cubicBezTo>
                    <a:pt x="5171017" y="2476500"/>
                    <a:pt x="5304367" y="2487083"/>
                    <a:pt x="5867400" y="2349500"/>
                  </a:cubicBezTo>
                  <a:cubicBezTo>
                    <a:pt x="6430433" y="2211917"/>
                    <a:pt x="7410450" y="1962150"/>
                    <a:pt x="7950200" y="1778000"/>
                  </a:cubicBezTo>
                  <a:cubicBezTo>
                    <a:pt x="8489950" y="1593850"/>
                    <a:pt x="8828617" y="1375833"/>
                    <a:pt x="9105900" y="1244600"/>
                  </a:cubicBezTo>
                  <a:cubicBezTo>
                    <a:pt x="9383183" y="1113367"/>
                    <a:pt x="9323917" y="1087967"/>
                    <a:pt x="9613900" y="990600"/>
                  </a:cubicBezTo>
                  <a:cubicBezTo>
                    <a:pt x="9903883" y="893233"/>
                    <a:pt x="10392833" y="825500"/>
                    <a:pt x="10845800" y="660400"/>
                  </a:cubicBezTo>
                  <a:cubicBezTo>
                    <a:pt x="11298767" y="495300"/>
                    <a:pt x="12018433" y="207433"/>
                    <a:pt x="12331700" y="0"/>
                  </a:cubicBezTo>
                </a:path>
              </a:pathLst>
            </a:custGeom>
            <a:noFill/>
            <a:ln w="57150">
              <a:gradFill>
                <a:gsLst>
                  <a:gs pos="100000">
                    <a:schemeClr val="accent1">
                      <a:lumMod val="5000"/>
                      <a:lumOff val="95000"/>
                    </a:schemeClr>
                  </a:gs>
                  <a:gs pos="0">
                    <a:schemeClr val="accent1">
                      <a:lumMod val="45000"/>
                      <a:lumOff val="55000"/>
                    </a:schemeClr>
                  </a:gs>
                  <a:gs pos="42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/>
            </a:p>
          </p:txBody>
        </p:sp>
      </p:grpSp>
      <p:grpSp>
        <p:nvGrpSpPr>
          <p:cNvPr id="39" name="Групувати 38">
            <a:extLst>
              <a:ext uri="{FF2B5EF4-FFF2-40B4-BE49-F238E27FC236}">
                <a16:creationId xmlns:a16="http://schemas.microsoft.com/office/drawing/2014/main" id="{E89D9891-FEA3-7595-2AB2-55946B210BD1}"/>
              </a:ext>
            </a:extLst>
          </p:cNvPr>
          <p:cNvGrpSpPr>
            <a:grpSpLocks/>
          </p:cNvGrpSpPr>
          <p:nvPr/>
        </p:nvGrpSpPr>
        <p:grpSpPr>
          <a:xfrm>
            <a:off x="2149073" y="3859608"/>
            <a:ext cx="2510870" cy="2093051"/>
            <a:chOff x="2116622" y="3935165"/>
            <a:chExt cx="2510870" cy="2093051"/>
          </a:xfrm>
        </p:grpSpPr>
        <p:sp>
          <p:nvSpPr>
            <p:cNvPr id="40" name="Прямокутник: округлені кути 39">
              <a:extLst>
                <a:ext uri="{FF2B5EF4-FFF2-40B4-BE49-F238E27FC236}">
                  <a16:creationId xmlns:a16="http://schemas.microsoft.com/office/drawing/2014/main" id="{58C0D922-5277-778D-0684-D88C1BD9CBBB}"/>
                </a:ext>
              </a:extLst>
            </p:cNvPr>
            <p:cNvSpPr>
              <a:spLocks/>
            </p:cNvSpPr>
            <p:nvPr/>
          </p:nvSpPr>
          <p:spPr>
            <a:xfrm>
              <a:off x="2116622" y="3935165"/>
              <a:ext cx="2445618" cy="2015936"/>
            </a:xfrm>
            <a:prstGeom prst="roundRect">
              <a:avLst>
                <a:gd name="adj" fmla="val 965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6700" marR="0" lvl="0" algn="l" defTabSz="804649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6">
                    <a:lumMod val="50000"/>
                  </a:schemeClr>
                </a:buClr>
                <a:buSzPct val="120000"/>
                <a:tabLst/>
                <a:defRPr/>
              </a:pPr>
              <a:endParaRPr lang="uk-UA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41" name="Групувати 40">
              <a:extLst>
                <a:ext uri="{FF2B5EF4-FFF2-40B4-BE49-F238E27FC236}">
                  <a16:creationId xmlns:a16="http://schemas.microsoft.com/office/drawing/2014/main" id="{D7CD87B8-EDA7-93CB-692F-80B91AA9B41B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28292" y="4181557"/>
              <a:ext cx="2399200" cy="1846659"/>
              <a:chOff x="1958274" y="4863229"/>
              <a:chExt cx="2399200" cy="1846659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3A7BD58-09EF-BAA3-98FE-CBAAD6CC87F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958274" y="4863229"/>
                <a:ext cx="2399200" cy="18466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66700" marR="0" lvl="0" algn="l" defTabSz="804649" rtl="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>
                    <a:schemeClr val="accent6">
                      <a:lumMod val="50000"/>
                    </a:schemeClr>
                  </a:buClr>
                  <a:buSzPct val="120000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C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ommercial function set up</a:t>
                </a:r>
              </a:p>
              <a:p>
                <a:pPr marL="266700" marR="0" lvl="0" algn="l" defTabSz="804649" rtl="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>
                    <a:schemeClr val="accent6">
                      <a:lumMod val="50000"/>
                    </a:schemeClr>
                  </a:buClr>
                  <a:buSzPct val="120000"/>
                  <a:tabLst/>
                  <a:defRPr/>
                </a:pPr>
                <a:endPara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endParaRPr>
              </a:p>
              <a:p>
                <a:pPr marL="266700" lvl="0" defTabSz="804649">
                  <a:buClr>
                    <a:schemeClr val="bg2">
                      <a:lumMod val="50000"/>
                    </a:schemeClr>
                  </a:buClr>
                  <a:buSzPct val="120000"/>
                  <a:defRPr/>
                </a:pPr>
                <a:r>
                  <a:rPr lang="en-US" sz="14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Non-Resident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 Customer </a:t>
                </a:r>
                <a:r>
                  <a:rPr lang="en-US" sz="1400" dirty="0">
                    <a:latin typeface="+mj-lt"/>
                    <a:cs typeface="Arial" panose="020B0604020202020204" pitchFamily="34" charset="0"/>
                  </a:rPr>
                  <a:t>P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ortfolio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 built</a:t>
                </a:r>
              </a:p>
              <a:p>
                <a:pPr marL="266700" lvl="0" defTabSz="804649">
                  <a:buClr>
                    <a:schemeClr val="bg2">
                      <a:lumMod val="50000"/>
                    </a:schemeClr>
                  </a:buClr>
                  <a:buSzPct val="120000"/>
                  <a:defRPr/>
                </a:pPr>
                <a:endPara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endParaRPr>
              </a:p>
              <a:p>
                <a:pPr marL="266700" marR="0" lvl="0" algn="l" defTabSz="804649" rtl="0" eaLnBrk="1" fontAlgn="auto" latinLnBrk="0" hangingPunct="1">
                  <a:spcBef>
                    <a:spcPts val="0"/>
                  </a:spcBef>
                  <a:spcAft>
                    <a:spcPts val="0"/>
                  </a:spcAft>
                  <a:buClr>
                    <a:schemeClr val="bg2">
                      <a:lumMod val="50000"/>
                    </a:schemeClr>
                  </a:buClr>
                  <a:buSzPct val="120000"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I-</a:t>
                </a:r>
                <a:r>
                  <a:rPr lang="en-US" sz="14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P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latform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+mj-lt"/>
                    <a:cs typeface="Arial" panose="020B0604020202020204" pitchFamily="34" charset="0"/>
                  </a:rPr>
                  <a:t> launch</a:t>
                </a:r>
                <a:r>
                  <a:rPr lang="en-US" sz="14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ed</a:t>
                </a:r>
                <a:endParaRPr lang="uk-UA" sz="1400" dirty="0">
                  <a:solidFill>
                    <a:schemeClr val="tx1"/>
                  </a:solidFill>
                </a:endParaRPr>
              </a:p>
              <a:p>
                <a:pPr marL="0" marR="0" lvl="0" indent="0" algn="ctr" defTabSz="8046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uk-UA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3" name="Графіка 42" descr="Checkmark with solid fill">
                <a:extLst>
                  <a:ext uri="{FF2B5EF4-FFF2-40B4-BE49-F238E27FC236}">
                    <a16:creationId xmlns:a16="http://schemas.microsoft.com/office/drawing/2014/main" id="{26A594B1-5769-A7F9-A0E2-0BD06CEDE9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061584" y="5002101"/>
                <a:ext cx="143994" cy="143994"/>
              </a:xfrm>
              <a:prstGeom prst="rect">
                <a:avLst/>
              </a:prstGeom>
            </p:spPr>
          </p:pic>
          <p:pic>
            <p:nvPicPr>
              <p:cNvPr id="44" name="Графіка 43" descr="Checkmark with solid fill">
                <a:extLst>
                  <a:ext uri="{FF2B5EF4-FFF2-40B4-BE49-F238E27FC236}">
                    <a16:creationId xmlns:a16="http://schemas.microsoft.com/office/drawing/2014/main" id="{6319E277-D096-CC95-21A1-7C27859909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061584" y="5619530"/>
                <a:ext cx="143994" cy="143994"/>
              </a:xfrm>
              <a:prstGeom prst="rect">
                <a:avLst/>
              </a:prstGeom>
            </p:spPr>
          </p:pic>
          <p:pic>
            <p:nvPicPr>
              <p:cNvPr id="45" name="Графіка 44" descr="Checkmark with solid fill">
                <a:extLst>
                  <a:ext uri="{FF2B5EF4-FFF2-40B4-BE49-F238E27FC236}">
                    <a16:creationId xmlns:a16="http://schemas.microsoft.com/office/drawing/2014/main" id="{6DF54049-E494-F2B0-4919-F9565A21F9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061584" y="6218315"/>
                <a:ext cx="143994" cy="143994"/>
              </a:xfrm>
              <a:prstGeom prst="rect">
                <a:avLst/>
              </a:prstGeom>
            </p:spPr>
          </p:pic>
        </p:grpSp>
      </p:grpSp>
      <p:grpSp>
        <p:nvGrpSpPr>
          <p:cNvPr id="46" name="Групувати 45">
            <a:extLst>
              <a:ext uri="{FF2B5EF4-FFF2-40B4-BE49-F238E27FC236}">
                <a16:creationId xmlns:a16="http://schemas.microsoft.com/office/drawing/2014/main" id="{538F4AB8-A214-28B8-7119-788C5AB94B20}"/>
              </a:ext>
            </a:extLst>
          </p:cNvPr>
          <p:cNvGrpSpPr>
            <a:grpSpLocks/>
          </p:cNvGrpSpPr>
          <p:nvPr/>
        </p:nvGrpSpPr>
        <p:grpSpPr>
          <a:xfrm>
            <a:off x="111405" y="4386113"/>
            <a:ext cx="1549900" cy="615554"/>
            <a:chOff x="3120153" y="3930876"/>
            <a:chExt cx="860373" cy="341704"/>
          </a:xfrm>
        </p:grpSpPr>
        <p:sp>
          <p:nvSpPr>
            <p:cNvPr id="47" name="Прямокутник: округлені кути 46">
              <a:extLst>
                <a:ext uri="{FF2B5EF4-FFF2-40B4-BE49-F238E27FC236}">
                  <a16:creationId xmlns:a16="http://schemas.microsoft.com/office/drawing/2014/main" id="{C6CE56C4-3EAB-FA38-7FFB-02AB89CCEDFC}"/>
                </a:ext>
              </a:extLst>
            </p:cNvPr>
            <p:cNvSpPr>
              <a:spLocks/>
            </p:cNvSpPr>
            <p:nvPr/>
          </p:nvSpPr>
          <p:spPr>
            <a:xfrm>
              <a:off x="3120153" y="3954956"/>
              <a:ext cx="860373" cy="302539"/>
            </a:xfrm>
            <a:prstGeom prst="roundRect">
              <a:avLst>
                <a:gd name="adj" fmla="val 50000"/>
              </a:avLst>
            </a:prstGeom>
            <a:solidFill>
              <a:srgbClr val="14476E"/>
            </a:solidFill>
            <a:ln>
              <a:noFill/>
            </a:ln>
            <a:effectLst>
              <a:outerShdw blurRad="165100" sx="102000" sy="102000" algn="ctr" rotWithShape="0">
                <a:prstClr val="black">
                  <a:alpha val="21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2000" dirty="0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683FAAF-03D3-0BF7-F166-AA759ED7682F}"/>
                </a:ext>
              </a:extLst>
            </p:cNvPr>
            <p:cNvSpPr txBox="1">
              <a:spLocks/>
            </p:cNvSpPr>
            <p:nvPr/>
          </p:nvSpPr>
          <p:spPr>
            <a:xfrm>
              <a:off x="3193470" y="3930876"/>
              <a:ext cx="751213" cy="341704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pPr marL="0" marR="0" lvl="0" indent="0" algn="ctr" defTabSz="804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uk-UA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rPr>
                <a:t>202</a:t>
              </a: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rPr>
                <a:t>0</a:t>
              </a:r>
              <a:endParaRPr kumimoji="0" lang="uk-UA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0" marR="0" lvl="0" indent="0" algn="ctr" defTabSz="804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rPr>
                <a:t>UNBUNDLING</a:t>
              </a:r>
              <a:endParaRPr kumimoji="0" lang="uk-UA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</p:grpSp>
      <p:grpSp>
        <p:nvGrpSpPr>
          <p:cNvPr id="49" name="Групувати 48">
            <a:extLst>
              <a:ext uri="{FF2B5EF4-FFF2-40B4-BE49-F238E27FC236}">
                <a16:creationId xmlns:a16="http://schemas.microsoft.com/office/drawing/2014/main" id="{59464ABA-99B4-C729-D27D-6879919C97C5}"/>
              </a:ext>
            </a:extLst>
          </p:cNvPr>
          <p:cNvGrpSpPr>
            <a:grpSpLocks/>
          </p:cNvGrpSpPr>
          <p:nvPr/>
        </p:nvGrpSpPr>
        <p:grpSpPr>
          <a:xfrm>
            <a:off x="2057331" y="3524258"/>
            <a:ext cx="2591297" cy="545001"/>
            <a:chOff x="2063761" y="3257969"/>
            <a:chExt cx="2591297" cy="545001"/>
          </a:xfrm>
        </p:grpSpPr>
        <p:grpSp>
          <p:nvGrpSpPr>
            <p:cNvPr id="50" name="Групувати 49">
              <a:extLst>
                <a:ext uri="{FF2B5EF4-FFF2-40B4-BE49-F238E27FC236}">
                  <a16:creationId xmlns:a16="http://schemas.microsoft.com/office/drawing/2014/main" id="{39CC5FD2-96C2-5086-C031-E72F473E235C}"/>
                </a:ext>
              </a:extLst>
            </p:cNvPr>
            <p:cNvGrpSpPr>
              <a:grpSpLocks/>
            </p:cNvGrpSpPr>
            <p:nvPr/>
          </p:nvGrpSpPr>
          <p:grpSpPr>
            <a:xfrm>
              <a:off x="2063761" y="3257969"/>
              <a:ext cx="2591297" cy="545001"/>
              <a:chOff x="3013809" y="3995893"/>
              <a:chExt cx="1438468" cy="302539"/>
            </a:xfrm>
          </p:grpSpPr>
          <p:sp>
            <p:nvSpPr>
              <p:cNvPr id="52" name="Прямокутник: округлені кути 51">
                <a:extLst>
                  <a:ext uri="{FF2B5EF4-FFF2-40B4-BE49-F238E27FC236}">
                    <a16:creationId xmlns:a16="http://schemas.microsoft.com/office/drawing/2014/main" id="{9607A864-98FA-6B1A-CAA5-5B45B30798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13809" y="3995893"/>
                <a:ext cx="1438468" cy="302539"/>
              </a:xfrm>
              <a:prstGeom prst="roundRect">
                <a:avLst>
                  <a:gd name="adj" fmla="val 50000"/>
                </a:avLst>
              </a:prstGeom>
              <a:solidFill>
                <a:srgbClr val="1D6AA3"/>
              </a:solidFill>
              <a:ln>
                <a:noFill/>
              </a:ln>
              <a:effectLst>
                <a:outerShdw blurRad="165100" sx="102000" sy="102000" algn="ctr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sz="2400" dirty="0"/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29771BB1-8381-7AE4-3294-D6C0C5DADA6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52610" y="4027562"/>
                <a:ext cx="771188" cy="142733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804649" rtl="0" eaLnBrk="1" fontAlgn="auto" latinLnBrk="0" hangingPunct="1">
                  <a:lnSpc>
                    <a:spcPct val="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uk-UA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202</a:t>
                </a: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0 - 2022</a:t>
                </a:r>
                <a:endParaRPr kumimoji="0" lang="uk-UA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1A8D226-6E1C-CCBE-2809-753084F192C8}"/>
                </a:ext>
              </a:extLst>
            </p:cNvPr>
            <p:cNvSpPr txBox="1">
              <a:spLocks/>
            </p:cNvSpPr>
            <p:nvPr/>
          </p:nvSpPr>
          <p:spPr>
            <a:xfrm>
              <a:off x="2209440" y="3457654"/>
              <a:ext cx="244561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804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rPr>
                <a:t>CUSTOMER-ORIENTED SSO</a:t>
              </a:r>
            </a:p>
          </p:txBody>
        </p:sp>
      </p:grpSp>
      <p:grpSp>
        <p:nvGrpSpPr>
          <p:cNvPr id="54" name="Групувати 53">
            <a:extLst>
              <a:ext uri="{FF2B5EF4-FFF2-40B4-BE49-F238E27FC236}">
                <a16:creationId xmlns:a16="http://schemas.microsoft.com/office/drawing/2014/main" id="{15C1F9C0-07F1-DB06-3020-FCC8E2523AC9}"/>
              </a:ext>
            </a:extLst>
          </p:cNvPr>
          <p:cNvGrpSpPr>
            <a:grpSpLocks/>
          </p:cNvGrpSpPr>
          <p:nvPr/>
        </p:nvGrpSpPr>
        <p:grpSpPr>
          <a:xfrm>
            <a:off x="8969591" y="1802635"/>
            <a:ext cx="2999490" cy="3341907"/>
            <a:chOff x="8852778" y="2493054"/>
            <a:chExt cx="2999490" cy="3341907"/>
          </a:xfrm>
        </p:grpSpPr>
        <p:sp>
          <p:nvSpPr>
            <p:cNvPr id="55" name="Прямокутник: округлені кути 54">
              <a:extLst>
                <a:ext uri="{FF2B5EF4-FFF2-40B4-BE49-F238E27FC236}">
                  <a16:creationId xmlns:a16="http://schemas.microsoft.com/office/drawing/2014/main" id="{AC197AA2-02B3-4114-7D64-9C421557DF5C}"/>
                </a:ext>
              </a:extLst>
            </p:cNvPr>
            <p:cNvSpPr>
              <a:spLocks/>
            </p:cNvSpPr>
            <p:nvPr/>
          </p:nvSpPr>
          <p:spPr>
            <a:xfrm>
              <a:off x="8852778" y="2493054"/>
              <a:ext cx="2999490" cy="3341907"/>
            </a:xfrm>
            <a:prstGeom prst="roundRect">
              <a:avLst>
                <a:gd name="adj" fmla="val 7963"/>
              </a:avLst>
            </a:prstGeom>
            <a:solidFill>
              <a:schemeClr val="bg1"/>
            </a:solidFill>
            <a:ln w="22225">
              <a:solidFill>
                <a:srgbClr val="81C2F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uk-UA" sz="1400" dirty="0"/>
            </a:p>
          </p:txBody>
        </p:sp>
        <p:grpSp>
          <p:nvGrpSpPr>
            <p:cNvPr id="56" name="Групувати 55">
              <a:extLst>
                <a:ext uri="{FF2B5EF4-FFF2-40B4-BE49-F238E27FC236}">
                  <a16:creationId xmlns:a16="http://schemas.microsoft.com/office/drawing/2014/main" id="{73EE0F2F-7FD8-11CD-C1E8-B89B15C1DCE2}"/>
                </a:ext>
              </a:extLst>
            </p:cNvPr>
            <p:cNvGrpSpPr>
              <a:grpSpLocks/>
            </p:cNvGrpSpPr>
            <p:nvPr/>
          </p:nvGrpSpPr>
          <p:grpSpPr>
            <a:xfrm>
              <a:off x="9033466" y="3203142"/>
              <a:ext cx="2812723" cy="2347053"/>
              <a:chOff x="8883718" y="2847268"/>
              <a:chExt cx="2936743" cy="2347053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0756B9B0-458B-1429-BB2C-9CD18D51BB8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034552" y="2847268"/>
                <a:ext cx="2785909" cy="23470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defTabSz="804649">
                  <a:lnSpc>
                    <a:spcPct val="150000"/>
                  </a:lnSpc>
                  <a:buClr>
                    <a:schemeClr val="bg2">
                      <a:lumMod val="25000"/>
                    </a:schemeClr>
                  </a:buClr>
                  <a:buSzPct val="120000"/>
                  <a:defRPr/>
                </a:pPr>
                <a:r>
                  <a:rPr lang="en-US" sz="16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Improving Service Portfolio</a:t>
                </a:r>
              </a:p>
              <a:p>
                <a:pPr defTabSz="804649">
                  <a:lnSpc>
                    <a:spcPct val="150000"/>
                  </a:lnSpc>
                  <a:buClr>
                    <a:schemeClr val="bg2">
                      <a:lumMod val="25000"/>
                    </a:schemeClr>
                  </a:buClr>
                  <a:buSzPct val="120000"/>
                  <a:defRPr/>
                </a:pPr>
                <a:endParaRPr lang="en-US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defTabSz="804649">
                  <a:buClr>
                    <a:schemeClr val="bg2">
                      <a:lumMod val="25000"/>
                    </a:schemeClr>
                  </a:buClr>
                  <a:buSzPct val="120000"/>
                  <a:defRPr/>
                </a:pPr>
                <a:r>
                  <a:rPr lang="en-US" sz="16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</a:rPr>
                  <a:t>Regulatory updates for biomethane storage </a:t>
                </a:r>
              </a:p>
              <a:p>
                <a:pPr defTabSz="804649">
                  <a:lnSpc>
                    <a:spcPct val="150000"/>
                  </a:lnSpc>
                  <a:buClr>
                    <a:schemeClr val="bg2">
                      <a:lumMod val="25000"/>
                    </a:schemeClr>
                  </a:buClr>
                  <a:buSzPct val="120000"/>
                  <a:defRPr/>
                </a:pPr>
                <a:endParaRPr lang="en-US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</a:endParaRPr>
              </a:p>
              <a:p>
                <a:pPr defTabSz="804649">
                  <a:lnSpc>
                    <a:spcPct val="150000"/>
                  </a:lnSpc>
                  <a:buClr>
                    <a:schemeClr val="bg2">
                      <a:lumMod val="25000"/>
                    </a:schemeClr>
                  </a:buClr>
                  <a:buSzPct val="120000"/>
                  <a:defRPr/>
                </a:pPr>
                <a:r>
                  <a:rPr lang="en-US" sz="16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Migration to SAP S/4 HANA</a:t>
                </a:r>
              </a:p>
              <a:p>
                <a:pPr defTabSz="804649">
                  <a:lnSpc>
                    <a:spcPct val="150000"/>
                  </a:lnSpc>
                  <a:buClr>
                    <a:schemeClr val="bg2">
                      <a:lumMod val="25000"/>
                    </a:schemeClr>
                  </a:buClr>
                  <a:buSzPct val="120000"/>
                  <a:defRPr/>
                </a:pPr>
                <a:endParaRPr lang="ru-RU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defTabSz="804649">
                  <a:lnSpc>
                    <a:spcPct val="150000"/>
                  </a:lnSpc>
                  <a:buClr>
                    <a:schemeClr val="bg2">
                      <a:lumMod val="25000"/>
                    </a:schemeClr>
                  </a:buClr>
                  <a:buSzPct val="120000"/>
                  <a:defRPr/>
                </a:pPr>
                <a:r>
                  <a:rPr lang="en-US" sz="16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Switching to ENERGY UNITS</a:t>
                </a:r>
                <a:endParaRPr lang="uk-UA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grpSp>
            <p:nvGrpSpPr>
              <p:cNvPr id="59" name="Групувати 58">
                <a:extLst>
                  <a:ext uri="{FF2B5EF4-FFF2-40B4-BE49-F238E27FC236}">
                    <a16:creationId xmlns:a16="http://schemas.microsoft.com/office/drawing/2014/main" id="{F210226E-1890-C85F-0FF5-6B5499DA79BB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8883718" y="3014393"/>
                <a:ext cx="144868" cy="2058377"/>
                <a:chOff x="5541192" y="4036219"/>
                <a:chExt cx="144868" cy="2058377"/>
              </a:xfrm>
            </p:grpSpPr>
            <p:sp>
              <p:nvSpPr>
                <p:cNvPr id="60" name="Дуга 59">
                  <a:extLst>
                    <a:ext uri="{FF2B5EF4-FFF2-40B4-BE49-F238E27FC236}">
                      <a16:creationId xmlns:a16="http://schemas.microsoft.com/office/drawing/2014/main" id="{68EEA99D-34A8-0513-B11F-661707981BF4}"/>
                    </a:ext>
                  </a:extLst>
                </p:cNvPr>
                <p:cNvSpPr>
                  <a:spLocks/>
                </p:cNvSpPr>
                <p:nvPr/>
              </p:nvSpPr>
              <p:spPr>
                <a:xfrm rot="12837233" flipV="1">
                  <a:off x="5541192" y="4036219"/>
                  <a:ext cx="144868" cy="144868"/>
                </a:xfrm>
                <a:prstGeom prst="arc">
                  <a:avLst>
                    <a:gd name="adj1" fmla="val 19929952"/>
                    <a:gd name="adj2" fmla="val 14068561"/>
                  </a:avLst>
                </a:prstGeom>
                <a:ln w="25400" cap="rnd">
                  <a:gradFill>
                    <a:gsLst>
                      <a:gs pos="0">
                        <a:schemeClr val="accent1">
                          <a:lumMod val="5000"/>
                          <a:lumOff val="95000"/>
                          <a:alpha val="0"/>
                        </a:schemeClr>
                      </a:gs>
                      <a:gs pos="59000">
                        <a:schemeClr val="bg2">
                          <a:lumMod val="75000"/>
                          <a:alpha val="48000"/>
                        </a:schemeClr>
                      </a:gs>
                      <a:gs pos="30000">
                        <a:schemeClr val="bg2">
                          <a:lumMod val="90000"/>
                          <a:alpha val="36000"/>
                        </a:schemeClr>
                      </a:gs>
                      <a:gs pos="83000">
                        <a:schemeClr val="bg2">
                          <a:lumMod val="25000"/>
                          <a:alpha val="39000"/>
                        </a:schemeClr>
                      </a:gs>
                    </a:gsLst>
                    <a:lin ang="10800000" scaled="0"/>
                  </a:gra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61" name="Дуга 60">
                  <a:extLst>
                    <a:ext uri="{FF2B5EF4-FFF2-40B4-BE49-F238E27FC236}">
                      <a16:creationId xmlns:a16="http://schemas.microsoft.com/office/drawing/2014/main" id="{01BBA3C3-4461-A681-7179-A7EA685E9F51}"/>
                    </a:ext>
                  </a:extLst>
                </p:cNvPr>
                <p:cNvSpPr>
                  <a:spLocks/>
                </p:cNvSpPr>
                <p:nvPr/>
              </p:nvSpPr>
              <p:spPr>
                <a:xfrm rot="12837233" flipV="1">
                  <a:off x="5541192" y="4521106"/>
                  <a:ext cx="144868" cy="144868"/>
                </a:xfrm>
                <a:prstGeom prst="arc">
                  <a:avLst>
                    <a:gd name="adj1" fmla="val 20927056"/>
                    <a:gd name="adj2" fmla="val 14068561"/>
                  </a:avLst>
                </a:prstGeom>
                <a:ln w="25400" cap="rnd">
                  <a:gradFill>
                    <a:gsLst>
                      <a:gs pos="0">
                        <a:schemeClr val="accent1">
                          <a:lumMod val="5000"/>
                          <a:lumOff val="95000"/>
                          <a:alpha val="0"/>
                        </a:schemeClr>
                      </a:gs>
                      <a:gs pos="59000">
                        <a:schemeClr val="bg2">
                          <a:lumMod val="75000"/>
                          <a:alpha val="48000"/>
                        </a:schemeClr>
                      </a:gs>
                      <a:gs pos="30000">
                        <a:schemeClr val="bg2">
                          <a:lumMod val="90000"/>
                          <a:alpha val="36000"/>
                        </a:schemeClr>
                      </a:gs>
                      <a:gs pos="83000">
                        <a:schemeClr val="bg2">
                          <a:lumMod val="25000"/>
                          <a:alpha val="39000"/>
                        </a:schemeClr>
                      </a:gs>
                    </a:gsLst>
                    <a:lin ang="10800000" scaled="0"/>
                  </a:gra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62" name="Дуга 61">
                  <a:extLst>
                    <a:ext uri="{FF2B5EF4-FFF2-40B4-BE49-F238E27FC236}">
                      <a16:creationId xmlns:a16="http://schemas.microsoft.com/office/drawing/2014/main" id="{3E2B32A1-6254-C0B9-58C1-32789B9E2348}"/>
                    </a:ext>
                  </a:extLst>
                </p:cNvPr>
                <p:cNvSpPr>
                  <a:spLocks/>
                </p:cNvSpPr>
                <p:nvPr/>
              </p:nvSpPr>
              <p:spPr>
                <a:xfrm rot="12837233" flipV="1">
                  <a:off x="5541192" y="5362320"/>
                  <a:ext cx="144868" cy="144868"/>
                </a:xfrm>
                <a:prstGeom prst="arc">
                  <a:avLst>
                    <a:gd name="adj1" fmla="val 447797"/>
                    <a:gd name="adj2" fmla="val 14068561"/>
                  </a:avLst>
                </a:prstGeom>
                <a:ln w="25400" cap="rnd">
                  <a:gradFill>
                    <a:gsLst>
                      <a:gs pos="0">
                        <a:schemeClr val="accent1">
                          <a:lumMod val="5000"/>
                          <a:lumOff val="95000"/>
                          <a:alpha val="0"/>
                        </a:schemeClr>
                      </a:gs>
                      <a:gs pos="59000">
                        <a:schemeClr val="bg2">
                          <a:lumMod val="75000"/>
                          <a:alpha val="48000"/>
                        </a:schemeClr>
                      </a:gs>
                      <a:gs pos="30000">
                        <a:schemeClr val="bg2">
                          <a:lumMod val="90000"/>
                          <a:alpha val="36000"/>
                        </a:schemeClr>
                      </a:gs>
                      <a:gs pos="83000">
                        <a:schemeClr val="bg2">
                          <a:lumMod val="25000"/>
                          <a:alpha val="39000"/>
                        </a:schemeClr>
                      </a:gs>
                    </a:gsLst>
                    <a:lin ang="10800000" scaled="0"/>
                  </a:gra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uk-UA" dirty="0"/>
                </a:p>
              </p:txBody>
            </p:sp>
            <p:sp>
              <p:nvSpPr>
                <p:cNvPr id="63" name="Дуга 62">
                  <a:extLst>
                    <a:ext uri="{FF2B5EF4-FFF2-40B4-BE49-F238E27FC236}">
                      <a16:creationId xmlns:a16="http://schemas.microsoft.com/office/drawing/2014/main" id="{517EA643-6BDE-4517-7DDD-CB70A2AB38C7}"/>
                    </a:ext>
                  </a:extLst>
                </p:cNvPr>
                <p:cNvSpPr>
                  <a:spLocks/>
                </p:cNvSpPr>
                <p:nvPr/>
              </p:nvSpPr>
              <p:spPr>
                <a:xfrm rot="12837233" flipV="1">
                  <a:off x="5541192" y="5949728"/>
                  <a:ext cx="144868" cy="144868"/>
                </a:xfrm>
                <a:prstGeom prst="arc">
                  <a:avLst>
                    <a:gd name="adj1" fmla="val 355472"/>
                    <a:gd name="adj2" fmla="val 14068561"/>
                  </a:avLst>
                </a:prstGeom>
                <a:ln w="25400" cap="rnd">
                  <a:gradFill>
                    <a:gsLst>
                      <a:gs pos="0">
                        <a:schemeClr val="accent1">
                          <a:lumMod val="5000"/>
                          <a:lumOff val="95000"/>
                          <a:alpha val="0"/>
                        </a:schemeClr>
                      </a:gs>
                      <a:gs pos="59000">
                        <a:schemeClr val="bg2">
                          <a:lumMod val="75000"/>
                          <a:alpha val="48000"/>
                        </a:schemeClr>
                      </a:gs>
                      <a:gs pos="30000">
                        <a:schemeClr val="bg2">
                          <a:lumMod val="90000"/>
                          <a:alpha val="36000"/>
                        </a:schemeClr>
                      </a:gs>
                      <a:gs pos="83000">
                        <a:schemeClr val="bg2">
                          <a:lumMod val="25000"/>
                          <a:alpha val="39000"/>
                        </a:schemeClr>
                      </a:gs>
                    </a:gsLst>
                    <a:lin ang="10800000" scaled="0"/>
                  </a:gradFill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</p:grpSp>
        </p:grp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16E90B18-D6BD-04B1-8CC1-D05DC785DF43}"/>
                </a:ext>
              </a:extLst>
            </p:cNvPr>
            <p:cNvSpPr txBox="1">
              <a:spLocks/>
            </p:cNvSpPr>
            <p:nvPr/>
          </p:nvSpPr>
          <p:spPr>
            <a:xfrm>
              <a:off x="9105188" y="2864588"/>
              <a:ext cx="143440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i="1" dirty="0">
                  <a:solidFill>
                    <a:schemeClr val="bg2">
                      <a:lumMod val="50000"/>
                    </a:schemeClr>
                  </a:solidFill>
                  <a:latin typeface="+mj-lt"/>
                </a:rPr>
                <a:t>…in progress</a:t>
              </a:r>
              <a:endParaRPr lang="uk-UA" sz="1600" b="1" i="1" dirty="0">
                <a:solidFill>
                  <a:schemeClr val="bg2">
                    <a:lumMod val="50000"/>
                  </a:schemeClr>
                </a:solidFill>
                <a:latin typeface="+mj-lt"/>
              </a:endParaRPr>
            </a:p>
          </p:txBody>
        </p:sp>
      </p:grpSp>
      <p:grpSp>
        <p:nvGrpSpPr>
          <p:cNvPr id="64" name="Групувати 63">
            <a:extLst>
              <a:ext uri="{FF2B5EF4-FFF2-40B4-BE49-F238E27FC236}">
                <a16:creationId xmlns:a16="http://schemas.microsoft.com/office/drawing/2014/main" id="{B3763533-7871-CEEA-3528-4253CB9480D8}"/>
              </a:ext>
            </a:extLst>
          </p:cNvPr>
          <p:cNvGrpSpPr>
            <a:grpSpLocks/>
          </p:cNvGrpSpPr>
          <p:nvPr/>
        </p:nvGrpSpPr>
        <p:grpSpPr>
          <a:xfrm>
            <a:off x="8836697" y="1375278"/>
            <a:ext cx="3273716" cy="848654"/>
            <a:chOff x="8753776" y="1124253"/>
            <a:chExt cx="3273716" cy="848654"/>
          </a:xfrm>
          <a:effectLst/>
        </p:grpSpPr>
        <p:grpSp>
          <p:nvGrpSpPr>
            <p:cNvPr id="65" name="Групувати 64">
              <a:extLst>
                <a:ext uri="{FF2B5EF4-FFF2-40B4-BE49-F238E27FC236}">
                  <a16:creationId xmlns:a16="http://schemas.microsoft.com/office/drawing/2014/main" id="{0558BA89-E305-1E5E-E291-BD3C68F586A2}"/>
                </a:ext>
              </a:extLst>
            </p:cNvPr>
            <p:cNvGrpSpPr>
              <a:grpSpLocks/>
            </p:cNvGrpSpPr>
            <p:nvPr/>
          </p:nvGrpSpPr>
          <p:grpSpPr>
            <a:xfrm>
              <a:off x="8753776" y="1124253"/>
              <a:ext cx="3240904" cy="830694"/>
              <a:chOff x="9151387" y="1280935"/>
              <a:chExt cx="3064592" cy="830694"/>
            </a:xfrm>
          </p:grpSpPr>
          <p:sp>
            <p:nvSpPr>
              <p:cNvPr id="67" name="Прямокутник: округлені кути 66">
                <a:extLst>
                  <a:ext uri="{FF2B5EF4-FFF2-40B4-BE49-F238E27FC236}">
                    <a16:creationId xmlns:a16="http://schemas.microsoft.com/office/drawing/2014/main" id="{90F03259-39E8-0A52-9A6B-366608B0FCF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151387" y="1296199"/>
                <a:ext cx="3064592" cy="815430"/>
              </a:xfrm>
              <a:prstGeom prst="roundRect">
                <a:avLst>
                  <a:gd name="adj" fmla="val 50000"/>
                </a:avLst>
              </a:prstGeom>
              <a:solidFill>
                <a:srgbClr val="81C2F8"/>
              </a:solidFill>
              <a:ln>
                <a:noFill/>
              </a:ln>
              <a:effectLst>
                <a:outerShdw blurRad="165100" sx="102000" sy="102000" algn="ctr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sz="2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BF096A8F-1290-D53D-3B33-689A0636741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30355" y="1280935"/>
                <a:ext cx="1139468" cy="40011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marL="0" marR="0" lvl="0" indent="0" algn="ctr" defTabSz="8046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uk-UA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202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4…</a:t>
                </a:r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1ECEE71-B22C-1166-F939-FC488F35AEA8}"/>
                </a:ext>
              </a:extLst>
            </p:cNvPr>
            <p:cNvSpPr txBox="1">
              <a:spLocks/>
            </p:cNvSpPr>
            <p:nvPr/>
          </p:nvSpPr>
          <p:spPr>
            <a:xfrm>
              <a:off x="8753777" y="1388132"/>
              <a:ext cx="327371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defTabSz="804649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1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cs typeface="Arial" panose="020B0604020202020204" pitchFamily="34" charset="0"/>
                </a:defRPr>
              </a:lvl1pPr>
            </a:lstStyle>
            <a:p>
              <a:r>
                <a:rPr lang="en-US" dirty="0"/>
                <a:t>SSO UA AS A PART OF EU ENERGY BALANCE</a:t>
              </a:r>
            </a:p>
          </p:txBody>
        </p:sp>
      </p:grpSp>
      <p:grpSp>
        <p:nvGrpSpPr>
          <p:cNvPr id="70" name="Групувати 69">
            <a:extLst>
              <a:ext uri="{FF2B5EF4-FFF2-40B4-BE49-F238E27FC236}">
                <a16:creationId xmlns:a16="http://schemas.microsoft.com/office/drawing/2014/main" id="{AC5A83B9-1D6E-0A5C-D24A-477E805552A9}"/>
              </a:ext>
            </a:extLst>
          </p:cNvPr>
          <p:cNvGrpSpPr/>
          <p:nvPr/>
        </p:nvGrpSpPr>
        <p:grpSpPr>
          <a:xfrm>
            <a:off x="5388310" y="3045797"/>
            <a:ext cx="2863935" cy="2462349"/>
            <a:chOff x="5385889" y="2783983"/>
            <a:chExt cx="2863935" cy="2462349"/>
          </a:xfrm>
        </p:grpSpPr>
        <p:grpSp>
          <p:nvGrpSpPr>
            <p:cNvPr id="71" name="Групувати 70">
              <a:extLst>
                <a:ext uri="{FF2B5EF4-FFF2-40B4-BE49-F238E27FC236}">
                  <a16:creationId xmlns:a16="http://schemas.microsoft.com/office/drawing/2014/main" id="{CFA7591A-EA82-D423-FECB-F549CAE1FE20}"/>
                </a:ext>
              </a:extLst>
            </p:cNvPr>
            <p:cNvGrpSpPr>
              <a:grpSpLocks/>
            </p:cNvGrpSpPr>
            <p:nvPr/>
          </p:nvGrpSpPr>
          <p:grpSpPr>
            <a:xfrm>
              <a:off x="5385889" y="2783983"/>
              <a:ext cx="2863935" cy="2462349"/>
              <a:chOff x="5385889" y="2628535"/>
              <a:chExt cx="2863935" cy="2462349"/>
            </a:xfrm>
          </p:grpSpPr>
          <p:grpSp>
            <p:nvGrpSpPr>
              <p:cNvPr id="74" name="Групувати 73">
                <a:extLst>
                  <a:ext uri="{FF2B5EF4-FFF2-40B4-BE49-F238E27FC236}">
                    <a16:creationId xmlns:a16="http://schemas.microsoft.com/office/drawing/2014/main" id="{D52E9840-BF45-2006-0721-6ADA093B3CB7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385889" y="2628535"/>
                <a:ext cx="2863935" cy="2462349"/>
                <a:chOff x="5385889" y="2628535"/>
                <a:chExt cx="2863935" cy="2462349"/>
              </a:xfrm>
            </p:grpSpPr>
            <p:grpSp>
              <p:nvGrpSpPr>
                <p:cNvPr id="76" name="Групувати 75">
                  <a:extLst>
                    <a:ext uri="{FF2B5EF4-FFF2-40B4-BE49-F238E27FC236}">
                      <a16:creationId xmlns:a16="http://schemas.microsoft.com/office/drawing/2014/main" id="{BD92DE58-BC26-944C-58FF-15024CFBB1CE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5463320" y="2826403"/>
                  <a:ext cx="2786504" cy="2264481"/>
                  <a:chOff x="5621488" y="2998762"/>
                  <a:chExt cx="2716767" cy="2170336"/>
                </a:xfrm>
              </p:grpSpPr>
              <p:sp>
                <p:nvSpPr>
                  <p:cNvPr id="82" name="Прямокутник: округлені кути 81">
                    <a:extLst>
                      <a:ext uri="{FF2B5EF4-FFF2-40B4-BE49-F238E27FC236}">
                        <a16:creationId xmlns:a16="http://schemas.microsoft.com/office/drawing/2014/main" id="{3F99F529-A7F3-BFA1-D83D-1AABC3E873A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5621488" y="2998762"/>
                    <a:ext cx="2605454" cy="2170336"/>
                  </a:xfrm>
                  <a:prstGeom prst="roundRect">
                    <a:avLst>
                      <a:gd name="adj" fmla="val 16195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66700" marR="0" lvl="0" algn="l" defTabSz="804649" rtl="0" eaLnBrk="1" fontAlgn="auto" latinLnBrk="0" hangingPunct="1">
                      <a:lnSpc>
                        <a:spcPct val="15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accent6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endParaRPr lang="uk-UA" sz="1400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83" name="TextBox 82">
                    <a:extLst>
                      <a:ext uri="{FF2B5EF4-FFF2-40B4-BE49-F238E27FC236}">
                        <a16:creationId xmlns:a16="http://schemas.microsoft.com/office/drawing/2014/main" id="{FB1D6745-F3AF-C8A9-15C7-2B22D60C72E8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5895541" y="3555179"/>
                    <a:ext cx="2442714" cy="148615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square" lIns="91440" tIns="45720" rIns="91440" bIns="45720" rtlCol="0" anchor="t">
                    <a:spAutoFit/>
                  </a:bodyPr>
                  <a:lstStyle/>
                  <a:p>
                    <a:pPr marR="0" lvl="0" algn="l" defTabSz="804649" rtl="0" eaLnBrk="1" fontAlgn="auto" latinLnBrk="0" hangingPunct="1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accent6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r>
                      <a:rPr lang="en-US" sz="1400" dirty="0" err="1">
                        <a:solidFill>
                          <a:prstClr val="black"/>
                        </a:solidFill>
                        <a:latin typeface="+mj-lt"/>
                        <a:cs typeface="Arial" panose="020B0604020202020204" pitchFamily="34" charset="0"/>
                      </a:rPr>
                      <a:t>Сertified</a:t>
                    </a:r>
                    <a:r>
                      <a:rPr lang="en-US" sz="1400" dirty="0">
                        <a:solidFill>
                          <a:prstClr val="black"/>
                        </a:solidFill>
                        <a:latin typeface="+mj-lt"/>
                        <a:cs typeface="Arial" panose="020B0604020202020204" pitchFamily="34" charset="0"/>
                      </a:rPr>
                      <a:t> in accordance </a:t>
                    </a:r>
                  </a:p>
                  <a:p>
                    <a:pPr marR="0" lvl="0" algn="l" defTabSz="804649" rtl="0" eaLnBrk="1" fontAlgn="auto" latinLnBrk="0" hangingPunct="1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accent6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r>
                      <a:rPr lang="en-US" sz="1400" dirty="0">
                        <a:solidFill>
                          <a:prstClr val="black"/>
                        </a:solidFill>
                        <a:latin typeface="+mj-lt"/>
                        <a:cs typeface="Arial" panose="020B0604020202020204" pitchFamily="34" charset="0"/>
                      </a:rPr>
                      <a:t>with EU regulations</a:t>
                    </a:r>
                  </a:p>
                  <a:p>
                    <a:pPr marR="0" lvl="0" algn="l" defTabSz="804649" rtl="0" eaLnBrk="1" fontAlgn="auto" latinLnBrk="0" hangingPunct="1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accent6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endPara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  <a:cs typeface="Arial" panose="020B0604020202020204" pitchFamily="34" charset="0"/>
                    </a:endParaRPr>
                  </a:p>
                  <a:p>
                    <a:pPr marR="0" lvl="0" algn="l" defTabSz="804649" rtl="0" eaLnBrk="1" fontAlgn="auto" latinLnBrk="0" hangingPunct="1">
                      <a:lnSpc>
                        <a:spcPct val="15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2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r>
                      <a:rPr kumimoji="0" lang="uk-UA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</a:rPr>
                      <a:t>С</a:t>
                    </a:r>
                    <a:r>
                      <a:rPr kumimoji="0" lang="en-US" sz="14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</a:rPr>
                      <a:t>ustomer</a:t>
                    </a:r>
                    <a:r>
                      <a:rPr lang="en-US" sz="1400" dirty="0">
                        <a:solidFill>
                          <a:prstClr val="black"/>
                        </a:solidFill>
                        <a:latin typeface="+mj-lt"/>
                        <a:cs typeface="Arial" panose="020B0604020202020204" pitchFamily="34" charset="0"/>
                      </a:rPr>
                      <a:t> P</a:t>
                    </a:r>
                    <a:r>
                      <a:rPr kumimoji="0" lang="en-US" sz="14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</a:rPr>
                      <a:t>ortfolio</a:t>
                    </a:r>
                    <a:r>
                      <a: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</a:rPr>
                      <a:t> expanded</a:t>
                    </a:r>
                  </a:p>
                  <a:p>
                    <a:pPr marR="0" lvl="0" algn="l" defTabSz="804649" rtl="0" eaLnBrk="1" fontAlgn="auto" latinLnBrk="0" hangingPunct="1">
                      <a:lnSpc>
                        <a:spcPct val="15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2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endParaRPr kumimoji="0" lang="en-US" sz="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  <a:cs typeface="Arial" panose="020B0604020202020204" pitchFamily="34" charset="0"/>
                    </a:endParaRPr>
                  </a:p>
                  <a:p>
                    <a:pPr marR="0" lvl="0" algn="l" defTabSz="804649" rtl="0" eaLnBrk="1" fontAlgn="auto" latinLnBrk="0" hangingPunct="1">
                      <a:lnSpc>
                        <a:spcPct val="15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2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r>
                      <a: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</a:rPr>
                      <a:t>I-Platform updated</a:t>
                    </a:r>
                  </a:p>
                  <a:p>
                    <a:pPr marR="0" lvl="0" algn="l" defTabSz="804649" rtl="0" eaLnBrk="1" fontAlgn="auto" latinLnBrk="0" hangingPunct="1">
                      <a:lnSpc>
                        <a:spcPct val="15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2">
                          <a:lumMod val="50000"/>
                        </a:schemeClr>
                      </a:buClr>
                      <a:buSzPct val="120000"/>
                      <a:tabLst/>
                      <a:defRPr/>
                    </a:pPr>
                    <a:endPara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+mj-lt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77" name="Групувати 76">
                  <a:extLst>
                    <a:ext uri="{FF2B5EF4-FFF2-40B4-BE49-F238E27FC236}">
                      <a16:creationId xmlns:a16="http://schemas.microsoft.com/office/drawing/2014/main" id="{9B72DFB2-7643-3E0F-8129-914FA923C87B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5385889" y="2628535"/>
                  <a:ext cx="2863933" cy="550819"/>
                  <a:chOff x="5284122" y="2003188"/>
                  <a:chExt cx="2863933" cy="550819"/>
                </a:xfrm>
              </p:grpSpPr>
              <p:grpSp>
                <p:nvGrpSpPr>
                  <p:cNvPr id="78" name="Групувати 77">
                    <a:extLst>
                      <a:ext uri="{FF2B5EF4-FFF2-40B4-BE49-F238E27FC236}">
                        <a16:creationId xmlns:a16="http://schemas.microsoft.com/office/drawing/2014/main" id="{44231EC3-3003-BDA3-DA64-61C151EA1E25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>
                  <a:xfrm>
                    <a:off x="5284122" y="2003188"/>
                    <a:ext cx="2863933" cy="550819"/>
                    <a:chOff x="5509889" y="3170928"/>
                    <a:chExt cx="2863933" cy="418092"/>
                  </a:xfrm>
                </p:grpSpPr>
                <p:sp>
                  <p:nvSpPr>
                    <p:cNvPr id="80" name="Прямокутник: округлені кути 79">
                      <a:extLst>
                        <a:ext uri="{FF2B5EF4-FFF2-40B4-BE49-F238E27FC236}">
                          <a16:creationId xmlns:a16="http://schemas.microsoft.com/office/drawing/2014/main" id="{2EA2B1C4-81FE-BA9C-E76C-7257E1B0F53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>
                    <a:xfrm>
                      <a:off x="5509889" y="3170928"/>
                      <a:ext cx="2863933" cy="418092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2F90D9"/>
                    </a:solidFill>
                    <a:ln>
                      <a:noFill/>
                    </a:ln>
                    <a:effectLst>
                      <a:outerShdw blurRad="165100" sx="102000" sy="102000" algn="ctr" rotWithShape="0">
                        <a:prstClr val="black">
                          <a:alpha val="21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uk-UA" sz="2400"/>
                    </a:p>
                  </p:txBody>
                </p:sp>
                <p:sp>
                  <p:nvSpPr>
                    <p:cNvPr id="81" name="TextBox 80">
                      <a:extLst>
                        <a:ext uri="{FF2B5EF4-FFF2-40B4-BE49-F238E27FC236}">
                          <a16:creationId xmlns:a16="http://schemas.microsoft.com/office/drawing/2014/main" id="{7AAA5AA6-021D-231E-C8E9-C3D290B50795}"/>
                        </a:ext>
                      </a:extLst>
                    </p:cNvPr>
                    <p:cNvSpPr txBox="1">
                      <a:spLocks/>
                    </p:cNvSpPr>
                    <p:nvPr/>
                  </p:nvSpPr>
                  <p:spPr>
                    <a:xfrm>
                      <a:off x="6260362" y="3221500"/>
                      <a:ext cx="1297151" cy="195165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91440" tIns="45720" rIns="91440" bIns="45720" rtlCol="0" anchor="t">
                      <a:spAutoFit/>
                    </a:bodyPr>
                    <a:lstStyle>
                      <a:defPPr>
                        <a:defRPr lang="en-US"/>
                      </a:defPPr>
                      <a:lvl1pPr marR="0" lvl="0" indent="0" algn="ctr" defTabSz="804649" fontAlgn="auto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kumimoji="0" sz="1600" b="1" i="0" u="none" strike="noStrike" cap="none" spc="0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cs typeface="Arial" panose="020B0604020202020204" pitchFamily="34" charset="0"/>
                        </a:defRPr>
                      </a:lvl1pPr>
                    </a:lstStyle>
                    <a:p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2022 - </a:t>
                      </a:r>
                      <a:r>
                        <a:rPr lang="uk-UA" sz="1800" dirty="0">
                          <a:solidFill>
                            <a:schemeClr val="bg1"/>
                          </a:solidFill>
                        </a:rPr>
                        <a:t>2023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336A97C9-FC6E-DB0A-1F93-579C52911320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5372007" y="2201056"/>
                    <a:ext cx="2672334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80464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</a:rPr>
                      <a:t>CERTIFIED &amp; RELIABLE SSO</a:t>
                    </a:r>
                    <a:endParaRPr kumimoji="0" lang="uk-UA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+mj-lt"/>
                      <a:cs typeface="Arial" panose="020B0604020202020204" pitchFamily="34" charset="0"/>
                    </a:endParaRPr>
                  </a:p>
                </p:txBody>
              </p:sp>
            </p:grpSp>
          </p:grpSp>
          <p:pic>
            <p:nvPicPr>
              <p:cNvPr id="75" name="Графіка 74" descr="Checkmark with solid fill">
                <a:extLst>
                  <a:ext uri="{FF2B5EF4-FFF2-40B4-BE49-F238E27FC236}">
                    <a16:creationId xmlns:a16="http://schemas.microsoft.com/office/drawing/2014/main" id="{AA33FB68-596F-7A24-1AC3-DD0563A1CE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636573" y="3512463"/>
                <a:ext cx="143994" cy="143994"/>
              </a:xfrm>
              <a:prstGeom prst="rect">
                <a:avLst/>
              </a:prstGeom>
            </p:spPr>
          </p:pic>
        </p:grpSp>
        <p:pic>
          <p:nvPicPr>
            <p:cNvPr id="72" name="Графіка 71" descr="Checkmark with solid fill">
              <a:extLst>
                <a:ext uri="{FF2B5EF4-FFF2-40B4-BE49-F238E27FC236}">
                  <a16:creationId xmlns:a16="http://schemas.microsoft.com/office/drawing/2014/main" id="{7FA099CF-213F-9F0E-453A-B8F2A8D8E96F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633683" y="4277926"/>
              <a:ext cx="143994" cy="143994"/>
            </a:xfrm>
            <a:prstGeom prst="rect">
              <a:avLst/>
            </a:prstGeom>
          </p:spPr>
        </p:pic>
        <p:pic>
          <p:nvPicPr>
            <p:cNvPr id="73" name="Графіка 72" descr="Checkmark with solid fill">
              <a:extLst>
                <a:ext uri="{FF2B5EF4-FFF2-40B4-BE49-F238E27FC236}">
                  <a16:creationId xmlns:a16="http://schemas.microsoft.com/office/drawing/2014/main" id="{B4C6DEE2-43DF-6AC4-6D7C-C92B4B60C70B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646383" y="4692158"/>
              <a:ext cx="143994" cy="143994"/>
            </a:xfrm>
            <a:prstGeom prst="rect">
              <a:avLst/>
            </a:prstGeom>
          </p:spPr>
        </p:pic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F962B145-0B0A-9669-8FDA-66465251D7F4}"/>
              </a:ext>
            </a:extLst>
          </p:cNvPr>
          <p:cNvSpPr txBox="1"/>
          <p:nvPr/>
        </p:nvSpPr>
        <p:spPr>
          <a:xfrm>
            <a:off x="3063331" y="265013"/>
            <a:ext cx="5831406" cy="216856"/>
          </a:xfrm>
          <a:custGeom>
            <a:avLst/>
            <a:gdLst/>
            <a:ahLst/>
            <a:cxnLst/>
            <a:rect l="l" t="t" r="r" b="b"/>
            <a:pathLst>
              <a:path w="4437554" h="165021">
                <a:moveTo>
                  <a:pt x="3794822" y="38405"/>
                </a:moveTo>
                <a:lnTo>
                  <a:pt x="3771276" y="95326"/>
                </a:lnTo>
                <a:lnTo>
                  <a:pt x="3818139" y="95326"/>
                </a:lnTo>
                <a:close/>
                <a:moveTo>
                  <a:pt x="3061397" y="38405"/>
                </a:moveTo>
                <a:lnTo>
                  <a:pt x="3037851" y="95326"/>
                </a:lnTo>
                <a:lnTo>
                  <a:pt x="3084714" y="95326"/>
                </a:lnTo>
                <a:close/>
                <a:moveTo>
                  <a:pt x="1442147" y="38405"/>
                </a:moveTo>
                <a:lnTo>
                  <a:pt x="1418601" y="95326"/>
                </a:lnTo>
                <a:lnTo>
                  <a:pt x="1465464" y="95326"/>
                </a:lnTo>
                <a:close/>
                <a:moveTo>
                  <a:pt x="813497" y="38405"/>
                </a:moveTo>
                <a:lnTo>
                  <a:pt x="789951" y="95326"/>
                </a:lnTo>
                <a:lnTo>
                  <a:pt x="836814" y="95326"/>
                </a:lnTo>
                <a:close/>
                <a:moveTo>
                  <a:pt x="3630989" y="28318"/>
                </a:moveTo>
                <a:cubicBezTo>
                  <a:pt x="3628358" y="28322"/>
                  <a:pt x="3625442" y="28370"/>
                  <a:pt x="3622239" y="28461"/>
                </a:cubicBezTo>
                <a:cubicBezTo>
                  <a:pt x="3619037" y="28551"/>
                  <a:pt x="3615549" y="28656"/>
                  <a:pt x="3611775" y="28775"/>
                </a:cubicBezTo>
                <a:lnTo>
                  <a:pt x="3611775" y="76352"/>
                </a:lnTo>
                <a:lnTo>
                  <a:pt x="3630074" y="76352"/>
                </a:lnTo>
                <a:cubicBezTo>
                  <a:pt x="3638456" y="76352"/>
                  <a:pt x="3645594" y="74294"/>
                  <a:pt x="3651489" y="70176"/>
                </a:cubicBezTo>
                <a:cubicBezTo>
                  <a:pt x="3657383" y="66059"/>
                  <a:pt x="3660462" y="59883"/>
                  <a:pt x="3660724" y="51649"/>
                </a:cubicBezTo>
                <a:cubicBezTo>
                  <a:pt x="3660914" y="45173"/>
                  <a:pt x="3658818" y="39711"/>
                  <a:pt x="3654434" y="35265"/>
                </a:cubicBezTo>
                <a:cubicBezTo>
                  <a:pt x="3650050" y="30819"/>
                  <a:pt x="3642235" y="28503"/>
                  <a:pt x="3630989" y="28318"/>
                </a:cubicBezTo>
                <a:close/>
                <a:moveTo>
                  <a:pt x="2678489" y="28318"/>
                </a:moveTo>
                <a:cubicBezTo>
                  <a:pt x="2675858" y="28322"/>
                  <a:pt x="2672942" y="28370"/>
                  <a:pt x="2669739" y="28461"/>
                </a:cubicBezTo>
                <a:cubicBezTo>
                  <a:pt x="2666537" y="28551"/>
                  <a:pt x="2663049" y="28656"/>
                  <a:pt x="2659275" y="28775"/>
                </a:cubicBezTo>
                <a:lnTo>
                  <a:pt x="2659275" y="76352"/>
                </a:lnTo>
                <a:lnTo>
                  <a:pt x="2677574" y="76352"/>
                </a:lnTo>
                <a:cubicBezTo>
                  <a:pt x="2685956" y="76352"/>
                  <a:pt x="2693094" y="74294"/>
                  <a:pt x="2698989" y="70176"/>
                </a:cubicBezTo>
                <a:cubicBezTo>
                  <a:pt x="2704883" y="66059"/>
                  <a:pt x="2707962" y="59883"/>
                  <a:pt x="2708224" y="51649"/>
                </a:cubicBezTo>
                <a:cubicBezTo>
                  <a:pt x="2708415" y="45173"/>
                  <a:pt x="2706318" y="39711"/>
                  <a:pt x="2701934" y="35265"/>
                </a:cubicBezTo>
                <a:cubicBezTo>
                  <a:pt x="2697550" y="30819"/>
                  <a:pt x="2689734" y="28503"/>
                  <a:pt x="2678489" y="28318"/>
                </a:cubicBezTo>
                <a:close/>
                <a:moveTo>
                  <a:pt x="649663" y="28318"/>
                </a:moveTo>
                <a:cubicBezTo>
                  <a:pt x="647033" y="28322"/>
                  <a:pt x="644117" y="28370"/>
                  <a:pt x="640914" y="28461"/>
                </a:cubicBezTo>
                <a:cubicBezTo>
                  <a:pt x="637712" y="28551"/>
                  <a:pt x="634224" y="28656"/>
                  <a:pt x="630450" y="28775"/>
                </a:cubicBezTo>
                <a:lnTo>
                  <a:pt x="630450" y="76352"/>
                </a:lnTo>
                <a:lnTo>
                  <a:pt x="648749" y="76352"/>
                </a:lnTo>
                <a:cubicBezTo>
                  <a:pt x="657131" y="76352"/>
                  <a:pt x="664269" y="74294"/>
                  <a:pt x="670164" y="70176"/>
                </a:cubicBezTo>
                <a:cubicBezTo>
                  <a:pt x="676058" y="66059"/>
                  <a:pt x="679137" y="59883"/>
                  <a:pt x="679399" y="51649"/>
                </a:cubicBezTo>
                <a:cubicBezTo>
                  <a:pt x="679589" y="45173"/>
                  <a:pt x="677493" y="39711"/>
                  <a:pt x="673109" y="35265"/>
                </a:cubicBezTo>
                <a:cubicBezTo>
                  <a:pt x="668725" y="30819"/>
                  <a:pt x="660909" y="28503"/>
                  <a:pt x="649663" y="28318"/>
                </a:cubicBezTo>
                <a:close/>
                <a:moveTo>
                  <a:pt x="373438" y="28318"/>
                </a:moveTo>
                <a:cubicBezTo>
                  <a:pt x="370808" y="28322"/>
                  <a:pt x="367892" y="28370"/>
                  <a:pt x="364689" y="28461"/>
                </a:cubicBezTo>
                <a:cubicBezTo>
                  <a:pt x="361487" y="28551"/>
                  <a:pt x="357999" y="28656"/>
                  <a:pt x="354225" y="28775"/>
                </a:cubicBezTo>
                <a:lnTo>
                  <a:pt x="354225" y="76352"/>
                </a:lnTo>
                <a:lnTo>
                  <a:pt x="372523" y="76352"/>
                </a:lnTo>
                <a:cubicBezTo>
                  <a:pt x="380906" y="76352"/>
                  <a:pt x="388044" y="74294"/>
                  <a:pt x="393939" y="70176"/>
                </a:cubicBezTo>
                <a:cubicBezTo>
                  <a:pt x="399833" y="66059"/>
                  <a:pt x="402912" y="59883"/>
                  <a:pt x="403174" y="51649"/>
                </a:cubicBezTo>
                <a:cubicBezTo>
                  <a:pt x="403364" y="45173"/>
                  <a:pt x="401268" y="39711"/>
                  <a:pt x="396884" y="35265"/>
                </a:cubicBezTo>
                <a:cubicBezTo>
                  <a:pt x="392500" y="30819"/>
                  <a:pt x="384684" y="28503"/>
                  <a:pt x="373438" y="28318"/>
                </a:cubicBezTo>
                <a:close/>
                <a:moveTo>
                  <a:pt x="1959544" y="26260"/>
                </a:moveTo>
                <a:cubicBezTo>
                  <a:pt x="1943910" y="26532"/>
                  <a:pt x="1931162" y="31762"/>
                  <a:pt x="1921301" y="41952"/>
                </a:cubicBezTo>
                <a:cubicBezTo>
                  <a:pt x="1911440" y="52141"/>
                  <a:pt x="1906352" y="65660"/>
                  <a:pt x="1906038" y="82510"/>
                </a:cubicBezTo>
                <a:cubicBezTo>
                  <a:pt x="1906395" y="98859"/>
                  <a:pt x="1911569" y="112235"/>
                  <a:pt x="1921558" y="122639"/>
                </a:cubicBezTo>
                <a:cubicBezTo>
                  <a:pt x="1931548" y="133043"/>
                  <a:pt x="1944210" y="138417"/>
                  <a:pt x="1959544" y="138760"/>
                </a:cubicBezTo>
                <a:cubicBezTo>
                  <a:pt x="1976489" y="138388"/>
                  <a:pt x="1989646" y="132958"/>
                  <a:pt x="1999017" y="122468"/>
                </a:cubicBezTo>
                <a:cubicBezTo>
                  <a:pt x="2008387" y="111978"/>
                  <a:pt x="2013142" y="98659"/>
                  <a:pt x="2013280" y="82510"/>
                </a:cubicBezTo>
                <a:cubicBezTo>
                  <a:pt x="2012927" y="65660"/>
                  <a:pt x="2007744" y="52141"/>
                  <a:pt x="1997731" y="41952"/>
                </a:cubicBezTo>
                <a:cubicBezTo>
                  <a:pt x="1987717" y="31762"/>
                  <a:pt x="1974988" y="26532"/>
                  <a:pt x="1959544" y="26260"/>
                </a:cubicBezTo>
                <a:close/>
                <a:moveTo>
                  <a:pt x="4296080" y="2743"/>
                </a:moveTo>
                <a:lnTo>
                  <a:pt x="4328084" y="2743"/>
                </a:lnTo>
                <a:lnTo>
                  <a:pt x="4367844" y="69615"/>
                </a:lnTo>
                <a:lnTo>
                  <a:pt x="4407151" y="2743"/>
                </a:lnTo>
                <a:lnTo>
                  <a:pt x="4437554" y="2743"/>
                </a:lnTo>
                <a:lnTo>
                  <a:pt x="4380633" y="95861"/>
                </a:lnTo>
                <a:lnTo>
                  <a:pt x="4380633" y="162506"/>
                </a:lnTo>
                <a:lnTo>
                  <a:pt x="4352544" y="162506"/>
                </a:lnTo>
                <a:lnTo>
                  <a:pt x="4352544" y="95861"/>
                </a:lnTo>
                <a:close/>
                <a:moveTo>
                  <a:pt x="4021836" y="2743"/>
                </a:moveTo>
                <a:lnTo>
                  <a:pt x="4114390" y="2743"/>
                </a:lnTo>
                <a:lnTo>
                  <a:pt x="4114390" y="29003"/>
                </a:lnTo>
                <a:lnTo>
                  <a:pt x="4049925" y="29003"/>
                </a:lnTo>
                <a:lnTo>
                  <a:pt x="4049925" y="68580"/>
                </a:lnTo>
                <a:lnTo>
                  <a:pt x="4107532" y="68580"/>
                </a:lnTo>
                <a:lnTo>
                  <a:pt x="4107532" y="94840"/>
                </a:lnTo>
                <a:lnTo>
                  <a:pt x="4049925" y="94840"/>
                </a:lnTo>
                <a:lnTo>
                  <a:pt x="4049925" y="136245"/>
                </a:lnTo>
                <a:lnTo>
                  <a:pt x="4116677" y="136245"/>
                </a:lnTo>
                <a:lnTo>
                  <a:pt x="4116677" y="162506"/>
                </a:lnTo>
                <a:lnTo>
                  <a:pt x="4021836" y="162506"/>
                </a:lnTo>
                <a:close/>
                <a:moveTo>
                  <a:pt x="3868597" y="2743"/>
                </a:moveTo>
                <a:lnTo>
                  <a:pt x="4000471" y="2743"/>
                </a:lnTo>
                <a:lnTo>
                  <a:pt x="4000471" y="29003"/>
                </a:lnTo>
                <a:lnTo>
                  <a:pt x="3948579" y="29003"/>
                </a:lnTo>
                <a:lnTo>
                  <a:pt x="3948579" y="162506"/>
                </a:lnTo>
                <a:lnTo>
                  <a:pt x="3920490" y="162506"/>
                </a:lnTo>
                <a:lnTo>
                  <a:pt x="3920490" y="29003"/>
                </a:lnTo>
                <a:lnTo>
                  <a:pt x="3868597" y="29003"/>
                </a:lnTo>
                <a:close/>
                <a:moveTo>
                  <a:pt x="3430447" y="2743"/>
                </a:moveTo>
                <a:lnTo>
                  <a:pt x="3562321" y="2743"/>
                </a:lnTo>
                <a:lnTo>
                  <a:pt x="3562321" y="29003"/>
                </a:lnTo>
                <a:lnTo>
                  <a:pt x="3510429" y="29003"/>
                </a:lnTo>
                <a:lnTo>
                  <a:pt x="3510429" y="162506"/>
                </a:lnTo>
                <a:lnTo>
                  <a:pt x="3482340" y="162506"/>
                </a:lnTo>
                <a:lnTo>
                  <a:pt x="3482340" y="29003"/>
                </a:lnTo>
                <a:lnTo>
                  <a:pt x="3430447" y="29003"/>
                </a:lnTo>
                <a:close/>
                <a:moveTo>
                  <a:pt x="3164586" y="2743"/>
                </a:moveTo>
                <a:lnTo>
                  <a:pt x="3192675" y="2743"/>
                </a:lnTo>
                <a:lnTo>
                  <a:pt x="3192675" y="136245"/>
                </a:lnTo>
                <a:lnTo>
                  <a:pt x="3264684" y="136245"/>
                </a:lnTo>
                <a:lnTo>
                  <a:pt x="3264684" y="162506"/>
                </a:lnTo>
                <a:lnTo>
                  <a:pt x="3164586" y="162506"/>
                </a:lnTo>
                <a:close/>
                <a:moveTo>
                  <a:pt x="2929890" y="2743"/>
                </a:moveTo>
                <a:lnTo>
                  <a:pt x="2957979" y="2743"/>
                </a:lnTo>
                <a:lnTo>
                  <a:pt x="2957979" y="162506"/>
                </a:lnTo>
                <a:lnTo>
                  <a:pt x="2929890" y="162506"/>
                </a:lnTo>
                <a:close/>
                <a:moveTo>
                  <a:pt x="2497836" y="2743"/>
                </a:moveTo>
                <a:lnTo>
                  <a:pt x="2590390" y="2743"/>
                </a:lnTo>
                <a:lnTo>
                  <a:pt x="2590390" y="29003"/>
                </a:lnTo>
                <a:lnTo>
                  <a:pt x="2525925" y="29003"/>
                </a:lnTo>
                <a:lnTo>
                  <a:pt x="2525925" y="68580"/>
                </a:lnTo>
                <a:lnTo>
                  <a:pt x="2583532" y="68580"/>
                </a:lnTo>
                <a:lnTo>
                  <a:pt x="2583532" y="94840"/>
                </a:lnTo>
                <a:lnTo>
                  <a:pt x="2525925" y="94840"/>
                </a:lnTo>
                <a:lnTo>
                  <a:pt x="2525925" y="136245"/>
                </a:lnTo>
                <a:lnTo>
                  <a:pt x="2592676" y="136245"/>
                </a:lnTo>
                <a:lnTo>
                  <a:pt x="2592676" y="162506"/>
                </a:lnTo>
                <a:lnTo>
                  <a:pt x="2497836" y="162506"/>
                </a:lnTo>
                <a:close/>
                <a:moveTo>
                  <a:pt x="2288286" y="2743"/>
                </a:moveTo>
                <a:lnTo>
                  <a:pt x="2316604" y="2743"/>
                </a:lnTo>
                <a:lnTo>
                  <a:pt x="2371254" y="77375"/>
                </a:lnTo>
                <a:lnTo>
                  <a:pt x="2423387" y="2743"/>
                </a:lnTo>
                <a:lnTo>
                  <a:pt x="2449877" y="2743"/>
                </a:lnTo>
                <a:lnTo>
                  <a:pt x="2449877" y="162506"/>
                </a:lnTo>
                <a:lnTo>
                  <a:pt x="2422017" y="162506"/>
                </a:lnTo>
                <a:lnTo>
                  <a:pt x="2422017" y="47019"/>
                </a:lnTo>
                <a:lnTo>
                  <a:pt x="2371483" y="118000"/>
                </a:lnTo>
                <a:lnTo>
                  <a:pt x="2367367" y="118000"/>
                </a:lnTo>
                <a:lnTo>
                  <a:pt x="2316375" y="47704"/>
                </a:lnTo>
                <a:lnTo>
                  <a:pt x="2316375" y="162506"/>
                </a:lnTo>
                <a:lnTo>
                  <a:pt x="2288286" y="162506"/>
                </a:lnTo>
                <a:close/>
                <a:moveTo>
                  <a:pt x="2078736" y="2743"/>
                </a:moveTo>
                <a:lnTo>
                  <a:pt x="2107054" y="2743"/>
                </a:lnTo>
                <a:lnTo>
                  <a:pt x="2161704" y="77375"/>
                </a:lnTo>
                <a:lnTo>
                  <a:pt x="2213837" y="2743"/>
                </a:lnTo>
                <a:lnTo>
                  <a:pt x="2240327" y="2743"/>
                </a:lnTo>
                <a:lnTo>
                  <a:pt x="2240327" y="162506"/>
                </a:lnTo>
                <a:lnTo>
                  <a:pt x="2212467" y="162506"/>
                </a:lnTo>
                <a:lnTo>
                  <a:pt x="2212467" y="47019"/>
                </a:lnTo>
                <a:lnTo>
                  <a:pt x="2161933" y="118000"/>
                </a:lnTo>
                <a:lnTo>
                  <a:pt x="2157817" y="118000"/>
                </a:lnTo>
                <a:lnTo>
                  <a:pt x="2106825" y="47704"/>
                </a:lnTo>
                <a:lnTo>
                  <a:pt x="2106825" y="162506"/>
                </a:lnTo>
                <a:lnTo>
                  <a:pt x="2078736" y="162506"/>
                </a:lnTo>
                <a:close/>
                <a:moveTo>
                  <a:pt x="916686" y="2743"/>
                </a:moveTo>
                <a:lnTo>
                  <a:pt x="939064" y="2743"/>
                </a:lnTo>
                <a:lnTo>
                  <a:pt x="1027100" y="113892"/>
                </a:lnTo>
                <a:lnTo>
                  <a:pt x="1027100" y="2743"/>
                </a:lnTo>
                <a:lnTo>
                  <a:pt x="1053360" y="2743"/>
                </a:lnTo>
                <a:lnTo>
                  <a:pt x="1053360" y="162506"/>
                </a:lnTo>
                <a:lnTo>
                  <a:pt x="1030982" y="162506"/>
                </a:lnTo>
                <a:lnTo>
                  <a:pt x="942946" y="51812"/>
                </a:lnTo>
                <a:lnTo>
                  <a:pt x="942946" y="162506"/>
                </a:lnTo>
                <a:lnTo>
                  <a:pt x="916686" y="162506"/>
                </a:lnTo>
                <a:close/>
                <a:moveTo>
                  <a:pt x="449123" y="2743"/>
                </a:moveTo>
                <a:lnTo>
                  <a:pt x="580996" y="2743"/>
                </a:lnTo>
                <a:lnTo>
                  <a:pt x="580996" y="29003"/>
                </a:lnTo>
                <a:lnTo>
                  <a:pt x="529104" y="29003"/>
                </a:lnTo>
                <a:lnTo>
                  <a:pt x="529104" y="162506"/>
                </a:lnTo>
                <a:lnTo>
                  <a:pt x="501015" y="162506"/>
                </a:lnTo>
                <a:lnTo>
                  <a:pt x="501015" y="29003"/>
                </a:lnTo>
                <a:lnTo>
                  <a:pt x="449123" y="29003"/>
                </a:lnTo>
                <a:close/>
                <a:moveTo>
                  <a:pt x="173736" y="2743"/>
                </a:moveTo>
                <a:lnTo>
                  <a:pt x="201825" y="2743"/>
                </a:lnTo>
                <a:lnTo>
                  <a:pt x="201825" y="78516"/>
                </a:lnTo>
                <a:lnTo>
                  <a:pt x="264919" y="2743"/>
                </a:lnTo>
                <a:lnTo>
                  <a:pt x="298751" y="2743"/>
                </a:lnTo>
                <a:lnTo>
                  <a:pt x="232915" y="77146"/>
                </a:lnTo>
                <a:lnTo>
                  <a:pt x="302866" y="162506"/>
                </a:lnTo>
                <a:lnTo>
                  <a:pt x="267204" y="162506"/>
                </a:lnTo>
                <a:lnTo>
                  <a:pt x="201825" y="80113"/>
                </a:lnTo>
                <a:lnTo>
                  <a:pt x="201825" y="162506"/>
                </a:lnTo>
                <a:lnTo>
                  <a:pt x="173736" y="162506"/>
                </a:lnTo>
                <a:close/>
                <a:moveTo>
                  <a:pt x="0" y="2743"/>
                </a:moveTo>
                <a:lnTo>
                  <a:pt x="28089" y="2743"/>
                </a:lnTo>
                <a:lnTo>
                  <a:pt x="28089" y="88781"/>
                </a:lnTo>
                <a:cubicBezTo>
                  <a:pt x="28027" y="103943"/>
                  <a:pt x="31238" y="116010"/>
                  <a:pt x="37722" y="124981"/>
                </a:cubicBezTo>
                <a:cubicBezTo>
                  <a:pt x="44207" y="133953"/>
                  <a:pt x="54336" y="138546"/>
                  <a:pt x="68109" y="138760"/>
                </a:cubicBezTo>
                <a:cubicBezTo>
                  <a:pt x="80201" y="138693"/>
                  <a:pt x="89177" y="134547"/>
                  <a:pt x="95037" y="126322"/>
                </a:cubicBezTo>
                <a:cubicBezTo>
                  <a:pt x="100897" y="118097"/>
                  <a:pt x="103813" y="106192"/>
                  <a:pt x="103784" y="90606"/>
                </a:cubicBezTo>
                <a:lnTo>
                  <a:pt x="103784" y="2743"/>
                </a:lnTo>
                <a:lnTo>
                  <a:pt x="131645" y="2743"/>
                </a:lnTo>
                <a:lnTo>
                  <a:pt x="131645" y="96312"/>
                </a:lnTo>
                <a:cubicBezTo>
                  <a:pt x="131483" y="112536"/>
                  <a:pt x="128482" y="125710"/>
                  <a:pt x="122643" y="135833"/>
                </a:cubicBezTo>
                <a:cubicBezTo>
                  <a:pt x="116804" y="145955"/>
                  <a:pt x="109097" y="153365"/>
                  <a:pt x="99522" y="158061"/>
                </a:cubicBezTo>
                <a:cubicBezTo>
                  <a:pt x="89948" y="162757"/>
                  <a:pt x="79477" y="165077"/>
                  <a:pt x="68109" y="165020"/>
                </a:cubicBezTo>
                <a:cubicBezTo>
                  <a:pt x="47862" y="165015"/>
                  <a:pt x="31537" y="159146"/>
                  <a:pt x="19133" y="147412"/>
                </a:cubicBezTo>
                <a:cubicBezTo>
                  <a:pt x="6728" y="135678"/>
                  <a:pt x="351" y="118112"/>
                  <a:pt x="0" y="94714"/>
                </a:cubicBezTo>
                <a:close/>
                <a:moveTo>
                  <a:pt x="3783163" y="2057"/>
                </a:moveTo>
                <a:lnTo>
                  <a:pt x="3807852" y="2057"/>
                </a:lnTo>
                <a:lnTo>
                  <a:pt x="3875518" y="162506"/>
                </a:lnTo>
                <a:lnTo>
                  <a:pt x="3845571" y="162506"/>
                </a:lnTo>
                <a:lnTo>
                  <a:pt x="3828883" y="121586"/>
                </a:lnTo>
                <a:lnTo>
                  <a:pt x="3760532" y="121586"/>
                </a:lnTo>
                <a:lnTo>
                  <a:pt x="3743844" y="162506"/>
                </a:lnTo>
                <a:lnTo>
                  <a:pt x="3715497" y="162506"/>
                </a:lnTo>
                <a:close/>
                <a:moveTo>
                  <a:pt x="3632361" y="2057"/>
                </a:moveTo>
                <a:cubicBezTo>
                  <a:pt x="3653883" y="2385"/>
                  <a:pt x="3669016" y="7153"/>
                  <a:pt x="3677761" y="16362"/>
                </a:cubicBezTo>
                <a:cubicBezTo>
                  <a:pt x="3686506" y="25572"/>
                  <a:pt x="3690724" y="37258"/>
                  <a:pt x="3690413" y="51420"/>
                </a:cubicBezTo>
                <a:cubicBezTo>
                  <a:pt x="3690278" y="60539"/>
                  <a:pt x="3688595" y="68217"/>
                  <a:pt x="3685363" y="74454"/>
                </a:cubicBezTo>
                <a:cubicBezTo>
                  <a:pt x="3682132" y="80690"/>
                  <a:pt x="3678165" y="85655"/>
                  <a:pt x="3673462" y="89350"/>
                </a:cubicBezTo>
                <a:cubicBezTo>
                  <a:pt x="3668759" y="93044"/>
                  <a:pt x="3664131" y="95638"/>
                  <a:pt x="3659580" y="97132"/>
                </a:cubicBezTo>
                <a:lnTo>
                  <a:pt x="3709616" y="162506"/>
                </a:lnTo>
                <a:lnTo>
                  <a:pt x="3675569" y="162506"/>
                </a:lnTo>
                <a:lnTo>
                  <a:pt x="3631446" y="102613"/>
                </a:lnTo>
                <a:lnTo>
                  <a:pt x="3611775" y="102613"/>
                </a:lnTo>
                <a:lnTo>
                  <a:pt x="3611775" y="162506"/>
                </a:lnTo>
                <a:lnTo>
                  <a:pt x="3583686" y="162506"/>
                </a:lnTo>
                <a:lnTo>
                  <a:pt x="3583686" y="2514"/>
                </a:lnTo>
                <a:cubicBezTo>
                  <a:pt x="3587006" y="2508"/>
                  <a:pt x="3592193" y="2469"/>
                  <a:pt x="3599247" y="2395"/>
                </a:cubicBezTo>
                <a:cubicBezTo>
                  <a:pt x="3606301" y="2322"/>
                  <a:pt x="3613114" y="2249"/>
                  <a:pt x="3619687" y="2176"/>
                </a:cubicBezTo>
                <a:cubicBezTo>
                  <a:pt x="3626260" y="2102"/>
                  <a:pt x="3630485" y="2063"/>
                  <a:pt x="3632361" y="2057"/>
                </a:cubicBezTo>
                <a:close/>
                <a:moveTo>
                  <a:pt x="3049738" y="2057"/>
                </a:moveTo>
                <a:lnTo>
                  <a:pt x="3074427" y="2057"/>
                </a:lnTo>
                <a:lnTo>
                  <a:pt x="3142092" y="162506"/>
                </a:lnTo>
                <a:lnTo>
                  <a:pt x="3112146" y="162506"/>
                </a:lnTo>
                <a:lnTo>
                  <a:pt x="3095458" y="121586"/>
                </a:lnTo>
                <a:lnTo>
                  <a:pt x="3027107" y="121586"/>
                </a:lnTo>
                <a:lnTo>
                  <a:pt x="3010419" y="162506"/>
                </a:lnTo>
                <a:lnTo>
                  <a:pt x="2982072" y="162506"/>
                </a:lnTo>
                <a:close/>
                <a:moveTo>
                  <a:pt x="2679861" y="2057"/>
                </a:moveTo>
                <a:cubicBezTo>
                  <a:pt x="2701383" y="2385"/>
                  <a:pt x="2716516" y="7153"/>
                  <a:pt x="2725261" y="16362"/>
                </a:cubicBezTo>
                <a:cubicBezTo>
                  <a:pt x="2734006" y="25572"/>
                  <a:pt x="2738223" y="37258"/>
                  <a:pt x="2737913" y="51420"/>
                </a:cubicBezTo>
                <a:cubicBezTo>
                  <a:pt x="2737778" y="60539"/>
                  <a:pt x="2736095" y="68217"/>
                  <a:pt x="2732863" y="74454"/>
                </a:cubicBezTo>
                <a:cubicBezTo>
                  <a:pt x="2729632" y="80690"/>
                  <a:pt x="2725665" y="85655"/>
                  <a:pt x="2720962" y="89350"/>
                </a:cubicBezTo>
                <a:cubicBezTo>
                  <a:pt x="2716259" y="93044"/>
                  <a:pt x="2711631" y="95638"/>
                  <a:pt x="2707080" y="97132"/>
                </a:cubicBezTo>
                <a:lnTo>
                  <a:pt x="2757116" y="162506"/>
                </a:lnTo>
                <a:lnTo>
                  <a:pt x="2723069" y="162506"/>
                </a:lnTo>
                <a:lnTo>
                  <a:pt x="2678946" y="102613"/>
                </a:lnTo>
                <a:lnTo>
                  <a:pt x="2659275" y="102613"/>
                </a:lnTo>
                <a:lnTo>
                  <a:pt x="2659275" y="162506"/>
                </a:lnTo>
                <a:lnTo>
                  <a:pt x="2631186" y="162506"/>
                </a:lnTo>
                <a:lnTo>
                  <a:pt x="2631186" y="2514"/>
                </a:lnTo>
                <a:cubicBezTo>
                  <a:pt x="2634506" y="2508"/>
                  <a:pt x="2639693" y="2469"/>
                  <a:pt x="2646747" y="2395"/>
                </a:cubicBezTo>
                <a:cubicBezTo>
                  <a:pt x="2653801" y="2322"/>
                  <a:pt x="2660615" y="2249"/>
                  <a:pt x="2667187" y="2176"/>
                </a:cubicBezTo>
                <a:cubicBezTo>
                  <a:pt x="2673760" y="2102"/>
                  <a:pt x="2677985" y="2063"/>
                  <a:pt x="2679861" y="2057"/>
                </a:cubicBezTo>
                <a:close/>
                <a:moveTo>
                  <a:pt x="1430488" y="2057"/>
                </a:moveTo>
                <a:lnTo>
                  <a:pt x="1455177" y="2057"/>
                </a:lnTo>
                <a:lnTo>
                  <a:pt x="1522766" y="162325"/>
                </a:lnTo>
                <a:lnTo>
                  <a:pt x="1522766" y="143324"/>
                </a:lnTo>
                <a:lnTo>
                  <a:pt x="1611235" y="29003"/>
                </a:lnTo>
                <a:lnTo>
                  <a:pt x="1527338" y="29003"/>
                </a:lnTo>
                <a:lnTo>
                  <a:pt x="1527338" y="2743"/>
                </a:lnTo>
                <a:lnTo>
                  <a:pt x="1648954" y="2743"/>
                </a:lnTo>
                <a:lnTo>
                  <a:pt x="1648954" y="22153"/>
                </a:lnTo>
                <a:lnTo>
                  <a:pt x="1560257" y="136245"/>
                </a:lnTo>
                <a:lnTo>
                  <a:pt x="1651239" y="136245"/>
                </a:lnTo>
                <a:lnTo>
                  <a:pt x="1651239" y="162506"/>
                </a:lnTo>
                <a:lnTo>
                  <a:pt x="1522842" y="162506"/>
                </a:lnTo>
                <a:lnTo>
                  <a:pt x="1492896" y="162506"/>
                </a:lnTo>
                <a:lnTo>
                  <a:pt x="1476208" y="121586"/>
                </a:lnTo>
                <a:lnTo>
                  <a:pt x="1407857" y="121586"/>
                </a:lnTo>
                <a:lnTo>
                  <a:pt x="1391169" y="162506"/>
                </a:lnTo>
                <a:lnTo>
                  <a:pt x="1362822" y="162506"/>
                </a:lnTo>
                <a:close/>
                <a:moveTo>
                  <a:pt x="801838" y="2057"/>
                </a:moveTo>
                <a:lnTo>
                  <a:pt x="826527" y="2057"/>
                </a:lnTo>
                <a:lnTo>
                  <a:pt x="894192" y="162506"/>
                </a:lnTo>
                <a:lnTo>
                  <a:pt x="864246" y="162506"/>
                </a:lnTo>
                <a:lnTo>
                  <a:pt x="847558" y="121586"/>
                </a:lnTo>
                <a:lnTo>
                  <a:pt x="779207" y="121586"/>
                </a:lnTo>
                <a:lnTo>
                  <a:pt x="762519" y="162506"/>
                </a:lnTo>
                <a:lnTo>
                  <a:pt x="734172" y="162506"/>
                </a:lnTo>
                <a:close/>
                <a:moveTo>
                  <a:pt x="651036" y="2057"/>
                </a:moveTo>
                <a:cubicBezTo>
                  <a:pt x="672558" y="2385"/>
                  <a:pt x="687691" y="7153"/>
                  <a:pt x="696436" y="16362"/>
                </a:cubicBezTo>
                <a:cubicBezTo>
                  <a:pt x="705181" y="25572"/>
                  <a:pt x="709399" y="37258"/>
                  <a:pt x="709088" y="51420"/>
                </a:cubicBezTo>
                <a:cubicBezTo>
                  <a:pt x="708953" y="60539"/>
                  <a:pt x="707270" y="68217"/>
                  <a:pt x="704039" y="74454"/>
                </a:cubicBezTo>
                <a:cubicBezTo>
                  <a:pt x="700807" y="80690"/>
                  <a:pt x="696840" y="85655"/>
                  <a:pt x="692137" y="89350"/>
                </a:cubicBezTo>
                <a:cubicBezTo>
                  <a:pt x="687434" y="93044"/>
                  <a:pt x="682806" y="95638"/>
                  <a:pt x="678255" y="97132"/>
                </a:cubicBezTo>
                <a:lnTo>
                  <a:pt x="728291" y="162506"/>
                </a:lnTo>
                <a:lnTo>
                  <a:pt x="694244" y="162506"/>
                </a:lnTo>
                <a:lnTo>
                  <a:pt x="650121" y="102613"/>
                </a:lnTo>
                <a:lnTo>
                  <a:pt x="630450" y="102613"/>
                </a:lnTo>
                <a:lnTo>
                  <a:pt x="630450" y="162506"/>
                </a:lnTo>
                <a:lnTo>
                  <a:pt x="602361" y="162506"/>
                </a:lnTo>
                <a:lnTo>
                  <a:pt x="602361" y="2514"/>
                </a:lnTo>
                <a:cubicBezTo>
                  <a:pt x="605681" y="2508"/>
                  <a:pt x="610868" y="2469"/>
                  <a:pt x="617922" y="2395"/>
                </a:cubicBezTo>
                <a:cubicBezTo>
                  <a:pt x="624976" y="2322"/>
                  <a:pt x="631790" y="2249"/>
                  <a:pt x="638362" y="2176"/>
                </a:cubicBezTo>
                <a:cubicBezTo>
                  <a:pt x="644935" y="2102"/>
                  <a:pt x="649160" y="2063"/>
                  <a:pt x="651036" y="2057"/>
                </a:cubicBezTo>
                <a:close/>
                <a:moveTo>
                  <a:pt x="374811" y="2057"/>
                </a:moveTo>
                <a:cubicBezTo>
                  <a:pt x="396333" y="2385"/>
                  <a:pt x="411466" y="7153"/>
                  <a:pt x="420211" y="16362"/>
                </a:cubicBezTo>
                <a:cubicBezTo>
                  <a:pt x="428956" y="25572"/>
                  <a:pt x="433174" y="37258"/>
                  <a:pt x="432863" y="51420"/>
                </a:cubicBezTo>
                <a:cubicBezTo>
                  <a:pt x="432728" y="60539"/>
                  <a:pt x="431045" y="68217"/>
                  <a:pt x="427813" y="74454"/>
                </a:cubicBezTo>
                <a:cubicBezTo>
                  <a:pt x="424582" y="80690"/>
                  <a:pt x="420615" y="85655"/>
                  <a:pt x="415912" y="89350"/>
                </a:cubicBezTo>
                <a:cubicBezTo>
                  <a:pt x="411209" y="93044"/>
                  <a:pt x="406581" y="95638"/>
                  <a:pt x="402030" y="97132"/>
                </a:cubicBezTo>
                <a:lnTo>
                  <a:pt x="452066" y="162506"/>
                </a:lnTo>
                <a:lnTo>
                  <a:pt x="418019" y="162506"/>
                </a:lnTo>
                <a:lnTo>
                  <a:pt x="373896" y="102613"/>
                </a:lnTo>
                <a:lnTo>
                  <a:pt x="354225" y="102613"/>
                </a:lnTo>
                <a:lnTo>
                  <a:pt x="354225" y="162506"/>
                </a:lnTo>
                <a:lnTo>
                  <a:pt x="326136" y="162506"/>
                </a:lnTo>
                <a:lnTo>
                  <a:pt x="326136" y="2514"/>
                </a:lnTo>
                <a:cubicBezTo>
                  <a:pt x="329456" y="2508"/>
                  <a:pt x="334643" y="2469"/>
                  <a:pt x="341697" y="2395"/>
                </a:cubicBezTo>
                <a:cubicBezTo>
                  <a:pt x="348751" y="2322"/>
                  <a:pt x="355565" y="2249"/>
                  <a:pt x="362137" y="2176"/>
                </a:cubicBezTo>
                <a:cubicBezTo>
                  <a:pt x="368710" y="2102"/>
                  <a:pt x="372935" y="2063"/>
                  <a:pt x="374811" y="2057"/>
                </a:cubicBezTo>
                <a:close/>
                <a:moveTo>
                  <a:pt x="4223067" y="0"/>
                </a:moveTo>
                <a:cubicBezTo>
                  <a:pt x="4234401" y="33"/>
                  <a:pt x="4244205" y="1451"/>
                  <a:pt x="4252478" y="4253"/>
                </a:cubicBezTo>
                <a:cubicBezTo>
                  <a:pt x="4260751" y="7055"/>
                  <a:pt x="4268091" y="11041"/>
                  <a:pt x="4274500" y="16213"/>
                </a:cubicBezTo>
                <a:lnTo>
                  <a:pt x="4262625" y="38612"/>
                </a:lnTo>
                <a:cubicBezTo>
                  <a:pt x="4258491" y="34795"/>
                  <a:pt x="4253214" y="31793"/>
                  <a:pt x="4246792" y="29605"/>
                </a:cubicBezTo>
                <a:cubicBezTo>
                  <a:pt x="4240370" y="27418"/>
                  <a:pt x="4233606" y="26303"/>
                  <a:pt x="4226498" y="26260"/>
                </a:cubicBezTo>
                <a:cubicBezTo>
                  <a:pt x="4210762" y="26375"/>
                  <a:pt x="4197985" y="31292"/>
                  <a:pt x="4188166" y="41012"/>
                </a:cubicBezTo>
                <a:cubicBezTo>
                  <a:pt x="4178347" y="50732"/>
                  <a:pt x="4173288" y="64567"/>
                  <a:pt x="4172988" y="82518"/>
                </a:cubicBezTo>
                <a:cubicBezTo>
                  <a:pt x="4173216" y="99758"/>
                  <a:pt x="4178190" y="113388"/>
                  <a:pt x="4187909" y="123408"/>
                </a:cubicBezTo>
                <a:cubicBezTo>
                  <a:pt x="4197628" y="133427"/>
                  <a:pt x="4210719" y="138545"/>
                  <a:pt x="4227183" y="138760"/>
                </a:cubicBezTo>
                <a:cubicBezTo>
                  <a:pt x="4233596" y="138660"/>
                  <a:pt x="4239922" y="137545"/>
                  <a:pt x="4246164" y="135414"/>
                </a:cubicBezTo>
                <a:cubicBezTo>
                  <a:pt x="4252405" y="133283"/>
                  <a:pt x="4257130" y="130738"/>
                  <a:pt x="4260342" y="127778"/>
                </a:cubicBezTo>
                <a:lnTo>
                  <a:pt x="4260342" y="102613"/>
                </a:lnTo>
                <a:lnTo>
                  <a:pt x="4221695" y="102613"/>
                </a:lnTo>
                <a:lnTo>
                  <a:pt x="4221695" y="76352"/>
                </a:lnTo>
                <a:lnTo>
                  <a:pt x="4286602" y="76352"/>
                </a:lnTo>
                <a:lnTo>
                  <a:pt x="4286602" y="142642"/>
                </a:lnTo>
                <a:cubicBezTo>
                  <a:pt x="4279157" y="149768"/>
                  <a:pt x="4269895" y="155268"/>
                  <a:pt x="4258816" y="159140"/>
                </a:cubicBezTo>
                <a:cubicBezTo>
                  <a:pt x="4247737" y="163013"/>
                  <a:pt x="4237040" y="164973"/>
                  <a:pt x="4226726" y="165020"/>
                </a:cubicBezTo>
                <a:cubicBezTo>
                  <a:pt x="4200340" y="164698"/>
                  <a:pt x="4179890" y="157177"/>
                  <a:pt x="4165375" y="142458"/>
                </a:cubicBezTo>
                <a:cubicBezTo>
                  <a:pt x="4150860" y="127739"/>
                  <a:pt x="4143502" y="107759"/>
                  <a:pt x="4143298" y="82518"/>
                </a:cubicBezTo>
                <a:cubicBezTo>
                  <a:pt x="4143377" y="67029"/>
                  <a:pt x="4146646" y="53088"/>
                  <a:pt x="4153105" y="40695"/>
                </a:cubicBezTo>
                <a:cubicBezTo>
                  <a:pt x="4159563" y="28303"/>
                  <a:pt x="4168741" y="18464"/>
                  <a:pt x="4180637" y="11179"/>
                </a:cubicBezTo>
                <a:cubicBezTo>
                  <a:pt x="4192533" y="3894"/>
                  <a:pt x="4206677" y="167"/>
                  <a:pt x="4223067" y="0"/>
                </a:cubicBezTo>
                <a:close/>
                <a:moveTo>
                  <a:pt x="3368101" y="0"/>
                </a:moveTo>
                <a:cubicBezTo>
                  <a:pt x="3378013" y="57"/>
                  <a:pt x="3386892" y="1598"/>
                  <a:pt x="3394738" y="4624"/>
                </a:cubicBezTo>
                <a:cubicBezTo>
                  <a:pt x="3402583" y="7649"/>
                  <a:pt x="3408942" y="11817"/>
                  <a:pt x="3413814" y="17126"/>
                </a:cubicBezTo>
                <a:lnTo>
                  <a:pt x="3398741" y="38150"/>
                </a:lnTo>
                <a:cubicBezTo>
                  <a:pt x="3394963" y="34353"/>
                  <a:pt x="3390868" y="31428"/>
                  <a:pt x="3386456" y="29375"/>
                </a:cubicBezTo>
                <a:cubicBezTo>
                  <a:pt x="3382045" y="27322"/>
                  <a:pt x="3376689" y="26284"/>
                  <a:pt x="3370388" y="26260"/>
                </a:cubicBezTo>
                <a:cubicBezTo>
                  <a:pt x="3363349" y="26336"/>
                  <a:pt x="3357869" y="27956"/>
                  <a:pt x="3353947" y="31119"/>
                </a:cubicBezTo>
                <a:cubicBezTo>
                  <a:pt x="3350025" y="34282"/>
                  <a:pt x="3348032" y="38531"/>
                  <a:pt x="3347971" y="43866"/>
                </a:cubicBezTo>
                <a:cubicBezTo>
                  <a:pt x="3348348" y="51875"/>
                  <a:pt x="3352122" y="57994"/>
                  <a:pt x="3359294" y="62223"/>
                </a:cubicBezTo>
                <a:cubicBezTo>
                  <a:pt x="3366464" y="66452"/>
                  <a:pt x="3374768" y="70471"/>
                  <a:pt x="3384204" y="74278"/>
                </a:cubicBezTo>
                <a:cubicBezTo>
                  <a:pt x="3393639" y="78085"/>
                  <a:pt x="3401943" y="83361"/>
                  <a:pt x="3409114" y="90106"/>
                </a:cubicBezTo>
                <a:cubicBezTo>
                  <a:pt x="3416285" y="96850"/>
                  <a:pt x="3420059" y="106742"/>
                  <a:pt x="3420437" y="119781"/>
                </a:cubicBezTo>
                <a:cubicBezTo>
                  <a:pt x="3420081" y="133466"/>
                  <a:pt x="3414912" y="144377"/>
                  <a:pt x="3404931" y="152515"/>
                </a:cubicBezTo>
                <a:cubicBezTo>
                  <a:pt x="3394949" y="160653"/>
                  <a:pt x="3382291" y="164821"/>
                  <a:pt x="3366957" y="165020"/>
                </a:cubicBezTo>
                <a:cubicBezTo>
                  <a:pt x="3359974" y="165010"/>
                  <a:pt x="3352977" y="164041"/>
                  <a:pt x="3345966" y="162111"/>
                </a:cubicBezTo>
                <a:cubicBezTo>
                  <a:pt x="3338955" y="160181"/>
                  <a:pt x="3332657" y="157351"/>
                  <a:pt x="3327070" y="153620"/>
                </a:cubicBezTo>
                <a:cubicBezTo>
                  <a:pt x="3321483" y="149888"/>
                  <a:pt x="3317334" y="145316"/>
                  <a:pt x="3314624" y="139902"/>
                </a:cubicBezTo>
                <a:lnTo>
                  <a:pt x="3330614" y="120696"/>
                </a:lnTo>
                <a:cubicBezTo>
                  <a:pt x="3335471" y="126751"/>
                  <a:pt x="3341231" y="131276"/>
                  <a:pt x="3347893" y="134272"/>
                </a:cubicBezTo>
                <a:cubicBezTo>
                  <a:pt x="3354555" y="137269"/>
                  <a:pt x="3361062" y="138765"/>
                  <a:pt x="3367415" y="138760"/>
                </a:cubicBezTo>
                <a:cubicBezTo>
                  <a:pt x="3374191" y="138736"/>
                  <a:pt x="3379739" y="137126"/>
                  <a:pt x="3384056" y="133929"/>
                </a:cubicBezTo>
                <a:cubicBezTo>
                  <a:pt x="3388374" y="130733"/>
                  <a:pt x="3390604" y="126093"/>
                  <a:pt x="3390747" y="120010"/>
                </a:cubicBezTo>
                <a:cubicBezTo>
                  <a:pt x="3390370" y="112380"/>
                  <a:pt x="3386595" y="106432"/>
                  <a:pt x="3379425" y="102167"/>
                </a:cubicBezTo>
                <a:cubicBezTo>
                  <a:pt x="3372253" y="97903"/>
                  <a:pt x="3363950" y="93770"/>
                  <a:pt x="3354514" y="89770"/>
                </a:cubicBezTo>
                <a:cubicBezTo>
                  <a:pt x="3345078" y="85769"/>
                  <a:pt x="3336775" y="80351"/>
                  <a:pt x="3329604" y="73513"/>
                </a:cubicBezTo>
                <a:cubicBezTo>
                  <a:pt x="3322433" y="66676"/>
                  <a:pt x="3318659" y="56870"/>
                  <a:pt x="3318281" y="44095"/>
                </a:cubicBezTo>
                <a:cubicBezTo>
                  <a:pt x="3318413" y="31758"/>
                  <a:pt x="3322830" y="21408"/>
                  <a:pt x="3331531" y="13047"/>
                </a:cubicBezTo>
                <a:cubicBezTo>
                  <a:pt x="3340232" y="4686"/>
                  <a:pt x="3352422" y="337"/>
                  <a:pt x="3368101" y="0"/>
                </a:cubicBezTo>
                <a:close/>
                <a:moveTo>
                  <a:pt x="2843984" y="0"/>
                </a:moveTo>
                <a:cubicBezTo>
                  <a:pt x="2854456" y="76"/>
                  <a:pt x="2863857" y="1579"/>
                  <a:pt x="2872187" y="4510"/>
                </a:cubicBezTo>
                <a:cubicBezTo>
                  <a:pt x="2880517" y="7440"/>
                  <a:pt x="2887346" y="11341"/>
                  <a:pt x="2892676" y="16213"/>
                </a:cubicBezTo>
                <a:lnTo>
                  <a:pt x="2880102" y="37007"/>
                </a:lnTo>
                <a:cubicBezTo>
                  <a:pt x="2875397" y="33758"/>
                  <a:pt x="2870177" y="31166"/>
                  <a:pt x="2864444" y="29232"/>
                </a:cubicBezTo>
                <a:cubicBezTo>
                  <a:pt x="2858710" y="27299"/>
                  <a:pt x="2851889" y="26308"/>
                  <a:pt x="2843984" y="26260"/>
                </a:cubicBezTo>
                <a:cubicBezTo>
                  <a:pt x="2828811" y="26432"/>
                  <a:pt x="2816409" y="31462"/>
                  <a:pt x="2806779" y="41351"/>
                </a:cubicBezTo>
                <a:cubicBezTo>
                  <a:pt x="2797149" y="51241"/>
                  <a:pt x="2792177" y="64960"/>
                  <a:pt x="2791863" y="82510"/>
                </a:cubicBezTo>
                <a:cubicBezTo>
                  <a:pt x="2792125" y="99459"/>
                  <a:pt x="2797259" y="113007"/>
                  <a:pt x="2807265" y="123154"/>
                </a:cubicBezTo>
                <a:cubicBezTo>
                  <a:pt x="2817271" y="133301"/>
                  <a:pt x="2830577" y="138503"/>
                  <a:pt x="2847184" y="138760"/>
                </a:cubicBezTo>
                <a:cubicBezTo>
                  <a:pt x="2853980" y="138755"/>
                  <a:pt x="2860619" y="137679"/>
                  <a:pt x="2867101" y="135530"/>
                </a:cubicBezTo>
                <a:cubicBezTo>
                  <a:pt x="2873583" y="133382"/>
                  <a:pt x="2879593" y="130190"/>
                  <a:pt x="2885132" y="125955"/>
                </a:cubicBezTo>
                <a:lnTo>
                  <a:pt x="2895876" y="146981"/>
                </a:lnTo>
                <a:cubicBezTo>
                  <a:pt x="2890642" y="152428"/>
                  <a:pt x="2883450" y="156776"/>
                  <a:pt x="2874302" y="160025"/>
                </a:cubicBezTo>
                <a:cubicBezTo>
                  <a:pt x="2865153" y="163274"/>
                  <a:pt x="2855275" y="164939"/>
                  <a:pt x="2844669" y="165020"/>
                </a:cubicBezTo>
                <a:cubicBezTo>
                  <a:pt x="2819830" y="164698"/>
                  <a:pt x="2799965" y="157177"/>
                  <a:pt x="2785076" y="142458"/>
                </a:cubicBezTo>
                <a:cubicBezTo>
                  <a:pt x="2770188" y="127739"/>
                  <a:pt x="2762553" y="107756"/>
                  <a:pt x="2762174" y="82510"/>
                </a:cubicBezTo>
                <a:cubicBezTo>
                  <a:pt x="2762206" y="67022"/>
                  <a:pt x="2765364" y="53083"/>
                  <a:pt x="2771649" y="40691"/>
                </a:cubicBezTo>
                <a:cubicBezTo>
                  <a:pt x="2777934" y="28300"/>
                  <a:pt x="2787152" y="18462"/>
                  <a:pt x="2799304" y="11178"/>
                </a:cubicBezTo>
                <a:cubicBezTo>
                  <a:pt x="2811456" y="3893"/>
                  <a:pt x="2826350" y="167"/>
                  <a:pt x="2843984" y="0"/>
                </a:cubicBezTo>
                <a:close/>
                <a:moveTo>
                  <a:pt x="1959544" y="0"/>
                </a:moveTo>
                <a:cubicBezTo>
                  <a:pt x="1975547" y="95"/>
                  <a:pt x="1989803" y="3533"/>
                  <a:pt x="2002311" y="10314"/>
                </a:cubicBezTo>
                <a:cubicBezTo>
                  <a:pt x="2014820" y="17095"/>
                  <a:pt x="2024686" y="26644"/>
                  <a:pt x="2031910" y="38964"/>
                </a:cubicBezTo>
                <a:cubicBezTo>
                  <a:pt x="2039134" y="51283"/>
                  <a:pt x="2042820" y="65798"/>
                  <a:pt x="2042969" y="82510"/>
                </a:cubicBezTo>
                <a:cubicBezTo>
                  <a:pt x="2042820" y="98645"/>
                  <a:pt x="2039134" y="112890"/>
                  <a:pt x="2031910" y="125243"/>
                </a:cubicBezTo>
                <a:cubicBezTo>
                  <a:pt x="2024686" y="137596"/>
                  <a:pt x="2014820" y="147282"/>
                  <a:pt x="2002311" y="154299"/>
                </a:cubicBezTo>
                <a:cubicBezTo>
                  <a:pt x="1989803" y="161317"/>
                  <a:pt x="1975547" y="164891"/>
                  <a:pt x="1959544" y="165020"/>
                </a:cubicBezTo>
                <a:cubicBezTo>
                  <a:pt x="1943544" y="164925"/>
                  <a:pt x="1929308" y="161487"/>
                  <a:pt x="1916837" y="154706"/>
                </a:cubicBezTo>
                <a:cubicBezTo>
                  <a:pt x="1904365" y="147925"/>
                  <a:pt x="1894536" y="138375"/>
                  <a:pt x="1887349" y="126056"/>
                </a:cubicBezTo>
                <a:cubicBezTo>
                  <a:pt x="1880162" y="113737"/>
                  <a:pt x="1876495" y="99221"/>
                  <a:pt x="1876349" y="82510"/>
                </a:cubicBezTo>
                <a:cubicBezTo>
                  <a:pt x="1876465" y="66878"/>
                  <a:pt x="1880013" y="52871"/>
                  <a:pt x="1886993" y="40488"/>
                </a:cubicBezTo>
                <a:cubicBezTo>
                  <a:pt x="1893973" y="28105"/>
                  <a:pt x="1903683" y="18301"/>
                  <a:pt x="1916125" y="11076"/>
                </a:cubicBezTo>
                <a:cubicBezTo>
                  <a:pt x="1928567" y="3851"/>
                  <a:pt x="1943040" y="159"/>
                  <a:pt x="1959544" y="0"/>
                </a:cubicBezTo>
                <a:close/>
                <a:moveTo>
                  <a:pt x="1815284" y="0"/>
                </a:moveTo>
                <a:cubicBezTo>
                  <a:pt x="1825757" y="76"/>
                  <a:pt x="1835158" y="1579"/>
                  <a:pt x="1843487" y="4510"/>
                </a:cubicBezTo>
                <a:cubicBezTo>
                  <a:pt x="1851817" y="7440"/>
                  <a:pt x="1858646" y="11341"/>
                  <a:pt x="1863976" y="16213"/>
                </a:cubicBezTo>
                <a:lnTo>
                  <a:pt x="1851402" y="37007"/>
                </a:lnTo>
                <a:cubicBezTo>
                  <a:pt x="1846697" y="33758"/>
                  <a:pt x="1841478" y="31166"/>
                  <a:pt x="1835743" y="29232"/>
                </a:cubicBezTo>
                <a:cubicBezTo>
                  <a:pt x="1830009" y="27299"/>
                  <a:pt x="1823190" y="26308"/>
                  <a:pt x="1815284" y="26260"/>
                </a:cubicBezTo>
                <a:cubicBezTo>
                  <a:pt x="1800110" y="26432"/>
                  <a:pt x="1787709" y="31462"/>
                  <a:pt x="1778079" y="41351"/>
                </a:cubicBezTo>
                <a:cubicBezTo>
                  <a:pt x="1768449" y="51241"/>
                  <a:pt x="1763477" y="64960"/>
                  <a:pt x="1763163" y="82510"/>
                </a:cubicBezTo>
                <a:cubicBezTo>
                  <a:pt x="1763425" y="99459"/>
                  <a:pt x="1768559" y="113007"/>
                  <a:pt x="1778565" y="123154"/>
                </a:cubicBezTo>
                <a:cubicBezTo>
                  <a:pt x="1788571" y="133301"/>
                  <a:pt x="1801877" y="138503"/>
                  <a:pt x="1818484" y="138760"/>
                </a:cubicBezTo>
                <a:cubicBezTo>
                  <a:pt x="1825280" y="138755"/>
                  <a:pt x="1831919" y="137679"/>
                  <a:pt x="1838401" y="135530"/>
                </a:cubicBezTo>
                <a:cubicBezTo>
                  <a:pt x="1844883" y="133382"/>
                  <a:pt x="1850893" y="130190"/>
                  <a:pt x="1856432" y="125955"/>
                </a:cubicBezTo>
                <a:lnTo>
                  <a:pt x="1867176" y="146981"/>
                </a:lnTo>
                <a:cubicBezTo>
                  <a:pt x="1861942" y="152428"/>
                  <a:pt x="1854751" y="156776"/>
                  <a:pt x="1845602" y="160025"/>
                </a:cubicBezTo>
                <a:cubicBezTo>
                  <a:pt x="1836453" y="163274"/>
                  <a:pt x="1826576" y="164939"/>
                  <a:pt x="1815969" y="165020"/>
                </a:cubicBezTo>
                <a:cubicBezTo>
                  <a:pt x="1791130" y="164698"/>
                  <a:pt x="1771265" y="157177"/>
                  <a:pt x="1756376" y="142458"/>
                </a:cubicBezTo>
                <a:cubicBezTo>
                  <a:pt x="1741488" y="127739"/>
                  <a:pt x="1733854" y="107756"/>
                  <a:pt x="1733474" y="82510"/>
                </a:cubicBezTo>
                <a:cubicBezTo>
                  <a:pt x="1733506" y="67022"/>
                  <a:pt x="1736664" y="53083"/>
                  <a:pt x="1742949" y="40691"/>
                </a:cubicBezTo>
                <a:cubicBezTo>
                  <a:pt x="1749234" y="28300"/>
                  <a:pt x="1758452" y="18462"/>
                  <a:pt x="1770604" y="11178"/>
                </a:cubicBezTo>
                <a:cubicBezTo>
                  <a:pt x="1782757" y="3893"/>
                  <a:pt x="1797650" y="167"/>
                  <a:pt x="1815284" y="0"/>
                </a:cubicBezTo>
                <a:close/>
                <a:moveTo>
                  <a:pt x="1289367" y="0"/>
                </a:moveTo>
                <a:cubicBezTo>
                  <a:pt x="1300701" y="33"/>
                  <a:pt x="1310505" y="1451"/>
                  <a:pt x="1318778" y="4253"/>
                </a:cubicBezTo>
                <a:cubicBezTo>
                  <a:pt x="1327051" y="7055"/>
                  <a:pt x="1334391" y="11041"/>
                  <a:pt x="1340800" y="16213"/>
                </a:cubicBezTo>
                <a:lnTo>
                  <a:pt x="1328925" y="38612"/>
                </a:lnTo>
                <a:cubicBezTo>
                  <a:pt x="1324791" y="34795"/>
                  <a:pt x="1319514" y="31793"/>
                  <a:pt x="1313092" y="29605"/>
                </a:cubicBezTo>
                <a:cubicBezTo>
                  <a:pt x="1306670" y="27418"/>
                  <a:pt x="1299905" y="26303"/>
                  <a:pt x="1292797" y="26260"/>
                </a:cubicBezTo>
                <a:cubicBezTo>
                  <a:pt x="1277062" y="26375"/>
                  <a:pt x="1264285" y="31292"/>
                  <a:pt x="1254466" y="41012"/>
                </a:cubicBezTo>
                <a:cubicBezTo>
                  <a:pt x="1244648" y="50732"/>
                  <a:pt x="1239588" y="64567"/>
                  <a:pt x="1239288" y="82518"/>
                </a:cubicBezTo>
                <a:cubicBezTo>
                  <a:pt x="1239517" y="99758"/>
                  <a:pt x="1244490" y="113388"/>
                  <a:pt x="1254209" y="123408"/>
                </a:cubicBezTo>
                <a:cubicBezTo>
                  <a:pt x="1263927" y="133427"/>
                  <a:pt x="1277019" y="138545"/>
                  <a:pt x="1293484" y="138760"/>
                </a:cubicBezTo>
                <a:cubicBezTo>
                  <a:pt x="1299896" y="138660"/>
                  <a:pt x="1306222" y="137545"/>
                  <a:pt x="1312463" y="135414"/>
                </a:cubicBezTo>
                <a:cubicBezTo>
                  <a:pt x="1318704" y="133283"/>
                  <a:pt x="1323431" y="130738"/>
                  <a:pt x="1326642" y="127778"/>
                </a:cubicBezTo>
                <a:lnTo>
                  <a:pt x="1326642" y="102613"/>
                </a:lnTo>
                <a:lnTo>
                  <a:pt x="1287995" y="102613"/>
                </a:lnTo>
                <a:lnTo>
                  <a:pt x="1287995" y="76352"/>
                </a:lnTo>
                <a:lnTo>
                  <a:pt x="1352902" y="76352"/>
                </a:lnTo>
                <a:lnTo>
                  <a:pt x="1352902" y="142642"/>
                </a:lnTo>
                <a:cubicBezTo>
                  <a:pt x="1345457" y="149768"/>
                  <a:pt x="1336195" y="155268"/>
                  <a:pt x="1325115" y="159140"/>
                </a:cubicBezTo>
                <a:cubicBezTo>
                  <a:pt x="1314037" y="163013"/>
                  <a:pt x="1303340" y="164973"/>
                  <a:pt x="1293026" y="165020"/>
                </a:cubicBezTo>
                <a:cubicBezTo>
                  <a:pt x="1266640" y="164698"/>
                  <a:pt x="1246189" y="157177"/>
                  <a:pt x="1231675" y="142458"/>
                </a:cubicBezTo>
                <a:cubicBezTo>
                  <a:pt x="1217161" y="127739"/>
                  <a:pt x="1209802" y="107759"/>
                  <a:pt x="1209599" y="82518"/>
                </a:cubicBezTo>
                <a:cubicBezTo>
                  <a:pt x="1209677" y="67029"/>
                  <a:pt x="1212946" y="53088"/>
                  <a:pt x="1219405" y="40695"/>
                </a:cubicBezTo>
                <a:cubicBezTo>
                  <a:pt x="1225864" y="28303"/>
                  <a:pt x="1235041" y="18464"/>
                  <a:pt x="1246937" y="11179"/>
                </a:cubicBezTo>
                <a:cubicBezTo>
                  <a:pt x="1258834" y="3894"/>
                  <a:pt x="1272977" y="167"/>
                  <a:pt x="1289367" y="0"/>
                </a:cubicBezTo>
                <a:close/>
                <a:moveTo>
                  <a:pt x="1139251" y="0"/>
                </a:moveTo>
                <a:cubicBezTo>
                  <a:pt x="1149163" y="57"/>
                  <a:pt x="1158042" y="1598"/>
                  <a:pt x="1165888" y="4624"/>
                </a:cubicBezTo>
                <a:cubicBezTo>
                  <a:pt x="1173733" y="7649"/>
                  <a:pt x="1180092" y="11817"/>
                  <a:pt x="1184964" y="17126"/>
                </a:cubicBezTo>
                <a:lnTo>
                  <a:pt x="1169891" y="38150"/>
                </a:lnTo>
                <a:cubicBezTo>
                  <a:pt x="1166113" y="34353"/>
                  <a:pt x="1162018" y="31428"/>
                  <a:pt x="1157606" y="29375"/>
                </a:cubicBezTo>
                <a:cubicBezTo>
                  <a:pt x="1153195" y="27322"/>
                  <a:pt x="1147839" y="26284"/>
                  <a:pt x="1141538" y="26260"/>
                </a:cubicBezTo>
                <a:cubicBezTo>
                  <a:pt x="1134499" y="26336"/>
                  <a:pt x="1129019" y="27956"/>
                  <a:pt x="1125097" y="31119"/>
                </a:cubicBezTo>
                <a:cubicBezTo>
                  <a:pt x="1121175" y="34282"/>
                  <a:pt x="1119183" y="38531"/>
                  <a:pt x="1119121" y="43866"/>
                </a:cubicBezTo>
                <a:cubicBezTo>
                  <a:pt x="1119498" y="51875"/>
                  <a:pt x="1123272" y="57994"/>
                  <a:pt x="1130443" y="62223"/>
                </a:cubicBezTo>
                <a:cubicBezTo>
                  <a:pt x="1137615" y="66452"/>
                  <a:pt x="1145918" y="70471"/>
                  <a:pt x="1155354" y="74278"/>
                </a:cubicBezTo>
                <a:cubicBezTo>
                  <a:pt x="1164789" y="78085"/>
                  <a:pt x="1173093" y="83361"/>
                  <a:pt x="1180264" y="90106"/>
                </a:cubicBezTo>
                <a:cubicBezTo>
                  <a:pt x="1187435" y="96850"/>
                  <a:pt x="1191209" y="106742"/>
                  <a:pt x="1191587" y="119781"/>
                </a:cubicBezTo>
                <a:cubicBezTo>
                  <a:pt x="1191231" y="133466"/>
                  <a:pt x="1186062" y="144377"/>
                  <a:pt x="1176081" y="152515"/>
                </a:cubicBezTo>
                <a:cubicBezTo>
                  <a:pt x="1166099" y="160653"/>
                  <a:pt x="1153441" y="164821"/>
                  <a:pt x="1138107" y="165020"/>
                </a:cubicBezTo>
                <a:cubicBezTo>
                  <a:pt x="1131124" y="165010"/>
                  <a:pt x="1124128" y="164041"/>
                  <a:pt x="1117117" y="162111"/>
                </a:cubicBezTo>
                <a:cubicBezTo>
                  <a:pt x="1110105" y="160181"/>
                  <a:pt x="1103807" y="157351"/>
                  <a:pt x="1098220" y="153620"/>
                </a:cubicBezTo>
                <a:cubicBezTo>
                  <a:pt x="1092633" y="149888"/>
                  <a:pt x="1088484" y="145316"/>
                  <a:pt x="1085774" y="139902"/>
                </a:cubicBezTo>
                <a:lnTo>
                  <a:pt x="1101764" y="120696"/>
                </a:lnTo>
                <a:cubicBezTo>
                  <a:pt x="1106622" y="126751"/>
                  <a:pt x="1112381" y="131276"/>
                  <a:pt x="1119043" y="134272"/>
                </a:cubicBezTo>
                <a:cubicBezTo>
                  <a:pt x="1125705" y="137269"/>
                  <a:pt x="1132212" y="138765"/>
                  <a:pt x="1138565" y="138760"/>
                </a:cubicBezTo>
                <a:cubicBezTo>
                  <a:pt x="1145342" y="138736"/>
                  <a:pt x="1150889" y="137126"/>
                  <a:pt x="1155206" y="133929"/>
                </a:cubicBezTo>
                <a:cubicBezTo>
                  <a:pt x="1159524" y="130733"/>
                  <a:pt x="1161754" y="126093"/>
                  <a:pt x="1161897" y="120010"/>
                </a:cubicBezTo>
                <a:cubicBezTo>
                  <a:pt x="1161520" y="112380"/>
                  <a:pt x="1157746" y="106432"/>
                  <a:pt x="1150574" y="102167"/>
                </a:cubicBezTo>
                <a:cubicBezTo>
                  <a:pt x="1143403" y="97903"/>
                  <a:pt x="1135100" y="93770"/>
                  <a:pt x="1125664" y="89770"/>
                </a:cubicBezTo>
                <a:cubicBezTo>
                  <a:pt x="1116229" y="85769"/>
                  <a:pt x="1107925" y="80351"/>
                  <a:pt x="1100754" y="73513"/>
                </a:cubicBezTo>
                <a:cubicBezTo>
                  <a:pt x="1093583" y="66676"/>
                  <a:pt x="1089809" y="56870"/>
                  <a:pt x="1089431" y="44095"/>
                </a:cubicBezTo>
                <a:cubicBezTo>
                  <a:pt x="1089564" y="31758"/>
                  <a:pt x="1093980" y="21408"/>
                  <a:pt x="1102681" y="13047"/>
                </a:cubicBezTo>
                <a:cubicBezTo>
                  <a:pt x="1111382" y="4686"/>
                  <a:pt x="1123572" y="337"/>
                  <a:pt x="1139251" y="0"/>
                </a:cubicBezTo>
                <a:close/>
              </a:path>
            </a:pathLst>
          </a:custGeom>
          <a:solidFill>
            <a:srgbClr val="2A3F54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uk-UA" dirty="0">
              <a:latin typeface="Circe Bold" panose="020B0602020203020203" pitchFamily="34" charset="-52"/>
            </a:endParaRPr>
          </a:p>
        </p:txBody>
      </p:sp>
      <p:grpSp>
        <p:nvGrpSpPr>
          <p:cNvPr id="4" name="Групувати 3">
            <a:extLst>
              <a:ext uri="{FF2B5EF4-FFF2-40B4-BE49-F238E27FC236}">
                <a16:creationId xmlns:a16="http://schemas.microsoft.com/office/drawing/2014/main" id="{ED4423BA-A405-6B58-856F-E08CD691A5BD}"/>
              </a:ext>
            </a:extLst>
          </p:cNvPr>
          <p:cNvGrpSpPr/>
          <p:nvPr/>
        </p:nvGrpSpPr>
        <p:grpSpPr>
          <a:xfrm>
            <a:off x="10570261" y="104129"/>
            <a:ext cx="1405132" cy="300056"/>
            <a:chOff x="8944864" y="1776832"/>
            <a:chExt cx="1022457" cy="22192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4B958F5-839D-B9C2-CBFA-5CC82ED13708}"/>
                </a:ext>
              </a:extLst>
            </p:cNvPr>
            <p:cNvSpPr txBox="1"/>
            <p:nvPr/>
          </p:nvSpPr>
          <p:spPr>
            <a:xfrm>
              <a:off x="9569202" y="1795187"/>
              <a:ext cx="97196" cy="96262"/>
            </a:xfrm>
            <a:custGeom>
              <a:avLst/>
              <a:gdLst/>
              <a:ahLst/>
              <a:cxnLst/>
              <a:rect l="l" t="t" r="r" b="b"/>
              <a:pathLst>
                <a:path w="97196" h="96262">
                  <a:moveTo>
                    <a:pt x="48531" y="0"/>
                  </a:moveTo>
                  <a:cubicBezTo>
                    <a:pt x="57866" y="55"/>
                    <a:pt x="66182" y="2061"/>
                    <a:pt x="73479" y="6016"/>
                  </a:cubicBezTo>
                  <a:cubicBezTo>
                    <a:pt x="80775" y="9972"/>
                    <a:pt x="86530" y="15542"/>
                    <a:pt x="90744" y="22729"/>
                  </a:cubicBezTo>
                  <a:cubicBezTo>
                    <a:pt x="94958" y="29915"/>
                    <a:pt x="97109" y="38382"/>
                    <a:pt x="97196" y="48130"/>
                  </a:cubicBezTo>
                  <a:cubicBezTo>
                    <a:pt x="97109" y="57543"/>
                    <a:pt x="94958" y="65852"/>
                    <a:pt x="90744" y="73058"/>
                  </a:cubicBezTo>
                  <a:cubicBezTo>
                    <a:pt x="86530" y="80264"/>
                    <a:pt x="80775" y="85914"/>
                    <a:pt x="73479" y="90008"/>
                  </a:cubicBezTo>
                  <a:cubicBezTo>
                    <a:pt x="66182" y="94102"/>
                    <a:pt x="57866" y="96186"/>
                    <a:pt x="48531" y="96262"/>
                  </a:cubicBezTo>
                  <a:cubicBezTo>
                    <a:pt x="39198" y="96206"/>
                    <a:pt x="30894" y="94200"/>
                    <a:pt x="23618" y="90245"/>
                  </a:cubicBezTo>
                  <a:cubicBezTo>
                    <a:pt x="16343" y="86290"/>
                    <a:pt x="10610" y="80719"/>
                    <a:pt x="6417" y="73532"/>
                  </a:cubicBezTo>
                  <a:cubicBezTo>
                    <a:pt x="2225" y="66346"/>
                    <a:pt x="86" y="57879"/>
                    <a:pt x="0" y="48130"/>
                  </a:cubicBezTo>
                  <a:cubicBezTo>
                    <a:pt x="68" y="39012"/>
                    <a:pt x="2138" y="30841"/>
                    <a:pt x="6210" y="23618"/>
                  </a:cubicBezTo>
                  <a:cubicBezTo>
                    <a:pt x="10281" y="16395"/>
                    <a:pt x="15946" y="10676"/>
                    <a:pt x="23203" y="6461"/>
                  </a:cubicBezTo>
                  <a:cubicBezTo>
                    <a:pt x="30461" y="2246"/>
                    <a:pt x="38904" y="92"/>
                    <a:pt x="48531" y="0"/>
                  </a:cubicBezTo>
                  <a:close/>
                  <a:moveTo>
                    <a:pt x="48531" y="15318"/>
                  </a:moveTo>
                  <a:cubicBezTo>
                    <a:pt x="39411" y="15477"/>
                    <a:pt x="31975" y="18528"/>
                    <a:pt x="26223" y="24472"/>
                  </a:cubicBezTo>
                  <a:cubicBezTo>
                    <a:pt x="20470" y="30415"/>
                    <a:pt x="17503" y="38302"/>
                    <a:pt x="17319" y="48130"/>
                  </a:cubicBezTo>
                  <a:cubicBezTo>
                    <a:pt x="17528" y="57667"/>
                    <a:pt x="20545" y="65470"/>
                    <a:pt x="26373" y="71539"/>
                  </a:cubicBezTo>
                  <a:cubicBezTo>
                    <a:pt x="32200" y="77608"/>
                    <a:pt x="39586" y="80743"/>
                    <a:pt x="48531" y="80943"/>
                  </a:cubicBezTo>
                  <a:cubicBezTo>
                    <a:pt x="58415" y="80726"/>
                    <a:pt x="66091" y="77558"/>
                    <a:pt x="71557" y="71439"/>
                  </a:cubicBezTo>
                  <a:cubicBezTo>
                    <a:pt x="77023" y="65320"/>
                    <a:pt x="79796" y="57551"/>
                    <a:pt x="79877" y="48130"/>
                  </a:cubicBezTo>
                  <a:cubicBezTo>
                    <a:pt x="79671" y="38302"/>
                    <a:pt x="76648" y="30415"/>
                    <a:pt x="70807" y="24472"/>
                  </a:cubicBezTo>
                  <a:cubicBezTo>
                    <a:pt x="64965" y="18528"/>
                    <a:pt x="57540" y="15477"/>
                    <a:pt x="48531" y="15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0148E79-26C5-C136-FFB2-2DAA596498A9}"/>
                </a:ext>
              </a:extLst>
            </p:cNvPr>
            <p:cNvSpPr txBox="1"/>
            <p:nvPr/>
          </p:nvSpPr>
          <p:spPr>
            <a:xfrm>
              <a:off x="9683502" y="1795187"/>
              <a:ext cx="83594" cy="96262"/>
            </a:xfrm>
            <a:custGeom>
              <a:avLst/>
              <a:gdLst/>
              <a:ahLst/>
              <a:cxnLst/>
              <a:rect l="l" t="t" r="r" b="b"/>
              <a:pathLst>
                <a:path w="83594" h="96262">
                  <a:moveTo>
                    <a:pt x="46532" y="0"/>
                  </a:moveTo>
                  <a:cubicBezTo>
                    <a:pt x="53144" y="19"/>
                    <a:pt x="58862" y="846"/>
                    <a:pt x="63688" y="2481"/>
                  </a:cubicBezTo>
                  <a:cubicBezTo>
                    <a:pt x="68514" y="4115"/>
                    <a:pt x="72796" y="6441"/>
                    <a:pt x="76534" y="9457"/>
                  </a:cubicBezTo>
                  <a:lnTo>
                    <a:pt x="69608" y="22523"/>
                  </a:lnTo>
                  <a:cubicBezTo>
                    <a:pt x="67196" y="20297"/>
                    <a:pt x="64117" y="18546"/>
                    <a:pt x="60371" y="17270"/>
                  </a:cubicBezTo>
                  <a:cubicBezTo>
                    <a:pt x="56625" y="15994"/>
                    <a:pt x="52679" y="15343"/>
                    <a:pt x="48533" y="15318"/>
                  </a:cubicBezTo>
                  <a:cubicBezTo>
                    <a:pt x="39354" y="15385"/>
                    <a:pt x="31901" y="18253"/>
                    <a:pt x="26173" y="23923"/>
                  </a:cubicBezTo>
                  <a:cubicBezTo>
                    <a:pt x="20446" y="29593"/>
                    <a:pt x="17494" y="37664"/>
                    <a:pt x="17319" y="48135"/>
                  </a:cubicBezTo>
                  <a:cubicBezTo>
                    <a:pt x="17453" y="58192"/>
                    <a:pt x="20354" y="66143"/>
                    <a:pt x="26023" y="71988"/>
                  </a:cubicBezTo>
                  <a:cubicBezTo>
                    <a:pt x="31692" y="77832"/>
                    <a:pt x="39329" y="80817"/>
                    <a:pt x="48933" y="80943"/>
                  </a:cubicBezTo>
                  <a:cubicBezTo>
                    <a:pt x="52674" y="80885"/>
                    <a:pt x="56364" y="80234"/>
                    <a:pt x="60005" y="78991"/>
                  </a:cubicBezTo>
                  <a:cubicBezTo>
                    <a:pt x="63645" y="77748"/>
                    <a:pt x="66402" y="76264"/>
                    <a:pt x="68276" y="74537"/>
                  </a:cubicBezTo>
                  <a:lnTo>
                    <a:pt x="68276" y="59857"/>
                  </a:lnTo>
                  <a:lnTo>
                    <a:pt x="45732" y="59857"/>
                  </a:lnTo>
                  <a:lnTo>
                    <a:pt x="45732" y="44539"/>
                  </a:lnTo>
                  <a:lnTo>
                    <a:pt x="83594" y="44539"/>
                  </a:lnTo>
                  <a:lnTo>
                    <a:pt x="83594" y="83208"/>
                  </a:lnTo>
                  <a:cubicBezTo>
                    <a:pt x="79251" y="87365"/>
                    <a:pt x="73848" y="90573"/>
                    <a:pt x="67385" y="92832"/>
                  </a:cubicBezTo>
                  <a:cubicBezTo>
                    <a:pt x="60922" y="95091"/>
                    <a:pt x="54683" y="96234"/>
                    <a:pt x="48666" y="96262"/>
                  </a:cubicBezTo>
                  <a:cubicBezTo>
                    <a:pt x="33274" y="96073"/>
                    <a:pt x="21345" y="91686"/>
                    <a:pt x="12878" y="83100"/>
                  </a:cubicBezTo>
                  <a:cubicBezTo>
                    <a:pt x="4412" y="74514"/>
                    <a:pt x="119" y="62859"/>
                    <a:pt x="0" y="48135"/>
                  </a:cubicBezTo>
                  <a:cubicBezTo>
                    <a:pt x="46" y="39100"/>
                    <a:pt x="1953" y="30968"/>
                    <a:pt x="5721" y="23739"/>
                  </a:cubicBezTo>
                  <a:cubicBezTo>
                    <a:pt x="9488" y="16510"/>
                    <a:pt x="14842" y="10771"/>
                    <a:pt x="21781" y="6521"/>
                  </a:cubicBezTo>
                  <a:cubicBezTo>
                    <a:pt x="28721" y="2271"/>
                    <a:pt x="36971" y="97"/>
                    <a:pt x="46532" y="0"/>
                  </a:cubicBez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13C0C114-E5CE-81AC-866A-62D2E40DEB20}"/>
                </a:ext>
              </a:extLst>
            </p:cNvPr>
            <p:cNvSpPr txBox="1"/>
            <p:nvPr/>
          </p:nvSpPr>
          <p:spPr>
            <a:xfrm>
              <a:off x="92879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28C0B5C5-77C5-5124-D11A-D518C4C36233}"/>
                </a:ext>
              </a:extLst>
            </p:cNvPr>
            <p:cNvSpPr txBox="1"/>
            <p:nvPr/>
          </p:nvSpPr>
          <p:spPr>
            <a:xfrm>
              <a:off x="97832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5C57DAC-AE51-FE42-856D-7BDF5700AC3D}"/>
                </a:ext>
              </a:extLst>
            </p:cNvPr>
            <p:cNvSpPr txBox="1"/>
            <p:nvPr/>
          </p:nvSpPr>
          <p:spPr>
            <a:xfrm>
              <a:off x="9185612" y="1796788"/>
              <a:ext cx="79726" cy="93195"/>
            </a:xfrm>
            <a:custGeom>
              <a:avLst/>
              <a:gdLst/>
              <a:ahLst/>
              <a:cxnLst/>
              <a:rect l="l" t="t" r="r" b="b"/>
              <a:pathLst>
                <a:path w="79726" h="93195">
                  <a:moveTo>
                    <a:pt x="0" y="0"/>
                  </a:moveTo>
                  <a:lnTo>
                    <a:pt x="13054" y="0"/>
                  </a:lnTo>
                  <a:lnTo>
                    <a:pt x="64408" y="64837"/>
                  </a:lnTo>
                  <a:lnTo>
                    <a:pt x="64408" y="0"/>
                  </a:lnTo>
                  <a:lnTo>
                    <a:pt x="79726" y="0"/>
                  </a:lnTo>
                  <a:lnTo>
                    <a:pt x="79726" y="93195"/>
                  </a:lnTo>
                  <a:lnTo>
                    <a:pt x="66672" y="93195"/>
                  </a:lnTo>
                  <a:lnTo>
                    <a:pt x="15318" y="28624"/>
                  </a:lnTo>
                  <a:lnTo>
                    <a:pt x="15318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48A2DD9-0FBD-11CF-A975-E5DBBDA43769}"/>
                </a:ext>
              </a:extLst>
            </p:cNvPr>
            <p:cNvSpPr txBox="1"/>
            <p:nvPr/>
          </p:nvSpPr>
          <p:spPr>
            <a:xfrm>
              <a:off x="9404688" y="1796788"/>
              <a:ext cx="53323" cy="93195"/>
            </a:xfrm>
            <a:custGeom>
              <a:avLst/>
              <a:gdLst/>
              <a:ahLst/>
              <a:cxnLst/>
              <a:rect l="l" t="t" r="r" b="b"/>
              <a:pathLst>
                <a:path w="53323" h="93195">
                  <a:moveTo>
                    <a:pt x="0" y="0"/>
                  </a:moveTo>
                  <a:lnTo>
                    <a:pt x="53323" y="0"/>
                  </a:lnTo>
                  <a:lnTo>
                    <a:pt x="53323" y="15318"/>
                  </a:lnTo>
                  <a:lnTo>
                    <a:pt x="16385" y="15318"/>
                  </a:lnTo>
                  <a:lnTo>
                    <a:pt x="16385" y="41605"/>
                  </a:lnTo>
                  <a:lnTo>
                    <a:pt x="49322" y="41605"/>
                  </a:lnTo>
                  <a:lnTo>
                    <a:pt x="49322" y="56924"/>
                  </a:lnTo>
                  <a:lnTo>
                    <a:pt x="16385" y="56924"/>
                  </a:lnTo>
                  <a:lnTo>
                    <a:pt x="16385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6F25786-66F8-BE6D-A688-C4AC40E8AD50}"/>
                </a:ext>
              </a:extLst>
            </p:cNvPr>
            <p:cNvSpPr txBox="1"/>
            <p:nvPr/>
          </p:nvSpPr>
          <p:spPr>
            <a:xfrm>
              <a:off x="9478810" y="1796788"/>
              <a:ext cx="76926" cy="93195"/>
            </a:xfrm>
            <a:custGeom>
              <a:avLst/>
              <a:gdLst/>
              <a:ahLst/>
              <a:cxnLst/>
              <a:rect l="l" t="t" r="r" b="b"/>
              <a:pathLst>
                <a:path w="76926" h="93195">
                  <a:moveTo>
                    <a:pt x="0" y="0"/>
                  </a:moveTo>
                  <a:lnTo>
                    <a:pt x="76926" y="0"/>
                  </a:lnTo>
                  <a:lnTo>
                    <a:pt x="76926" y="15318"/>
                  </a:lnTo>
                  <a:lnTo>
                    <a:pt x="46656" y="15318"/>
                  </a:lnTo>
                  <a:lnTo>
                    <a:pt x="46656" y="93195"/>
                  </a:lnTo>
                  <a:lnTo>
                    <a:pt x="30270" y="93195"/>
                  </a:lnTo>
                  <a:lnTo>
                    <a:pt x="30270" y="15318"/>
                  </a:lnTo>
                  <a:lnTo>
                    <a:pt x="0" y="15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B3F0518-CC02-5130-C974-39A1136ADC7D}"/>
                </a:ext>
              </a:extLst>
            </p:cNvPr>
            <p:cNvSpPr txBox="1"/>
            <p:nvPr/>
          </p:nvSpPr>
          <p:spPr>
            <a:xfrm>
              <a:off x="9892378" y="1796788"/>
              <a:ext cx="74943" cy="93195"/>
            </a:xfrm>
            <a:custGeom>
              <a:avLst/>
              <a:gdLst/>
              <a:ahLst/>
              <a:cxnLst/>
              <a:rect l="l" t="t" r="r" b="b"/>
              <a:pathLst>
                <a:path w="74943" h="93195">
                  <a:moveTo>
                    <a:pt x="2667" y="0"/>
                  </a:moveTo>
                  <a:lnTo>
                    <a:pt x="73609" y="0"/>
                  </a:lnTo>
                  <a:lnTo>
                    <a:pt x="73609" y="11322"/>
                  </a:lnTo>
                  <a:lnTo>
                    <a:pt x="21870" y="77876"/>
                  </a:lnTo>
                  <a:lnTo>
                    <a:pt x="74943" y="77876"/>
                  </a:lnTo>
                  <a:lnTo>
                    <a:pt x="74943" y="93195"/>
                  </a:lnTo>
                  <a:lnTo>
                    <a:pt x="0" y="93195"/>
                  </a:lnTo>
                  <a:lnTo>
                    <a:pt x="0" y="82006"/>
                  </a:lnTo>
                  <a:lnTo>
                    <a:pt x="51607" y="15318"/>
                  </a:lnTo>
                  <a:lnTo>
                    <a:pt x="2667" y="15318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91" name="Freeform 218">
              <a:extLst>
                <a:ext uri="{FF2B5EF4-FFF2-40B4-BE49-F238E27FC236}">
                  <a16:creationId xmlns:a16="http://schemas.microsoft.com/office/drawing/2014/main" id="{4B1AAFED-AD26-1EBF-E219-59BD2FF6ECC7}"/>
                </a:ext>
              </a:extLst>
            </p:cNvPr>
            <p:cNvSpPr/>
            <p:nvPr/>
          </p:nvSpPr>
          <p:spPr>
            <a:xfrm>
              <a:off x="9064800" y="1991655"/>
              <a:ext cx="4609" cy="1336"/>
            </a:xfrm>
            <a:custGeom>
              <a:avLst/>
              <a:gdLst/>
              <a:ahLst/>
              <a:cxnLst/>
              <a:rect l="0" t="0" r="0" b="0"/>
              <a:pathLst>
                <a:path w="13665" h="3962">
                  <a:moveTo>
                    <a:pt x="0" y="3962"/>
                  </a:moveTo>
                  <a:cubicBezTo>
                    <a:pt x="4610" y="2731"/>
                    <a:pt x="9169" y="1626"/>
                    <a:pt x="13665" y="0"/>
                  </a:cubicBezTo>
                  <a:cubicBezTo>
                    <a:pt x="8978" y="1384"/>
                    <a:pt x="4508" y="2731"/>
                    <a:pt x="0" y="3962"/>
                  </a:cubicBezTo>
                </a:path>
              </a:pathLst>
            </a:custGeom>
            <a:solidFill>
              <a:srgbClr val="000000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pic>
          <p:nvPicPr>
            <p:cNvPr id="92" name="Picture 219">
              <a:extLst>
                <a:ext uri="{FF2B5EF4-FFF2-40B4-BE49-F238E27FC236}">
                  <a16:creationId xmlns:a16="http://schemas.microsoft.com/office/drawing/2014/main" id="{581C5749-F0C1-92A5-B222-1AEE2844DB66}"/>
                </a:ext>
              </a:extLst>
            </p:cNvPr>
            <p:cNvPicPr/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058175" y="1988501"/>
              <a:ext cx="15518" cy="10255"/>
            </a:xfrm>
            <a:prstGeom prst="rect">
              <a:avLst/>
            </a:prstGeom>
            <a:noFill/>
          </p:spPr>
        </p:pic>
        <p:grpSp>
          <p:nvGrpSpPr>
            <p:cNvPr id="93" name="Групувати 92">
              <a:extLst>
                <a:ext uri="{FF2B5EF4-FFF2-40B4-BE49-F238E27FC236}">
                  <a16:creationId xmlns:a16="http://schemas.microsoft.com/office/drawing/2014/main" id="{C1E6E59D-BABE-4D24-92DD-76733FC382E5}"/>
                </a:ext>
              </a:extLst>
            </p:cNvPr>
            <p:cNvGrpSpPr/>
            <p:nvPr/>
          </p:nvGrpSpPr>
          <p:grpSpPr>
            <a:xfrm>
              <a:off x="8944864" y="1776832"/>
              <a:ext cx="207633" cy="206717"/>
              <a:chOff x="5192198" y="3302281"/>
              <a:chExt cx="207633" cy="206717"/>
            </a:xfrm>
          </p:grpSpPr>
          <p:sp>
            <p:nvSpPr>
              <p:cNvPr id="107" name="Freeform 220">
                <a:extLst>
                  <a:ext uri="{FF2B5EF4-FFF2-40B4-BE49-F238E27FC236}">
                    <a16:creationId xmlns:a16="http://schemas.microsoft.com/office/drawing/2014/main" id="{DBE5A81B-C194-9E35-D131-7C9983F41D1F}"/>
                  </a:ext>
                </a:extLst>
              </p:cNvPr>
              <p:cNvSpPr/>
              <p:nvPr/>
            </p:nvSpPr>
            <p:spPr>
              <a:xfrm>
                <a:off x="5309209" y="3316368"/>
                <a:ext cx="90622" cy="178639"/>
              </a:xfrm>
              <a:custGeom>
                <a:avLst/>
                <a:gdLst/>
                <a:ahLst/>
                <a:cxnLst/>
                <a:rect l="0" t="0" r="0" b="0"/>
                <a:pathLst>
                  <a:path w="268693" h="529665">
                    <a:moveTo>
                      <a:pt x="249186" y="162356"/>
                    </a:moveTo>
                    <a:cubicBezTo>
                      <a:pt x="249490" y="162482"/>
                      <a:pt x="249770" y="162521"/>
                      <a:pt x="250049" y="162724"/>
                    </a:cubicBezTo>
                    <a:cubicBezTo>
                      <a:pt x="233972" y="106400"/>
                      <a:pt x="199834" y="59042"/>
                      <a:pt x="150126" y="24841"/>
                    </a:cubicBezTo>
                    <a:cubicBezTo>
                      <a:pt x="127165" y="9055"/>
                      <a:pt x="100622" y="0"/>
                      <a:pt x="77356" y="0"/>
                    </a:cubicBezTo>
                    <a:cubicBezTo>
                      <a:pt x="63970" y="0"/>
                      <a:pt x="51701" y="2844"/>
                      <a:pt x="41008" y="8661"/>
                    </a:cubicBezTo>
                    <a:cubicBezTo>
                      <a:pt x="13894" y="24498"/>
                      <a:pt x="0" y="46990"/>
                      <a:pt x="0" y="75565"/>
                    </a:cubicBezTo>
                    <a:cubicBezTo>
                      <a:pt x="0" y="122174"/>
                      <a:pt x="27051" y="149669"/>
                      <a:pt x="67932" y="191324"/>
                    </a:cubicBezTo>
                    <a:cubicBezTo>
                      <a:pt x="89205" y="213003"/>
                      <a:pt x="113068" y="237336"/>
                      <a:pt x="136474" y="268591"/>
                    </a:cubicBezTo>
                    <a:cubicBezTo>
                      <a:pt x="174879" y="319785"/>
                      <a:pt x="184366" y="391375"/>
                      <a:pt x="161239" y="455687"/>
                    </a:cubicBezTo>
                    <a:cubicBezTo>
                      <a:pt x="151143" y="483754"/>
                      <a:pt x="135737" y="508431"/>
                      <a:pt x="115798" y="528992"/>
                    </a:cubicBezTo>
                    <a:cubicBezTo>
                      <a:pt x="115519" y="529068"/>
                      <a:pt x="115468" y="529462"/>
                      <a:pt x="115214" y="529665"/>
                    </a:cubicBezTo>
                    <a:cubicBezTo>
                      <a:pt x="163931" y="502233"/>
                      <a:pt x="200685" y="463269"/>
                      <a:pt x="223342" y="414768"/>
                    </a:cubicBezTo>
                    <a:cubicBezTo>
                      <a:pt x="268693" y="317359"/>
                      <a:pt x="235026" y="249795"/>
                      <a:pt x="214922" y="209384"/>
                    </a:cubicBezTo>
                    <a:cubicBezTo>
                      <a:pt x="204610" y="188670"/>
                      <a:pt x="197193" y="173531"/>
                      <a:pt x="204711" y="162191"/>
                    </a:cubicBezTo>
                    <a:cubicBezTo>
                      <a:pt x="213411" y="149098"/>
                      <a:pt x="229451" y="148463"/>
                      <a:pt x="249186" y="162356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sp>
            <p:nvSpPr>
              <p:cNvPr id="108" name="Freeform 221">
                <a:extLst>
                  <a:ext uri="{FF2B5EF4-FFF2-40B4-BE49-F238E27FC236}">
                    <a16:creationId xmlns:a16="http://schemas.microsoft.com/office/drawing/2014/main" id="{8457CD25-98AA-5FBA-7F38-E4D460CDD5B9}"/>
                  </a:ext>
                </a:extLst>
              </p:cNvPr>
              <p:cNvSpPr/>
              <p:nvPr/>
            </p:nvSpPr>
            <p:spPr>
              <a:xfrm>
                <a:off x="5192198" y="3326401"/>
                <a:ext cx="131219" cy="179925"/>
              </a:xfrm>
              <a:custGeom>
                <a:avLst/>
                <a:gdLst/>
                <a:ahLst/>
                <a:cxnLst/>
                <a:rect l="0" t="0" r="0" b="0"/>
                <a:pathLst>
                  <a:path w="389064" h="533476">
                    <a:moveTo>
                      <a:pt x="374561" y="363639"/>
                    </a:moveTo>
                    <a:cubicBezTo>
                      <a:pt x="345733" y="318936"/>
                      <a:pt x="304800" y="303162"/>
                      <a:pt x="261519" y="286563"/>
                    </a:cubicBezTo>
                    <a:cubicBezTo>
                      <a:pt x="219050" y="270142"/>
                      <a:pt x="175095" y="253251"/>
                      <a:pt x="137757" y="209398"/>
                    </a:cubicBezTo>
                    <a:cubicBezTo>
                      <a:pt x="101156" y="166739"/>
                      <a:pt x="85764" y="111430"/>
                      <a:pt x="94044" y="53988"/>
                    </a:cubicBezTo>
                    <a:cubicBezTo>
                      <a:pt x="96635" y="36322"/>
                      <a:pt x="101651" y="19495"/>
                      <a:pt x="108243" y="3988"/>
                    </a:cubicBezTo>
                    <a:cubicBezTo>
                      <a:pt x="108509" y="3214"/>
                      <a:pt x="108801" y="2451"/>
                      <a:pt x="108827" y="2439"/>
                    </a:cubicBezTo>
                    <a:cubicBezTo>
                      <a:pt x="109182" y="1486"/>
                      <a:pt x="109386" y="788"/>
                      <a:pt x="109703" y="0"/>
                    </a:cubicBezTo>
                    <a:cubicBezTo>
                      <a:pt x="104902" y="3988"/>
                      <a:pt x="100559" y="8408"/>
                      <a:pt x="96063" y="12675"/>
                    </a:cubicBezTo>
                    <a:cubicBezTo>
                      <a:pt x="96139" y="12599"/>
                      <a:pt x="96241" y="12535"/>
                      <a:pt x="96330" y="12459"/>
                    </a:cubicBezTo>
                    <a:cubicBezTo>
                      <a:pt x="96241" y="12535"/>
                      <a:pt x="96139" y="12612"/>
                      <a:pt x="96063" y="12688"/>
                    </a:cubicBezTo>
                    <a:cubicBezTo>
                      <a:pt x="35345" y="69977"/>
                      <a:pt x="0" y="149556"/>
                      <a:pt x="0" y="234925"/>
                    </a:cubicBezTo>
                    <a:cubicBezTo>
                      <a:pt x="0" y="369468"/>
                      <a:pt x="90031" y="490258"/>
                      <a:pt x="218974" y="528586"/>
                    </a:cubicBezTo>
                    <a:cubicBezTo>
                      <a:pt x="231445" y="531837"/>
                      <a:pt x="244221" y="533476"/>
                      <a:pt x="256972" y="533476"/>
                    </a:cubicBezTo>
                    <a:cubicBezTo>
                      <a:pt x="300482" y="533476"/>
                      <a:pt x="339344" y="514349"/>
                      <a:pt x="363881" y="480910"/>
                    </a:cubicBezTo>
                    <a:cubicBezTo>
                      <a:pt x="376135" y="464070"/>
                      <a:pt x="383044" y="444995"/>
                      <a:pt x="385800" y="426034"/>
                    </a:cubicBezTo>
                    <a:cubicBezTo>
                      <a:pt x="389064" y="403453"/>
                      <a:pt x="385838" y="381190"/>
                      <a:pt x="374561" y="363639"/>
                    </a:cubicBezTo>
                  </a:path>
                </a:pathLst>
              </a:cu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 dirty="0"/>
              </a:p>
            </p:txBody>
          </p:sp>
          <p:sp>
            <p:nvSpPr>
              <p:cNvPr id="109" name="Freeform 222">
                <a:extLst>
                  <a:ext uri="{FF2B5EF4-FFF2-40B4-BE49-F238E27FC236}">
                    <a16:creationId xmlns:a16="http://schemas.microsoft.com/office/drawing/2014/main" id="{4E0ACB52-C288-064E-5B32-9F848088A733}"/>
                  </a:ext>
                </a:extLst>
              </p:cNvPr>
              <p:cNvSpPr/>
              <p:nvPr/>
            </p:nvSpPr>
            <p:spPr>
              <a:xfrm>
                <a:off x="5231948" y="3302281"/>
                <a:ext cx="129163" cy="206717"/>
              </a:xfrm>
              <a:custGeom>
                <a:avLst/>
                <a:gdLst/>
                <a:ahLst/>
                <a:cxnLst/>
                <a:rect l="0" t="0" r="0" b="0"/>
                <a:pathLst>
                  <a:path w="382967" h="612914">
                    <a:moveTo>
                      <a:pt x="342366" y="327609"/>
                    </a:moveTo>
                    <a:cubicBezTo>
                      <a:pt x="320078" y="297904"/>
                      <a:pt x="296850" y="274142"/>
                      <a:pt x="276352" y="253340"/>
                    </a:cubicBezTo>
                    <a:cubicBezTo>
                      <a:pt x="233743" y="209868"/>
                      <a:pt x="200215" y="175692"/>
                      <a:pt x="200215" y="117323"/>
                    </a:cubicBezTo>
                    <a:cubicBezTo>
                      <a:pt x="200215" y="57811"/>
                      <a:pt x="243726" y="25121"/>
                      <a:pt x="284543" y="15316"/>
                    </a:cubicBezTo>
                    <a:cubicBezTo>
                      <a:pt x="282499" y="14656"/>
                      <a:pt x="280162" y="14313"/>
                      <a:pt x="278054" y="13742"/>
                    </a:cubicBezTo>
                    <a:cubicBezTo>
                      <a:pt x="249555" y="5157"/>
                      <a:pt x="218605" y="0"/>
                      <a:pt x="188531" y="0"/>
                    </a:cubicBezTo>
                    <a:cubicBezTo>
                      <a:pt x="138582" y="0"/>
                      <a:pt x="99174" y="10275"/>
                      <a:pt x="60719" y="33389"/>
                    </a:cubicBezTo>
                    <a:cubicBezTo>
                      <a:pt x="32842" y="50127"/>
                      <a:pt x="10960" y="87922"/>
                      <a:pt x="4864" y="129718"/>
                    </a:cubicBezTo>
                    <a:cubicBezTo>
                      <a:pt x="686" y="158141"/>
                      <a:pt x="0" y="213157"/>
                      <a:pt x="41846" y="262065"/>
                    </a:cubicBezTo>
                    <a:cubicBezTo>
                      <a:pt x="74536" y="300393"/>
                      <a:pt x="114948" y="316002"/>
                      <a:pt x="153987" y="331038"/>
                    </a:cubicBezTo>
                    <a:cubicBezTo>
                      <a:pt x="199809" y="348652"/>
                      <a:pt x="247002" y="366953"/>
                      <a:pt x="280975" y="419442"/>
                    </a:cubicBezTo>
                    <a:cubicBezTo>
                      <a:pt x="304025" y="455091"/>
                      <a:pt x="303886" y="505104"/>
                      <a:pt x="282499" y="547801"/>
                    </a:cubicBezTo>
                    <a:cubicBezTo>
                      <a:pt x="281102" y="550659"/>
                      <a:pt x="279552" y="553415"/>
                      <a:pt x="277952" y="556132"/>
                    </a:cubicBezTo>
                    <a:cubicBezTo>
                      <a:pt x="277520" y="556932"/>
                      <a:pt x="277038" y="557745"/>
                      <a:pt x="276581" y="558545"/>
                    </a:cubicBezTo>
                    <a:cubicBezTo>
                      <a:pt x="259715" y="585304"/>
                      <a:pt x="231902" y="606069"/>
                      <a:pt x="204165" y="612914"/>
                    </a:cubicBezTo>
                    <a:cubicBezTo>
                      <a:pt x="219011" y="610793"/>
                      <a:pt x="233401" y="607555"/>
                      <a:pt x="247307" y="602856"/>
                    </a:cubicBezTo>
                    <a:cubicBezTo>
                      <a:pt x="248679" y="602462"/>
                      <a:pt x="250038" y="602043"/>
                      <a:pt x="251435" y="601649"/>
                    </a:cubicBezTo>
                    <a:cubicBezTo>
                      <a:pt x="253213" y="601001"/>
                      <a:pt x="254864" y="600100"/>
                      <a:pt x="256603" y="599427"/>
                    </a:cubicBezTo>
                    <a:cubicBezTo>
                      <a:pt x="259804" y="598157"/>
                      <a:pt x="262979" y="596823"/>
                      <a:pt x="266103" y="595375"/>
                    </a:cubicBezTo>
                    <a:cubicBezTo>
                      <a:pt x="268084" y="594448"/>
                      <a:pt x="270091" y="593559"/>
                      <a:pt x="272110" y="592505"/>
                    </a:cubicBezTo>
                    <a:cubicBezTo>
                      <a:pt x="276936" y="590092"/>
                      <a:pt x="281686" y="587336"/>
                      <a:pt x="286334" y="584453"/>
                    </a:cubicBezTo>
                    <a:cubicBezTo>
                      <a:pt x="287007" y="584022"/>
                      <a:pt x="287642" y="583590"/>
                      <a:pt x="288252" y="583183"/>
                    </a:cubicBezTo>
                    <a:cubicBezTo>
                      <a:pt x="293408" y="579894"/>
                      <a:pt x="298386" y="576198"/>
                      <a:pt x="303301" y="572274"/>
                    </a:cubicBezTo>
                    <a:cubicBezTo>
                      <a:pt x="303695" y="571944"/>
                      <a:pt x="304101" y="571601"/>
                      <a:pt x="304495" y="571296"/>
                    </a:cubicBezTo>
                    <a:cubicBezTo>
                      <a:pt x="308991" y="567575"/>
                      <a:pt x="313398" y="563587"/>
                      <a:pt x="317716" y="559282"/>
                    </a:cubicBezTo>
                    <a:cubicBezTo>
                      <a:pt x="318795" y="558139"/>
                      <a:pt x="319900" y="556932"/>
                      <a:pt x="321018" y="555789"/>
                    </a:cubicBezTo>
                    <a:cubicBezTo>
                      <a:pt x="323939" y="552703"/>
                      <a:pt x="326796" y="549477"/>
                      <a:pt x="329565" y="546087"/>
                    </a:cubicBezTo>
                    <a:cubicBezTo>
                      <a:pt x="331787" y="543470"/>
                      <a:pt x="333832" y="540753"/>
                      <a:pt x="335877" y="538022"/>
                    </a:cubicBezTo>
                    <a:cubicBezTo>
                      <a:pt x="338036" y="535114"/>
                      <a:pt x="340182" y="532091"/>
                      <a:pt x="342265" y="529005"/>
                    </a:cubicBezTo>
                    <a:cubicBezTo>
                      <a:pt x="343255" y="527494"/>
                      <a:pt x="344283" y="526046"/>
                      <a:pt x="345210" y="524535"/>
                    </a:cubicBezTo>
                    <a:cubicBezTo>
                      <a:pt x="345502" y="524141"/>
                      <a:pt x="345782" y="523709"/>
                      <a:pt x="346087" y="523239"/>
                    </a:cubicBezTo>
                    <a:lnTo>
                      <a:pt x="346036" y="523062"/>
                    </a:lnTo>
                    <a:cubicBezTo>
                      <a:pt x="352792" y="511949"/>
                      <a:pt x="358609" y="500176"/>
                      <a:pt x="363092" y="487616"/>
                    </a:cubicBezTo>
                    <a:cubicBezTo>
                      <a:pt x="382967" y="432472"/>
                      <a:pt x="374992" y="371144"/>
                      <a:pt x="342366" y="327609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</p:grpSp>
        <p:grpSp>
          <p:nvGrpSpPr>
            <p:cNvPr id="94" name="Групувати 93">
              <a:extLst>
                <a:ext uri="{FF2B5EF4-FFF2-40B4-BE49-F238E27FC236}">
                  <a16:creationId xmlns:a16="http://schemas.microsoft.com/office/drawing/2014/main" id="{633FBE2A-2F7E-985C-735F-9D40FC47CD78}"/>
                </a:ext>
              </a:extLst>
            </p:cNvPr>
            <p:cNvGrpSpPr/>
            <p:nvPr/>
          </p:nvGrpSpPr>
          <p:grpSpPr>
            <a:xfrm>
              <a:off x="9192478" y="1930875"/>
              <a:ext cx="575419" cy="50379"/>
              <a:chOff x="4220435" y="3738620"/>
              <a:chExt cx="575419" cy="50379"/>
            </a:xfrm>
          </p:grpSpPr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4AF78DB0-2073-2F28-C288-AA4C8BBCAC0F}"/>
                  </a:ext>
                </a:extLst>
              </p:cNvPr>
              <p:cNvSpPr txBox="1"/>
              <p:nvPr/>
            </p:nvSpPr>
            <p:spPr>
              <a:xfrm>
                <a:off x="4600817" y="3741001"/>
                <a:ext cx="29929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29929" h="47998">
                    <a:moveTo>
                      <a:pt x="15198" y="0"/>
                    </a:moveTo>
                    <a:cubicBezTo>
                      <a:pt x="17931" y="19"/>
                      <a:pt x="20418" y="463"/>
                      <a:pt x="22659" y="1331"/>
                    </a:cubicBezTo>
                    <a:cubicBezTo>
                      <a:pt x="24899" y="2200"/>
                      <a:pt x="26701" y="3376"/>
                      <a:pt x="28065" y="4860"/>
                    </a:cubicBezTo>
                    <a:lnTo>
                      <a:pt x="25002" y="9127"/>
                    </a:lnTo>
                    <a:cubicBezTo>
                      <a:pt x="23783" y="7889"/>
                      <a:pt x="22405" y="6947"/>
                      <a:pt x="20868" y="6301"/>
                    </a:cubicBezTo>
                    <a:cubicBezTo>
                      <a:pt x="19331" y="5655"/>
                      <a:pt x="17552" y="5330"/>
                      <a:pt x="15531" y="5326"/>
                    </a:cubicBezTo>
                    <a:cubicBezTo>
                      <a:pt x="12905" y="5353"/>
                      <a:pt x="10853" y="5981"/>
                      <a:pt x="9377" y="7210"/>
                    </a:cubicBezTo>
                    <a:cubicBezTo>
                      <a:pt x="7902" y="8438"/>
                      <a:pt x="7151" y="10099"/>
                      <a:pt x="7126" y="12195"/>
                    </a:cubicBezTo>
                    <a:cubicBezTo>
                      <a:pt x="7187" y="14454"/>
                      <a:pt x="7977" y="16223"/>
                      <a:pt x="9498" y="17502"/>
                    </a:cubicBezTo>
                    <a:cubicBezTo>
                      <a:pt x="11018" y="18780"/>
                      <a:pt x="12903" y="19858"/>
                      <a:pt x="15153" y="20734"/>
                    </a:cubicBezTo>
                    <a:cubicBezTo>
                      <a:pt x="17403" y="21611"/>
                      <a:pt x="19652" y="22575"/>
                      <a:pt x="21902" y="23627"/>
                    </a:cubicBezTo>
                    <a:cubicBezTo>
                      <a:pt x="24152" y="24680"/>
                      <a:pt x="26037" y="26110"/>
                      <a:pt x="27557" y="27916"/>
                    </a:cubicBezTo>
                    <a:cubicBezTo>
                      <a:pt x="29078" y="29723"/>
                      <a:pt x="29868" y="32197"/>
                      <a:pt x="29929" y="35336"/>
                    </a:cubicBezTo>
                    <a:cubicBezTo>
                      <a:pt x="29825" y="39219"/>
                      <a:pt x="28351" y="42288"/>
                      <a:pt x="25507" y="44543"/>
                    </a:cubicBezTo>
                    <a:cubicBezTo>
                      <a:pt x="22663" y="46798"/>
                      <a:pt x="19071" y="47949"/>
                      <a:pt x="14731" y="47998"/>
                    </a:cubicBezTo>
                    <a:cubicBezTo>
                      <a:pt x="11753" y="47981"/>
                      <a:pt x="8872" y="47365"/>
                      <a:pt x="6089" y="46150"/>
                    </a:cubicBezTo>
                    <a:cubicBezTo>
                      <a:pt x="3305" y="44935"/>
                      <a:pt x="1276" y="43220"/>
                      <a:pt x="0" y="41005"/>
                    </a:cubicBezTo>
                    <a:lnTo>
                      <a:pt x="3264" y="37137"/>
                    </a:lnTo>
                    <a:cubicBezTo>
                      <a:pt x="4693" y="38943"/>
                      <a:pt x="6465" y="40316"/>
                      <a:pt x="8579" y="41255"/>
                    </a:cubicBezTo>
                    <a:cubicBezTo>
                      <a:pt x="10693" y="42194"/>
                      <a:pt x="12766" y="42666"/>
                      <a:pt x="14798" y="42672"/>
                    </a:cubicBezTo>
                    <a:cubicBezTo>
                      <a:pt x="17309" y="42665"/>
                      <a:pt x="19441" y="42045"/>
                      <a:pt x="21193" y="40813"/>
                    </a:cubicBezTo>
                    <a:cubicBezTo>
                      <a:pt x="22946" y="39581"/>
                      <a:pt x="23860" y="37777"/>
                      <a:pt x="23936" y="35403"/>
                    </a:cubicBezTo>
                    <a:cubicBezTo>
                      <a:pt x="23876" y="33168"/>
                      <a:pt x="23085" y="31398"/>
                      <a:pt x="21565" y="30095"/>
                    </a:cubicBezTo>
                    <a:cubicBezTo>
                      <a:pt x="20045" y="28792"/>
                      <a:pt x="18160" y="27681"/>
                      <a:pt x="15910" y="26763"/>
                    </a:cubicBezTo>
                    <a:cubicBezTo>
                      <a:pt x="13660" y="25844"/>
                      <a:pt x="11410" y="24845"/>
                      <a:pt x="9160" y="23763"/>
                    </a:cubicBezTo>
                    <a:cubicBezTo>
                      <a:pt x="6910" y="22682"/>
                      <a:pt x="5025" y="21246"/>
                      <a:pt x="3505" y="19455"/>
                    </a:cubicBezTo>
                    <a:cubicBezTo>
                      <a:pt x="1985" y="17663"/>
                      <a:pt x="1194" y="15243"/>
                      <a:pt x="1134" y="12195"/>
                    </a:cubicBezTo>
                    <a:cubicBezTo>
                      <a:pt x="1165" y="8740"/>
                      <a:pt x="2400" y="5865"/>
                      <a:pt x="4839" y="3571"/>
                    </a:cubicBezTo>
                    <a:cubicBezTo>
                      <a:pt x="7278" y="1278"/>
                      <a:pt x="10731" y="87"/>
                      <a:pt x="1519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64BA73ED-2872-14D6-6FDD-37FFF769F8A6}"/>
                  </a:ext>
                </a:extLst>
              </p:cNvPr>
              <p:cNvSpPr txBox="1"/>
              <p:nvPr/>
            </p:nvSpPr>
            <p:spPr>
              <a:xfrm>
                <a:off x="4646060" y="3741001"/>
                <a:ext cx="41130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41130" h="47998">
                    <a:moveTo>
                      <a:pt x="22933" y="0"/>
                    </a:moveTo>
                    <a:cubicBezTo>
                      <a:pt x="26078" y="1"/>
                      <a:pt x="28840" y="381"/>
                      <a:pt x="31219" y="1140"/>
                    </a:cubicBezTo>
                    <a:cubicBezTo>
                      <a:pt x="33597" y="1899"/>
                      <a:pt x="35725" y="3028"/>
                      <a:pt x="37602" y="4527"/>
                    </a:cubicBezTo>
                    <a:lnTo>
                      <a:pt x="35138" y="9061"/>
                    </a:lnTo>
                    <a:cubicBezTo>
                      <a:pt x="33740" y="7826"/>
                      <a:pt x="32033" y="6895"/>
                      <a:pt x="30019" y="6268"/>
                    </a:cubicBezTo>
                    <a:cubicBezTo>
                      <a:pt x="28004" y="5641"/>
                      <a:pt x="25864" y="5327"/>
                      <a:pt x="23600" y="5326"/>
                    </a:cubicBezTo>
                    <a:cubicBezTo>
                      <a:pt x="18314" y="5399"/>
                      <a:pt x="14079" y="7103"/>
                      <a:pt x="10895" y="10437"/>
                    </a:cubicBezTo>
                    <a:cubicBezTo>
                      <a:pt x="7710" y="13771"/>
                      <a:pt x="6076" y="18293"/>
                      <a:pt x="5993" y="24002"/>
                    </a:cubicBezTo>
                    <a:cubicBezTo>
                      <a:pt x="6072" y="29738"/>
                      <a:pt x="7714" y="34266"/>
                      <a:pt x="10920" y="37586"/>
                    </a:cubicBezTo>
                    <a:cubicBezTo>
                      <a:pt x="14125" y="40907"/>
                      <a:pt x="18418" y="42602"/>
                      <a:pt x="23800" y="42672"/>
                    </a:cubicBezTo>
                    <a:cubicBezTo>
                      <a:pt x="26071" y="42650"/>
                      <a:pt x="28314" y="42261"/>
                      <a:pt x="30527" y="41505"/>
                    </a:cubicBezTo>
                    <a:cubicBezTo>
                      <a:pt x="32741" y="40748"/>
                      <a:pt x="34500" y="39759"/>
                      <a:pt x="35805" y="38536"/>
                    </a:cubicBezTo>
                    <a:lnTo>
                      <a:pt x="35805" y="28929"/>
                    </a:lnTo>
                    <a:lnTo>
                      <a:pt x="23199" y="28929"/>
                    </a:lnTo>
                    <a:lnTo>
                      <a:pt x="23199" y="23603"/>
                    </a:lnTo>
                    <a:lnTo>
                      <a:pt x="41130" y="23603"/>
                    </a:lnTo>
                    <a:lnTo>
                      <a:pt x="41130" y="41538"/>
                    </a:lnTo>
                    <a:cubicBezTo>
                      <a:pt x="38960" y="43614"/>
                      <a:pt x="36258" y="45207"/>
                      <a:pt x="33026" y="46316"/>
                    </a:cubicBezTo>
                    <a:cubicBezTo>
                      <a:pt x="29795" y="47426"/>
                      <a:pt x="26675" y="47987"/>
                      <a:pt x="23666" y="47998"/>
                    </a:cubicBezTo>
                    <a:cubicBezTo>
                      <a:pt x="16319" y="47906"/>
                      <a:pt x="10558" y="45724"/>
                      <a:pt x="6381" y="41450"/>
                    </a:cubicBezTo>
                    <a:cubicBezTo>
                      <a:pt x="2204" y="37176"/>
                      <a:pt x="78" y="31361"/>
                      <a:pt x="0" y="24002"/>
                    </a:cubicBezTo>
                    <a:cubicBezTo>
                      <a:pt x="25" y="19485"/>
                      <a:pt x="974" y="15425"/>
                      <a:pt x="2848" y="11821"/>
                    </a:cubicBezTo>
                    <a:cubicBezTo>
                      <a:pt x="4722" y="8217"/>
                      <a:pt x="7370" y="5358"/>
                      <a:pt x="10792" y="3244"/>
                    </a:cubicBezTo>
                    <a:cubicBezTo>
                      <a:pt x="14215" y="1129"/>
                      <a:pt x="18261" y="48"/>
                      <a:pt x="2293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2ACC855F-6137-7686-0E4A-1F7A17A6388F}"/>
                  </a:ext>
                </a:extLst>
              </p:cNvPr>
              <p:cNvSpPr txBox="1"/>
              <p:nvPr/>
            </p:nvSpPr>
            <p:spPr>
              <a:xfrm>
                <a:off x="4479416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70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70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7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2CEE3CCD-BA42-A9A9-0275-CB1CE05F8113}"/>
                  </a:ext>
                </a:extLst>
              </p:cNvPr>
              <p:cNvSpPr txBox="1"/>
              <p:nvPr/>
            </p:nvSpPr>
            <p:spPr>
              <a:xfrm>
                <a:off x="4700872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69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69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8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FF16BEA2-39F9-9509-72EC-42F9DFC1B5A3}"/>
                  </a:ext>
                </a:extLst>
              </p:cNvPr>
              <p:cNvSpPr txBox="1"/>
              <p:nvPr/>
            </p:nvSpPr>
            <p:spPr>
              <a:xfrm>
                <a:off x="4330639" y="3738620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60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9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B93ECAB1-9481-8A03-8C27-8D3B6BE89A11}"/>
                  </a:ext>
                </a:extLst>
              </p:cNvPr>
              <p:cNvSpPr txBox="1"/>
              <p:nvPr/>
            </p:nvSpPr>
            <p:spPr>
              <a:xfrm>
                <a:off x="4428271" y="3741001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59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8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88E7E9C0-A325-DAFB-FA4B-08F0B580135A}"/>
                  </a:ext>
                </a:extLst>
              </p:cNvPr>
              <p:cNvSpPr txBox="1"/>
              <p:nvPr/>
            </p:nvSpPr>
            <p:spPr>
              <a:xfrm>
                <a:off x="4220435" y="3738620"/>
                <a:ext cx="37396" cy="47264"/>
              </a:xfrm>
              <a:custGeom>
                <a:avLst/>
                <a:gdLst/>
                <a:ahLst/>
                <a:cxnLst/>
                <a:rect l="l" t="t" r="r" b="b"/>
                <a:pathLst>
                  <a:path w="37396" h="472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25670"/>
                    </a:lnTo>
                    <a:cubicBezTo>
                      <a:pt x="5682" y="30781"/>
                      <a:pt x="6869" y="34760"/>
                      <a:pt x="9219" y="37604"/>
                    </a:cubicBezTo>
                    <a:cubicBezTo>
                      <a:pt x="11568" y="40449"/>
                      <a:pt x="14939" y="41894"/>
                      <a:pt x="19331" y="41938"/>
                    </a:cubicBezTo>
                    <a:cubicBezTo>
                      <a:pt x="23204" y="41940"/>
                      <a:pt x="26230" y="40620"/>
                      <a:pt x="28410" y="37980"/>
                    </a:cubicBezTo>
                    <a:cubicBezTo>
                      <a:pt x="30591" y="35339"/>
                      <a:pt x="31699" y="31369"/>
                      <a:pt x="31737" y="26070"/>
                    </a:cubicBezTo>
                    <a:lnTo>
                      <a:pt x="31737" y="0"/>
                    </a:lnTo>
                    <a:lnTo>
                      <a:pt x="37396" y="0"/>
                    </a:lnTo>
                    <a:lnTo>
                      <a:pt x="37396" y="27203"/>
                    </a:lnTo>
                    <a:cubicBezTo>
                      <a:pt x="37349" y="31943"/>
                      <a:pt x="36495" y="35790"/>
                      <a:pt x="34832" y="38746"/>
                    </a:cubicBezTo>
                    <a:cubicBezTo>
                      <a:pt x="33169" y="41701"/>
                      <a:pt x="30976" y="43864"/>
                      <a:pt x="28254" y="45234"/>
                    </a:cubicBezTo>
                    <a:cubicBezTo>
                      <a:pt x="25531" y="46604"/>
                      <a:pt x="22557" y="47281"/>
                      <a:pt x="19331" y="47264"/>
                    </a:cubicBezTo>
                    <a:cubicBezTo>
                      <a:pt x="13624" y="47263"/>
                      <a:pt x="9001" y="45550"/>
                      <a:pt x="5464" y="42126"/>
                    </a:cubicBezTo>
                    <a:cubicBezTo>
                      <a:pt x="1926" y="38702"/>
                      <a:pt x="105" y="33572"/>
                      <a:pt x="0" y="267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C4C5E77-C3BE-96ED-CBC3-BF51B73140D1}"/>
                  </a:ext>
                </a:extLst>
              </p:cNvPr>
              <p:cNvSpPr txBox="1"/>
              <p:nvPr/>
            </p:nvSpPr>
            <p:spPr>
              <a:xfrm>
                <a:off x="4278251" y="3738620"/>
                <a:ext cx="5659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5659" h="466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23AFFD6E-319B-C9AC-659B-5B8DD4879727}"/>
                  </a:ext>
                </a:extLst>
              </p:cNvPr>
              <p:cNvSpPr txBox="1"/>
              <p:nvPr/>
            </p:nvSpPr>
            <p:spPr>
              <a:xfrm>
                <a:off x="4285044" y="3738620"/>
                <a:ext cx="28403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28403" h="46664">
                    <a:moveTo>
                      <a:pt x="20469" y="0"/>
                    </a:moveTo>
                    <a:lnTo>
                      <a:pt x="27337" y="0"/>
                    </a:lnTo>
                    <a:lnTo>
                      <a:pt x="6534" y="21932"/>
                    </a:lnTo>
                    <a:lnTo>
                      <a:pt x="28403" y="46664"/>
                    </a:lnTo>
                    <a:lnTo>
                      <a:pt x="21136" y="46664"/>
                    </a:lnTo>
                    <a:lnTo>
                      <a:pt x="0" y="22332"/>
                    </a:lnTo>
                    <a:lnTo>
                      <a:pt x="2046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0850073-D57C-A0BD-83B8-6244F70DD99B}"/>
                  </a:ext>
                </a:extLst>
              </p:cNvPr>
              <p:cNvSpPr txBox="1"/>
              <p:nvPr/>
            </p:nvSpPr>
            <p:spPr>
              <a:xfrm>
                <a:off x="4374312" y="3741001"/>
                <a:ext cx="38330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330" h="46664">
                    <a:moveTo>
                      <a:pt x="0" y="0"/>
                    </a:moveTo>
                    <a:lnTo>
                      <a:pt x="38330" y="0"/>
                    </a:lnTo>
                    <a:lnTo>
                      <a:pt x="38330" y="5325"/>
                    </a:lnTo>
                    <a:lnTo>
                      <a:pt x="21995" y="5325"/>
                    </a:lnTo>
                    <a:lnTo>
                      <a:pt x="21995" y="46664"/>
                    </a:lnTo>
                    <a:lnTo>
                      <a:pt x="16336" y="46664"/>
                    </a:lnTo>
                    <a:lnTo>
                      <a:pt x="16336" y="5325"/>
                    </a:lnTo>
                    <a:lnTo>
                      <a:pt x="0" y="53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EF658B82-8D89-4D59-2987-222DF4C73177}"/>
                  </a:ext>
                </a:extLst>
              </p:cNvPr>
              <p:cNvSpPr txBox="1"/>
              <p:nvPr/>
            </p:nvSpPr>
            <p:spPr>
              <a:xfrm>
                <a:off x="4542571" y="3741001"/>
                <a:ext cx="38997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997" h="46664">
                    <a:moveTo>
                      <a:pt x="0" y="0"/>
                    </a:moveTo>
                    <a:lnTo>
                      <a:pt x="4527" y="0"/>
                    </a:lnTo>
                    <a:lnTo>
                      <a:pt x="33671" y="36798"/>
                    </a:lnTo>
                    <a:lnTo>
                      <a:pt x="33671" y="0"/>
                    </a:lnTo>
                    <a:lnTo>
                      <a:pt x="38997" y="0"/>
                    </a:lnTo>
                    <a:lnTo>
                      <a:pt x="38997" y="46664"/>
                    </a:lnTo>
                    <a:lnTo>
                      <a:pt x="34470" y="46664"/>
                    </a:lnTo>
                    <a:lnTo>
                      <a:pt x="5326" y="9999"/>
                    </a:lnTo>
                    <a:lnTo>
                      <a:pt x="5326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C6AC1108-6D76-90E9-AA4A-11FE66A069D8}"/>
                  </a:ext>
                </a:extLst>
              </p:cNvPr>
              <p:cNvSpPr txBox="1"/>
              <p:nvPr/>
            </p:nvSpPr>
            <p:spPr>
              <a:xfrm>
                <a:off x="4758121" y="3741001"/>
                <a:ext cx="37733" cy="47727"/>
              </a:xfrm>
              <a:custGeom>
                <a:avLst/>
                <a:gdLst/>
                <a:ahLst/>
                <a:cxnLst/>
                <a:rect l="l" t="t" r="r" b="b"/>
                <a:pathLst>
                  <a:path w="37733" h="47727">
                    <a:moveTo>
                      <a:pt x="2767" y="0"/>
                    </a:moveTo>
                    <a:lnTo>
                      <a:pt x="36951" y="0"/>
                    </a:lnTo>
                    <a:lnTo>
                      <a:pt x="36951" y="5632"/>
                    </a:lnTo>
                    <a:lnTo>
                      <a:pt x="10158" y="38742"/>
                    </a:lnTo>
                    <a:lnTo>
                      <a:pt x="7260" y="42095"/>
                    </a:lnTo>
                    <a:lnTo>
                      <a:pt x="37733" y="42095"/>
                    </a:lnTo>
                    <a:lnTo>
                      <a:pt x="37733" y="47727"/>
                    </a:lnTo>
                    <a:lnTo>
                      <a:pt x="0" y="47727"/>
                    </a:lnTo>
                    <a:lnTo>
                      <a:pt x="0" y="41867"/>
                    </a:lnTo>
                    <a:lnTo>
                      <a:pt x="24450" y="11297"/>
                    </a:lnTo>
                    <a:cubicBezTo>
                      <a:pt x="26186" y="9126"/>
                      <a:pt x="27836" y="7238"/>
                      <a:pt x="29398" y="5632"/>
                    </a:cubicBezTo>
                    <a:lnTo>
                      <a:pt x="2767" y="5632"/>
                    </a:lnTo>
                    <a:lnTo>
                      <a:pt x="276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38858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5" name="think-cell data - do not delete" hidden="1">
            <a:extLst>
              <a:ext uri="{FF2B5EF4-FFF2-40B4-BE49-F238E27FC236}">
                <a16:creationId xmlns:a16="http://schemas.microsoft.com/office/drawing/2014/main" id="{71B51ED5-86BB-E652-3FDF-84A57CFAFB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359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26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B51ED5-86BB-E652-3FDF-84A57CFAFB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51" name="Групувати 1050">
            <a:extLst>
              <a:ext uri="{FF2B5EF4-FFF2-40B4-BE49-F238E27FC236}">
                <a16:creationId xmlns:a16="http://schemas.microsoft.com/office/drawing/2014/main" id="{F9B22843-0E3E-C4A0-F9F7-0501E0D9818D}"/>
              </a:ext>
            </a:extLst>
          </p:cNvPr>
          <p:cNvGrpSpPr/>
          <p:nvPr/>
        </p:nvGrpSpPr>
        <p:grpSpPr>
          <a:xfrm>
            <a:off x="10597544" y="100225"/>
            <a:ext cx="285344" cy="279495"/>
            <a:chOff x="5192198" y="3302281"/>
            <a:chExt cx="207633" cy="206717"/>
          </a:xfrm>
        </p:grpSpPr>
        <p:sp>
          <p:nvSpPr>
            <p:cNvPr id="1065" name="Freeform 220">
              <a:extLst>
                <a:ext uri="{FF2B5EF4-FFF2-40B4-BE49-F238E27FC236}">
                  <a16:creationId xmlns:a16="http://schemas.microsoft.com/office/drawing/2014/main" id="{E508FB3B-812F-B119-15F1-AC8AC77E047D}"/>
                </a:ext>
              </a:extLst>
            </p:cNvPr>
            <p:cNvSpPr/>
            <p:nvPr/>
          </p:nvSpPr>
          <p:spPr>
            <a:xfrm>
              <a:off x="5309209" y="3316368"/>
              <a:ext cx="90622" cy="178639"/>
            </a:xfrm>
            <a:custGeom>
              <a:avLst/>
              <a:gdLst/>
              <a:ahLst/>
              <a:cxnLst/>
              <a:rect l="0" t="0" r="0" b="0"/>
              <a:pathLst>
                <a:path w="268693" h="529665">
                  <a:moveTo>
                    <a:pt x="249186" y="162356"/>
                  </a:moveTo>
                  <a:cubicBezTo>
                    <a:pt x="249490" y="162482"/>
                    <a:pt x="249770" y="162521"/>
                    <a:pt x="250049" y="162724"/>
                  </a:cubicBezTo>
                  <a:cubicBezTo>
                    <a:pt x="233972" y="106400"/>
                    <a:pt x="199834" y="59042"/>
                    <a:pt x="150126" y="24841"/>
                  </a:cubicBezTo>
                  <a:cubicBezTo>
                    <a:pt x="127165" y="9055"/>
                    <a:pt x="100622" y="0"/>
                    <a:pt x="77356" y="0"/>
                  </a:cubicBezTo>
                  <a:cubicBezTo>
                    <a:pt x="63970" y="0"/>
                    <a:pt x="51701" y="2844"/>
                    <a:pt x="41008" y="8661"/>
                  </a:cubicBezTo>
                  <a:cubicBezTo>
                    <a:pt x="13894" y="24498"/>
                    <a:pt x="0" y="46990"/>
                    <a:pt x="0" y="75565"/>
                  </a:cubicBezTo>
                  <a:cubicBezTo>
                    <a:pt x="0" y="122174"/>
                    <a:pt x="27051" y="149669"/>
                    <a:pt x="67932" y="191324"/>
                  </a:cubicBezTo>
                  <a:cubicBezTo>
                    <a:pt x="89205" y="213003"/>
                    <a:pt x="113068" y="237336"/>
                    <a:pt x="136474" y="268591"/>
                  </a:cubicBezTo>
                  <a:cubicBezTo>
                    <a:pt x="174879" y="319785"/>
                    <a:pt x="184366" y="391375"/>
                    <a:pt x="161239" y="455687"/>
                  </a:cubicBezTo>
                  <a:cubicBezTo>
                    <a:pt x="151143" y="483754"/>
                    <a:pt x="135737" y="508431"/>
                    <a:pt x="115798" y="528992"/>
                  </a:cubicBezTo>
                  <a:cubicBezTo>
                    <a:pt x="115519" y="529068"/>
                    <a:pt x="115468" y="529462"/>
                    <a:pt x="115214" y="529665"/>
                  </a:cubicBezTo>
                  <a:cubicBezTo>
                    <a:pt x="163931" y="502233"/>
                    <a:pt x="200685" y="463269"/>
                    <a:pt x="223342" y="414768"/>
                  </a:cubicBezTo>
                  <a:cubicBezTo>
                    <a:pt x="268693" y="317359"/>
                    <a:pt x="235026" y="249795"/>
                    <a:pt x="214922" y="209384"/>
                  </a:cubicBezTo>
                  <a:cubicBezTo>
                    <a:pt x="204610" y="188670"/>
                    <a:pt x="197193" y="173531"/>
                    <a:pt x="204711" y="162191"/>
                  </a:cubicBezTo>
                  <a:cubicBezTo>
                    <a:pt x="213411" y="149098"/>
                    <a:pt x="229451" y="148463"/>
                    <a:pt x="249186" y="162356"/>
                  </a:cubicBezTo>
                </a:path>
              </a:pathLst>
            </a:custGeom>
            <a:solidFill>
              <a:srgbClr val="00A1D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sp>
          <p:nvSpPr>
            <p:cNvPr id="1066" name="Freeform 221">
              <a:extLst>
                <a:ext uri="{FF2B5EF4-FFF2-40B4-BE49-F238E27FC236}">
                  <a16:creationId xmlns:a16="http://schemas.microsoft.com/office/drawing/2014/main" id="{1A1459EE-D9EB-0E2E-B4AE-7FDDD30E5D38}"/>
                </a:ext>
              </a:extLst>
            </p:cNvPr>
            <p:cNvSpPr/>
            <p:nvPr/>
          </p:nvSpPr>
          <p:spPr>
            <a:xfrm>
              <a:off x="5192198" y="3326401"/>
              <a:ext cx="131219" cy="179925"/>
            </a:xfrm>
            <a:custGeom>
              <a:avLst/>
              <a:gdLst/>
              <a:ahLst/>
              <a:cxnLst/>
              <a:rect l="0" t="0" r="0" b="0"/>
              <a:pathLst>
                <a:path w="389064" h="533476">
                  <a:moveTo>
                    <a:pt x="374561" y="363639"/>
                  </a:moveTo>
                  <a:cubicBezTo>
                    <a:pt x="345733" y="318936"/>
                    <a:pt x="304800" y="303162"/>
                    <a:pt x="261519" y="286563"/>
                  </a:cubicBezTo>
                  <a:cubicBezTo>
                    <a:pt x="219050" y="270142"/>
                    <a:pt x="175095" y="253251"/>
                    <a:pt x="137757" y="209398"/>
                  </a:cubicBezTo>
                  <a:cubicBezTo>
                    <a:pt x="101156" y="166739"/>
                    <a:pt x="85764" y="111430"/>
                    <a:pt x="94044" y="53988"/>
                  </a:cubicBezTo>
                  <a:cubicBezTo>
                    <a:pt x="96635" y="36322"/>
                    <a:pt x="101651" y="19495"/>
                    <a:pt x="108243" y="3988"/>
                  </a:cubicBezTo>
                  <a:cubicBezTo>
                    <a:pt x="108509" y="3214"/>
                    <a:pt x="108801" y="2451"/>
                    <a:pt x="108827" y="2439"/>
                  </a:cubicBezTo>
                  <a:cubicBezTo>
                    <a:pt x="109182" y="1486"/>
                    <a:pt x="109386" y="788"/>
                    <a:pt x="109703" y="0"/>
                  </a:cubicBezTo>
                  <a:cubicBezTo>
                    <a:pt x="104902" y="3988"/>
                    <a:pt x="100559" y="8408"/>
                    <a:pt x="96063" y="12675"/>
                  </a:cubicBezTo>
                  <a:cubicBezTo>
                    <a:pt x="96139" y="12599"/>
                    <a:pt x="96241" y="12535"/>
                    <a:pt x="96330" y="12459"/>
                  </a:cubicBezTo>
                  <a:cubicBezTo>
                    <a:pt x="96241" y="12535"/>
                    <a:pt x="96139" y="12612"/>
                    <a:pt x="96063" y="12688"/>
                  </a:cubicBezTo>
                  <a:cubicBezTo>
                    <a:pt x="35345" y="69977"/>
                    <a:pt x="0" y="149556"/>
                    <a:pt x="0" y="234925"/>
                  </a:cubicBezTo>
                  <a:cubicBezTo>
                    <a:pt x="0" y="369468"/>
                    <a:pt x="90031" y="490258"/>
                    <a:pt x="218974" y="528586"/>
                  </a:cubicBezTo>
                  <a:cubicBezTo>
                    <a:pt x="231445" y="531837"/>
                    <a:pt x="244221" y="533476"/>
                    <a:pt x="256972" y="533476"/>
                  </a:cubicBezTo>
                  <a:cubicBezTo>
                    <a:pt x="300482" y="533476"/>
                    <a:pt x="339344" y="514349"/>
                    <a:pt x="363881" y="480910"/>
                  </a:cubicBezTo>
                  <a:cubicBezTo>
                    <a:pt x="376135" y="464070"/>
                    <a:pt x="383044" y="444995"/>
                    <a:pt x="385800" y="426034"/>
                  </a:cubicBezTo>
                  <a:cubicBezTo>
                    <a:pt x="389064" y="403453"/>
                    <a:pt x="385838" y="381190"/>
                    <a:pt x="374561" y="363639"/>
                  </a:cubicBezTo>
                </a:path>
              </a:pathLst>
            </a:cu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 dirty="0"/>
            </a:p>
          </p:txBody>
        </p:sp>
        <p:sp>
          <p:nvSpPr>
            <p:cNvPr id="1067" name="Freeform 222">
              <a:extLst>
                <a:ext uri="{FF2B5EF4-FFF2-40B4-BE49-F238E27FC236}">
                  <a16:creationId xmlns:a16="http://schemas.microsoft.com/office/drawing/2014/main" id="{63EC0166-413F-3BFA-A9E9-2DBED52BD2F0}"/>
                </a:ext>
              </a:extLst>
            </p:cNvPr>
            <p:cNvSpPr/>
            <p:nvPr/>
          </p:nvSpPr>
          <p:spPr>
            <a:xfrm>
              <a:off x="5231948" y="3302281"/>
              <a:ext cx="129163" cy="206717"/>
            </a:xfrm>
            <a:custGeom>
              <a:avLst/>
              <a:gdLst/>
              <a:ahLst/>
              <a:cxnLst/>
              <a:rect l="0" t="0" r="0" b="0"/>
              <a:pathLst>
                <a:path w="382967" h="612914">
                  <a:moveTo>
                    <a:pt x="342366" y="327609"/>
                  </a:moveTo>
                  <a:cubicBezTo>
                    <a:pt x="320078" y="297904"/>
                    <a:pt x="296850" y="274142"/>
                    <a:pt x="276352" y="253340"/>
                  </a:cubicBezTo>
                  <a:cubicBezTo>
                    <a:pt x="233743" y="209868"/>
                    <a:pt x="200215" y="175692"/>
                    <a:pt x="200215" y="117323"/>
                  </a:cubicBezTo>
                  <a:cubicBezTo>
                    <a:pt x="200215" y="57811"/>
                    <a:pt x="243726" y="25121"/>
                    <a:pt x="284543" y="15316"/>
                  </a:cubicBezTo>
                  <a:cubicBezTo>
                    <a:pt x="282499" y="14656"/>
                    <a:pt x="280162" y="14313"/>
                    <a:pt x="278054" y="13742"/>
                  </a:cubicBezTo>
                  <a:cubicBezTo>
                    <a:pt x="249555" y="5157"/>
                    <a:pt x="218605" y="0"/>
                    <a:pt x="188531" y="0"/>
                  </a:cubicBezTo>
                  <a:cubicBezTo>
                    <a:pt x="138582" y="0"/>
                    <a:pt x="99174" y="10275"/>
                    <a:pt x="60719" y="33389"/>
                  </a:cubicBezTo>
                  <a:cubicBezTo>
                    <a:pt x="32842" y="50127"/>
                    <a:pt x="10960" y="87922"/>
                    <a:pt x="4864" y="129718"/>
                  </a:cubicBezTo>
                  <a:cubicBezTo>
                    <a:pt x="686" y="158141"/>
                    <a:pt x="0" y="213157"/>
                    <a:pt x="41846" y="262065"/>
                  </a:cubicBezTo>
                  <a:cubicBezTo>
                    <a:pt x="74536" y="300393"/>
                    <a:pt x="114948" y="316002"/>
                    <a:pt x="153987" y="331038"/>
                  </a:cubicBezTo>
                  <a:cubicBezTo>
                    <a:pt x="199809" y="348652"/>
                    <a:pt x="247002" y="366953"/>
                    <a:pt x="280975" y="419442"/>
                  </a:cubicBezTo>
                  <a:cubicBezTo>
                    <a:pt x="304025" y="455091"/>
                    <a:pt x="303886" y="505104"/>
                    <a:pt x="282499" y="547801"/>
                  </a:cubicBezTo>
                  <a:cubicBezTo>
                    <a:pt x="281102" y="550659"/>
                    <a:pt x="279552" y="553415"/>
                    <a:pt x="277952" y="556132"/>
                  </a:cubicBezTo>
                  <a:cubicBezTo>
                    <a:pt x="277520" y="556932"/>
                    <a:pt x="277038" y="557745"/>
                    <a:pt x="276581" y="558545"/>
                  </a:cubicBezTo>
                  <a:cubicBezTo>
                    <a:pt x="259715" y="585304"/>
                    <a:pt x="231902" y="606069"/>
                    <a:pt x="204165" y="612914"/>
                  </a:cubicBezTo>
                  <a:cubicBezTo>
                    <a:pt x="219011" y="610793"/>
                    <a:pt x="233401" y="607555"/>
                    <a:pt x="247307" y="602856"/>
                  </a:cubicBezTo>
                  <a:cubicBezTo>
                    <a:pt x="248679" y="602462"/>
                    <a:pt x="250038" y="602043"/>
                    <a:pt x="251435" y="601649"/>
                  </a:cubicBezTo>
                  <a:cubicBezTo>
                    <a:pt x="253213" y="601001"/>
                    <a:pt x="254864" y="600100"/>
                    <a:pt x="256603" y="599427"/>
                  </a:cubicBezTo>
                  <a:cubicBezTo>
                    <a:pt x="259804" y="598157"/>
                    <a:pt x="262979" y="596823"/>
                    <a:pt x="266103" y="595375"/>
                  </a:cubicBezTo>
                  <a:cubicBezTo>
                    <a:pt x="268084" y="594448"/>
                    <a:pt x="270091" y="593559"/>
                    <a:pt x="272110" y="592505"/>
                  </a:cubicBezTo>
                  <a:cubicBezTo>
                    <a:pt x="276936" y="590092"/>
                    <a:pt x="281686" y="587336"/>
                    <a:pt x="286334" y="584453"/>
                  </a:cubicBezTo>
                  <a:cubicBezTo>
                    <a:pt x="287007" y="584022"/>
                    <a:pt x="287642" y="583590"/>
                    <a:pt x="288252" y="583183"/>
                  </a:cubicBezTo>
                  <a:cubicBezTo>
                    <a:pt x="293408" y="579894"/>
                    <a:pt x="298386" y="576198"/>
                    <a:pt x="303301" y="572274"/>
                  </a:cubicBezTo>
                  <a:cubicBezTo>
                    <a:pt x="303695" y="571944"/>
                    <a:pt x="304101" y="571601"/>
                    <a:pt x="304495" y="571296"/>
                  </a:cubicBezTo>
                  <a:cubicBezTo>
                    <a:pt x="308991" y="567575"/>
                    <a:pt x="313398" y="563587"/>
                    <a:pt x="317716" y="559282"/>
                  </a:cubicBezTo>
                  <a:cubicBezTo>
                    <a:pt x="318795" y="558139"/>
                    <a:pt x="319900" y="556932"/>
                    <a:pt x="321018" y="555789"/>
                  </a:cubicBezTo>
                  <a:cubicBezTo>
                    <a:pt x="323939" y="552703"/>
                    <a:pt x="326796" y="549477"/>
                    <a:pt x="329565" y="546087"/>
                  </a:cubicBezTo>
                  <a:cubicBezTo>
                    <a:pt x="331787" y="543470"/>
                    <a:pt x="333832" y="540753"/>
                    <a:pt x="335877" y="538022"/>
                  </a:cubicBezTo>
                  <a:cubicBezTo>
                    <a:pt x="338036" y="535114"/>
                    <a:pt x="340182" y="532091"/>
                    <a:pt x="342265" y="529005"/>
                  </a:cubicBezTo>
                  <a:cubicBezTo>
                    <a:pt x="343255" y="527494"/>
                    <a:pt x="344283" y="526046"/>
                    <a:pt x="345210" y="524535"/>
                  </a:cubicBezTo>
                  <a:cubicBezTo>
                    <a:pt x="345502" y="524141"/>
                    <a:pt x="345782" y="523709"/>
                    <a:pt x="346087" y="523239"/>
                  </a:cubicBezTo>
                  <a:lnTo>
                    <a:pt x="346036" y="523062"/>
                  </a:lnTo>
                  <a:cubicBezTo>
                    <a:pt x="352792" y="511949"/>
                    <a:pt x="358609" y="500176"/>
                    <a:pt x="363092" y="487616"/>
                  </a:cubicBezTo>
                  <a:cubicBezTo>
                    <a:pt x="382967" y="432472"/>
                    <a:pt x="374992" y="371144"/>
                    <a:pt x="342366" y="327609"/>
                  </a:cubicBezTo>
                </a:path>
              </a:pathLst>
            </a:custGeom>
            <a:solidFill>
              <a:srgbClr val="00A1D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</p:grpSp>
      <p:grpSp>
        <p:nvGrpSpPr>
          <p:cNvPr id="3" name="Групувати 2">
            <a:extLst>
              <a:ext uri="{FF2B5EF4-FFF2-40B4-BE49-F238E27FC236}">
                <a16:creationId xmlns:a16="http://schemas.microsoft.com/office/drawing/2014/main" id="{DBF0DDB1-11A4-8978-4553-83FD5C46E829}"/>
              </a:ext>
            </a:extLst>
          </p:cNvPr>
          <p:cNvGrpSpPr/>
          <p:nvPr/>
        </p:nvGrpSpPr>
        <p:grpSpPr>
          <a:xfrm>
            <a:off x="-152400" y="125042"/>
            <a:ext cx="12270326" cy="6707558"/>
            <a:chOff x="-165169" y="128946"/>
            <a:chExt cx="12270326" cy="670755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AA2624D-FAB6-DFC1-ADCC-01468EBDE35E}"/>
                </a:ext>
              </a:extLst>
            </p:cNvPr>
            <p:cNvSpPr txBox="1">
              <a:spLocks/>
            </p:cNvSpPr>
            <p:nvPr/>
          </p:nvSpPr>
          <p:spPr>
            <a:xfrm>
              <a:off x="785790" y="501629"/>
              <a:ext cx="1708017" cy="1107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66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59% </a:t>
              </a:r>
              <a:endParaRPr lang="uk-UA" sz="66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75750131-86F3-D5A7-30C6-0EB0B747E34A}"/>
                </a:ext>
              </a:extLst>
            </p:cNvPr>
            <p:cNvSpPr txBox="1">
              <a:spLocks/>
            </p:cNvSpPr>
            <p:nvPr/>
          </p:nvSpPr>
          <p:spPr>
            <a:xfrm>
              <a:off x="-151023" y="173740"/>
              <a:ext cx="737470" cy="2637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114" dirty="0">
                  <a:latin typeface="Calibri" panose="020F0502020204030204" pitchFamily="34" charset="0"/>
                  <a:cs typeface="Calibri" panose="020F0502020204030204" pitchFamily="34" charset="0"/>
                </a:rPr>
                <a:t>100%</a:t>
              </a:r>
              <a:endParaRPr lang="uk-UA" sz="111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94CE00EC-311F-1E26-39D6-3E50E504487B}"/>
                </a:ext>
              </a:extLst>
            </p:cNvPr>
            <p:cNvSpPr txBox="1">
              <a:spLocks/>
            </p:cNvSpPr>
            <p:nvPr/>
          </p:nvSpPr>
          <p:spPr>
            <a:xfrm>
              <a:off x="-165169" y="6423830"/>
              <a:ext cx="612395" cy="2637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114" dirty="0">
                  <a:latin typeface="Calibri" panose="020F0502020204030204" pitchFamily="34" charset="0"/>
                  <a:cs typeface="Calibri" panose="020F0502020204030204" pitchFamily="34" charset="0"/>
                </a:rPr>
                <a:t>0%</a:t>
              </a:r>
              <a:endParaRPr lang="uk-UA" sz="1114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F2F078-2425-4A16-EAC4-C56832109E0D}"/>
                </a:ext>
              </a:extLst>
            </p:cNvPr>
            <p:cNvSpPr txBox="1">
              <a:spLocks/>
            </p:cNvSpPr>
            <p:nvPr/>
          </p:nvSpPr>
          <p:spPr>
            <a:xfrm>
              <a:off x="5603129" y="4040265"/>
              <a:ext cx="89999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uk-UA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  <a:r>
                <a:rPr lang="en-US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% </a:t>
              </a:r>
              <a:endParaRPr lang="uk-UA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0" name="Групувати 19">
              <a:extLst>
                <a:ext uri="{FF2B5EF4-FFF2-40B4-BE49-F238E27FC236}">
                  <a16:creationId xmlns:a16="http://schemas.microsoft.com/office/drawing/2014/main" id="{20F9E17D-BF22-F4A6-DB08-35FBCD8559D9}"/>
                </a:ext>
              </a:extLst>
            </p:cNvPr>
            <p:cNvGrpSpPr/>
            <p:nvPr/>
          </p:nvGrpSpPr>
          <p:grpSpPr>
            <a:xfrm>
              <a:off x="745232" y="1708363"/>
              <a:ext cx="1121787" cy="138495"/>
              <a:chOff x="1077770" y="1708136"/>
              <a:chExt cx="1121787" cy="138495"/>
            </a:xfrm>
          </p:grpSpPr>
          <p:sp>
            <p:nvSpPr>
              <p:cNvPr id="363" name="Полілінія: фігура 362">
                <a:extLst>
                  <a:ext uri="{FF2B5EF4-FFF2-40B4-BE49-F238E27FC236}">
                    <a16:creationId xmlns:a16="http://schemas.microsoft.com/office/drawing/2014/main" id="{DACCFE25-997B-6205-6666-830D39ECCD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079288" y="1708136"/>
                <a:ext cx="120269" cy="138495"/>
              </a:xfrm>
              <a:custGeom>
                <a:avLst/>
                <a:gdLst/>
                <a:ahLst/>
                <a:cxnLst/>
                <a:rect l="l" t="t" r="r" b="b"/>
                <a:pathLst>
                  <a:path w="161217" h="185648">
                    <a:moveTo>
                      <a:pt x="89740" y="0"/>
                    </a:moveTo>
                    <a:cubicBezTo>
                      <a:pt x="102491" y="37"/>
                      <a:pt x="113519" y="1632"/>
                      <a:pt x="122827" y="4784"/>
                    </a:cubicBezTo>
                    <a:cubicBezTo>
                      <a:pt x="132133" y="7937"/>
                      <a:pt x="140392" y="12422"/>
                      <a:pt x="147601" y="18239"/>
                    </a:cubicBezTo>
                    <a:lnTo>
                      <a:pt x="134243" y="43438"/>
                    </a:lnTo>
                    <a:cubicBezTo>
                      <a:pt x="129592" y="39144"/>
                      <a:pt x="123654" y="35767"/>
                      <a:pt x="116430" y="33306"/>
                    </a:cubicBezTo>
                    <a:cubicBezTo>
                      <a:pt x="109206" y="30845"/>
                      <a:pt x="101595" y="29591"/>
                      <a:pt x="93599" y="29543"/>
                    </a:cubicBezTo>
                    <a:cubicBezTo>
                      <a:pt x="75896" y="29672"/>
                      <a:pt x="61522" y="35204"/>
                      <a:pt x="50476" y="46139"/>
                    </a:cubicBezTo>
                    <a:cubicBezTo>
                      <a:pt x="39430" y="57074"/>
                      <a:pt x="33738" y="72638"/>
                      <a:pt x="33401" y="92832"/>
                    </a:cubicBezTo>
                    <a:cubicBezTo>
                      <a:pt x="33658" y="112228"/>
                      <a:pt x="39253" y="127562"/>
                      <a:pt x="50187" y="138834"/>
                    </a:cubicBezTo>
                    <a:cubicBezTo>
                      <a:pt x="61120" y="150106"/>
                      <a:pt x="75848" y="155863"/>
                      <a:pt x="94371" y="156105"/>
                    </a:cubicBezTo>
                    <a:cubicBezTo>
                      <a:pt x="101585" y="155992"/>
                      <a:pt x="108702" y="154738"/>
                      <a:pt x="115723" y="152341"/>
                    </a:cubicBezTo>
                    <a:cubicBezTo>
                      <a:pt x="122744" y="149944"/>
                      <a:pt x="128061" y="147081"/>
                      <a:pt x="131673" y="143751"/>
                    </a:cubicBezTo>
                    <a:lnTo>
                      <a:pt x="131673" y="115439"/>
                    </a:lnTo>
                    <a:lnTo>
                      <a:pt x="88196" y="115439"/>
                    </a:lnTo>
                    <a:lnTo>
                      <a:pt x="88196" y="85896"/>
                    </a:lnTo>
                    <a:lnTo>
                      <a:pt x="161217" y="85896"/>
                    </a:lnTo>
                    <a:lnTo>
                      <a:pt x="161217" y="160472"/>
                    </a:lnTo>
                    <a:cubicBezTo>
                      <a:pt x="152840" y="168489"/>
                      <a:pt x="142420" y="174676"/>
                      <a:pt x="129957" y="179033"/>
                    </a:cubicBezTo>
                    <a:cubicBezTo>
                      <a:pt x="117493" y="183389"/>
                      <a:pt x="105459" y="185594"/>
                      <a:pt x="93856" y="185648"/>
                    </a:cubicBezTo>
                    <a:cubicBezTo>
                      <a:pt x="64171" y="185285"/>
                      <a:pt x="41165" y="176824"/>
                      <a:pt x="24836" y="160265"/>
                    </a:cubicBezTo>
                    <a:cubicBezTo>
                      <a:pt x="8507" y="143706"/>
                      <a:pt x="229" y="121228"/>
                      <a:pt x="0" y="92832"/>
                    </a:cubicBezTo>
                    <a:cubicBezTo>
                      <a:pt x="88" y="75407"/>
                      <a:pt x="3766" y="59724"/>
                      <a:pt x="11032" y="45782"/>
                    </a:cubicBezTo>
                    <a:cubicBezTo>
                      <a:pt x="18298" y="31841"/>
                      <a:pt x="28623" y="20772"/>
                      <a:pt x="42006" y="12576"/>
                    </a:cubicBezTo>
                    <a:cubicBezTo>
                      <a:pt x="55389" y="4380"/>
                      <a:pt x="71301" y="188"/>
                      <a:pt x="89740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2" name="Полілінія: фігура 361">
                <a:extLst>
                  <a:ext uri="{FF2B5EF4-FFF2-40B4-BE49-F238E27FC236}">
                    <a16:creationId xmlns:a16="http://schemas.microsoft.com/office/drawing/2014/main" id="{23AFFBDA-B417-CD02-529D-EC7C0CC8C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77770" y="1710438"/>
                <a:ext cx="110676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48358" h="179733">
                    <a:moveTo>
                      <a:pt x="0" y="0"/>
                    </a:moveTo>
                    <a:lnTo>
                      <a:pt x="148358" y="0"/>
                    </a:lnTo>
                    <a:lnTo>
                      <a:pt x="148358" y="29543"/>
                    </a:lnTo>
                    <a:lnTo>
                      <a:pt x="89979" y="29543"/>
                    </a:lnTo>
                    <a:lnTo>
                      <a:pt x="89979" y="179733"/>
                    </a:lnTo>
                    <a:lnTo>
                      <a:pt x="58379" y="179733"/>
                    </a:lnTo>
                    <a:lnTo>
                      <a:pt x="58379" y="29543"/>
                    </a:lnTo>
                    <a:lnTo>
                      <a:pt x="0" y="295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1" name="Полілінія: фігура 360">
                <a:extLst>
                  <a:ext uri="{FF2B5EF4-FFF2-40B4-BE49-F238E27FC236}">
                    <a16:creationId xmlns:a16="http://schemas.microsoft.com/office/drawing/2014/main" id="{6C5C82A8-8513-4738-4A85-F790C0FBEF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08153" y="1710438"/>
                <a:ext cx="108374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45272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73295"/>
                    </a:lnTo>
                    <a:lnTo>
                      <a:pt x="113929" y="73295"/>
                    </a:lnTo>
                    <a:lnTo>
                      <a:pt x="113929" y="0"/>
                    </a:lnTo>
                    <a:lnTo>
                      <a:pt x="145272" y="0"/>
                    </a:lnTo>
                    <a:lnTo>
                      <a:pt x="145272" y="179733"/>
                    </a:lnTo>
                    <a:lnTo>
                      <a:pt x="113929" y="179733"/>
                    </a:lnTo>
                    <a:lnTo>
                      <a:pt x="113929" y="102838"/>
                    </a:lnTo>
                    <a:lnTo>
                      <a:pt x="31600" y="102838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0" name="Полілінія: фігура 359">
                <a:extLst>
                  <a:ext uri="{FF2B5EF4-FFF2-40B4-BE49-F238E27FC236}">
                    <a16:creationId xmlns:a16="http://schemas.microsoft.com/office/drawing/2014/main" id="{15664C44-D5A5-6117-708F-3ADF91597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50268" y="1710438"/>
                <a:ext cx="79596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06696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9" y="74066"/>
                    </a:lnTo>
                    <a:lnTo>
                      <a:pt x="96409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6" y="150190"/>
                    </a:lnTo>
                    <a:lnTo>
                      <a:pt x="106696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9" name="Полілінія: фігура 358">
                <a:extLst>
                  <a:ext uri="{FF2B5EF4-FFF2-40B4-BE49-F238E27FC236}">
                    <a16:creationId xmlns:a16="http://schemas.microsoft.com/office/drawing/2014/main" id="{B14FAB56-D4CF-0742-ADC1-5D6770496B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99488" y="1710438"/>
                <a:ext cx="76718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02838" h="179733">
                    <a:moveTo>
                      <a:pt x="0" y="0"/>
                    </a:moveTo>
                    <a:lnTo>
                      <a:pt x="102838" y="0"/>
                    </a:lnTo>
                    <a:lnTo>
                      <a:pt x="102838" y="29543"/>
                    </a:lnTo>
                    <a:lnTo>
                      <a:pt x="31600" y="29543"/>
                    </a:lnTo>
                    <a:lnTo>
                      <a:pt x="31600" y="80238"/>
                    </a:lnTo>
                    <a:lnTo>
                      <a:pt x="95123" y="80238"/>
                    </a:lnTo>
                    <a:lnTo>
                      <a:pt x="95123" y="109781"/>
                    </a:lnTo>
                    <a:lnTo>
                      <a:pt x="31600" y="109781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8" name="Полілінія: фігура 357">
                <a:extLst>
                  <a:ext uri="{FF2B5EF4-FFF2-40B4-BE49-F238E27FC236}">
                    <a16:creationId xmlns:a16="http://schemas.microsoft.com/office/drawing/2014/main" id="{BF24C1A4-BE66-1539-19B0-00F5C44CDA6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01846" y="1710438"/>
                <a:ext cx="23574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31600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7" name="Полілінія: фігура 356">
                <a:extLst>
                  <a:ext uri="{FF2B5EF4-FFF2-40B4-BE49-F238E27FC236}">
                    <a16:creationId xmlns:a16="http://schemas.microsoft.com/office/drawing/2014/main" id="{CB3BCF74-D52E-4436-4E22-1259B4F543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62920" y="1710438"/>
                <a:ext cx="84009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6" name="Полілінія: фігура 355">
                <a:extLst>
                  <a:ext uri="{FF2B5EF4-FFF2-40B4-BE49-F238E27FC236}">
                    <a16:creationId xmlns:a16="http://schemas.microsoft.com/office/drawing/2014/main" id="{7F05131E-4D22-ED8A-30C6-2172E98D076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769506" y="1710438"/>
                <a:ext cx="84009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1" y="0"/>
                    </a:lnTo>
                    <a:lnTo>
                      <a:pt x="31601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5" name="Полілінія: фігура 354">
                <a:extLst>
                  <a:ext uri="{FF2B5EF4-FFF2-40B4-BE49-F238E27FC236}">
                    <a16:creationId xmlns:a16="http://schemas.microsoft.com/office/drawing/2014/main" id="{48EA20DE-9FD8-B3ED-39D8-28A657B5B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78970" y="1710438"/>
                <a:ext cx="23574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31600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0" name="Полілінія: фігура 829">
                <a:extLst>
                  <a:ext uri="{FF2B5EF4-FFF2-40B4-BE49-F238E27FC236}">
                    <a16:creationId xmlns:a16="http://schemas.microsoft.com/office/drawing/2014/main" id="{B73317AA-3175-5B3C-3BA2-A4B3841F83E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40044" y="1710438"/>
                <a:ext cx="114706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53759" h="179733">
                    <a:moveTo>
                      <a:pt x="0" y="0"/>
                    </a:moveTo>
                    <a:lnTo>
                      <a:pt x="25176" y="0"/>
                    </a:lnTo>
                    <a:lnTo>
                      <a:pt x="124216" y="125042"/>
                    </a:lnTo>
                    <a:lnTo>
                      <a:pt x="124216" y="0"/>
                    </a:lnTo>
                    <a:lnTo>
                      <a:pt x="153759" y="0"/>
                    </a:lnTo>
                    <a:lnTo>
                      <a:pt x="153759" y="179733"/>
                    </a:lnTo>
                    <a:lnTo>
                      <a:pt x="128583" y="179733"/>
                    </a:lnTo>
                    <a:lnTo>
                      <a:pt x="29543" y="55203"/>
                    </a:lnTo>
                    <a:lnTo>
                      <a:pt x="29543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19" name="Групувати 18">
              <a:extLst>
                <a:ext uri="{FF2B5EF4-FFF2-40B4-BE49-F238E27FC236}">
                  <a16:creationId xmlns:a16="http://schemas.microsoft.com/office/drawing/2014/main" id="{ACDBA911-D3E0-8EE1-2FC2-B71A02C7A1CB}"/>
                </a:ext>
              </a:extLst>
            </p:cNvPr>
            <p:cNvGrpSpPr/>
            <p:nvPr/>
          </p:nvGrpSpPr>
          <p:grpSpPr>
            <a:xfrm>
              <a:off x="1949684" y="1705137"/>
              <a:ext cx="829925" cy="138495"/>
              <a:chOff x="2282222" y="1704910"/>
              <a:chExt cx="829925" cy="138495"/>
            </a:xfrm>
          </p:grpSpPr>
          <p:sp>
            <p:nvSpPr>
              <p:cNvPr id="829" name="Полілінія: фігура 828">
                <a:extLst>
                  <a:ext uri="{FF2B5EF4-FFF2-40B4-BE49-F238E27FC236}">
                    <a16:creationId xmlns:a16="http://schemas.microsoft.com/office/drawing/2014/main" id="{F13FB275-C123-4C6A-1029-01B84CEE267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869126" y="1704910"/>
                <a:ext cx="139838" cy="138495"/>
              </a:xfrm>
              <a:custGeom>
                <a:avLst/>
                <a:gdLst/>
                <a:ahLst/>
                <a:cxnLst/>
                <a:rect l="l" t="t" r="r" b="b"/>
                <a:pathLst>
                  <a:path w="187448" h="185648">
                    <a:moveTo>
                      <a:pt x="93595" y="0"/>
                    </a:moveTo>
                    <a:cubicBezTo>
                      <a:pt x="111598" y="107"/>
                      <a:pt x="127636" y="3975"/>
                      <a:pt x="141708" y="11603"/>
                    </a:cubicBezTo>
                    <a:cubicBezTo>
                      <a:pt x="155780" y="19231"/>
                      <a:pt x="166879" y="29975"/>
                      <a:pt x="175006" y="43834"/>
                    </a:cubicBezTo>
                    <a:cubicBezTo>
                      <a:pt x="183133" y="57693"/>
                      <a:pt x="187281" y="74023"/>
                      <a:pt x="187448" y="92824"/>
                    </a:cubicBezTo>
                    <a:cubicBezTo>
                      <a:pt x="187281" y="110976"/>
                      <a:pt x="183133" y="127001"/>
                      <a:pt x="175006" y="140898"/>
                    </a:cubicBezTo>
                    <a:cubicBezTo>
                      <a:pt x="166879" y="154796"/>
                      <a:pt x="155780" y="165692"/>
                      <a:pt x="141708" y="173587"/>
                    </a:cubicBezTo>
                    <a:cubicBezTo>
                      <a:pt x="127636" y="181482"/>
                      <a:pt x="111598" y="185502"/>
                      <a:pt x="93595" y="185648"/>
                    </a:cubicBezTo>
                    <a:cubicBezTo>
                      <a:pt x="75595" y="185540"/>
                      <a:pt x="59580" y="181673"/>
                      <a:pt x="45549" y="174044"/>
                    </a:cubicBezTo>
                    <a:cubicBezTo>
                      <a:pt x="31519" y="166416"/>
                      <a:pt x="20461" y="155672"/>
                      <a:pt x="12375" y="141813"/>
                    </a:cubicBezTo>
                    <a:cubicBezTo>
                      <a:pt x="4290" y="127954"/>
                      <a:pt x="165" y="111624"/>
                      <a:pt x="0" y="92824"/>
                    </a:cubicBezTo>
                    <a:cubicBezTo>
                      <a:pt x="131" y="75238"/>
                      <a:pt x="4123" y="59480"/>
                      <a:pt x="11975" y="45549"/>
                    </a:cubicBezTo>
                    <a:cubicBezTo>
                      <a:pt x="19827" y="31619"/>
                      <a:pt x="30752" y="20589"/>
                      <a:pt x="44749" y="12461"/>
                    </a:cubicBezTo>
                    <a:cubicBezTo>
                      <a:pt x="58746" y="4332"/>
                      <a:pt x="75028" y="179"/>
                      <a:pt x="93595" y="0"/>
                    </a:cubicBezTo>
                    <a:close/>
                    <a:moveTo>
                      <a:pt x="93595" y="29543"/>
                    </a:moveTo>
                    <a:cubicBezTo>
                      <a:pt x="76006" y="29848"/>
                      <a:pt x="61665" y="35732"/>
                      <a:pt x="50571" y="47196"/>
                    </a:cubicBezTo>
                    <a:cubicBezTo>
                      <a:pt x="39478" y="58659"/>
                      <a:pt x="33754" y="73868"/>
                      <a:pt x="33401" y="92824"/>
                    </a:cubicBezTo>
                    <a:cubicBezTo>
                      <a:pt x="33803" y="111216"/>
                      <a:pt x="39623" y="126265"/>
                      <a:pt x="50861" y="137969"/>
                    </a:cubicBezTo>
                    <a:cubicBezTo>
                      <a:pt x="62099" y="149674"/>
                      <a:pt x="76344" y="155719"/>
                      <a:pt x="93595" y="156105"/>
                    </a:cubicBezTo>
                    <a:cubicBezTo>
                      <a:pt x="112658" y="155687"/>
                      <a:pt x="127460" y="149577"/>
                      <a:pt x="138002" y="137776"/>
                    </a:cubicBezTo>
                    <a:cubicBezTo>
                      <a:pt x="148544" y="125976"/>
                      <a:pt x="153892" y="110991"/>
                      <a:pt x="154048" y="92824"/>
                    </a:cubicBezTo>
                    <a:cubicBezTo>
                      <a:pt x="153651" y="73868"/>
                      <a:pt x="147820" y="58659"/>
                      <a:pt x="136555" y="47196"/>
                    </a:cubicBezTo>
                    <a:cubicBezTo>
                      <a:pt x="125290" y="35732"/>
                      <a:pt x="110970" y="29848"/>
                      <a:pt x="93595" y="2954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8" name="Полілінія: фігура 827">
                <a:extLst>
                  <a:ext uri="{FF2B5EF4-FFF2-40B4-BE49-F238E27FC236}">
                    <a16:creationId xmlns:a16="http://schemas.microsoft.com/office/drawing/2014/main" id="{72BB1E07-D5CA-CBF9-1877-F9956A8B5FF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2222" y="1707212"/>
                <a:ext cx="84009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7" name="Полілінія: фігура 826">
                <a:extLst>
                  <a:ext uri="{FF2B5EF4-FFF2-40B4-BE49-F238E27FC236}">
                    <a16:creationId xmlns:a16="http://schemas.microsoft.com/office/drawing/2014/main" id="{1D8CBCF2-2F9C-0BFC-DC21-29408CA73A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88807" y="1707212"/>
                <a:ext cx="79596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06696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9" y="74066"/>
                    </a:lnTo>
                    <a:lnTo>
                      <a:pt x="96409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6" y="150190"/>
                    </a:lnTo>
                    <a:lnTo>
                      <a:pt x="106696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26" name="Полілінія: фігура 825">
                <a:extLst>
                  <a:ext uri="{FF2B5EF4-FFF2-40B4-BE49-F238E27FC236}">
                    <a16:creationId xmlns:a16="http://schemas.microsoft.com/office/drawing/2014/main" id="{784F2184-0475-4FA6-FAD7-1A3A5219CB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83302" y="1707212"/>
                <a:ext cx="126815" cy="134466"/>
              </a:xfrm>
              <a:custGeom>
                <a:avLst/>
                <a:gdLst/>
                <a:ahLst/>
                <a:cxnLst/>
                <a:rect l="l" t="t" r="r" b="b"/>
                <a:pathLst>
                  <a:path w="169992" h="180247">
                    <a:moveTo>
                      <a:pt x="0" y="0"/>
                    </a:moveTo>
                    <a:lnTo>
                      <a:pt x="33689" y="0"/>
                    </a:lnTo>
                    <a:lnTo>
                      <a:pt x="87182" y="133260"/>
                    </a:lnTo>
                    <a:lnTo>
                      <a:pt x="138360" y="0"/>
                    </a:lnTo>
                    <a:lnTo>
                      <a:pt x="169992" y="0"/>
                    </a:lnTo>
                    <a:lnTo>
                      <a:pt x="97983" y="180247"/>
                    </a:lnTo>
                    <a:lnTo>
                      <a:pt x="74066" y="1802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1" name="Полілінія: фігура 810">
                <a:extLst>
                  <a:ext uri="{FF2B5EF4-FFF2-40B4-BE49-F238E27FC236}">
                    <a16:creationId xmlns:a16="http://schemas.microsoft.com/office/drawing/2014/main" id="{DA62AD7F-9681-8E7A-221E-3ACDB5530C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630403" y="1707212"/>
                <a:ext cx="79595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06695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9" y="74066"/>
                    </a:lnTo>
                    <a:lnTo>
                      <a:pt x="96409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5" y="150190"/>
                    </a:lnTo>
                    <a:lnTo>
                      <a:pt x="106695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10" name="Полілінія: фігура 809">
                <a:extLst>
                  <a:ext uri="{FF2B5EF4-FFF2-40B4-BE49-F238E27FC236}">
                    <a16:creationId xmlns:a16="http://schemas.microsoft.com/office/drawing/2014/main" id="{B97F3F98-6043-E225-5B08-71856483C4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44094" y="1707212"/>
                <a:ext cx="84009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9" name="Полілінія: фігура 808">
                <a:extLst>
                  <a:ext uri="{FF2B5EF4-FFF2-40B4-BE49-F238E27FC236}">
                    <a16:creationId xmlns:a16="http://schemas.microsoft.com/office/drawing/2014/main" id="{4131073E-803A-92CF-1DD3-D9C02AEB17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35429" y="1707212"/>
                <a:ext cx="76718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02838" h="179733">
                    <a:moveTo>
                      <a:pt x="0" y="0"/>
                    </a:moveTo>
                    <a:lnTo>
                      <a:pt x="102838" y="0"/>
                    </a:lnTo>
                    <a:lnTo>
                      <a:pt x="102838" y="29543"/>
                    </a:lnTo>
                    <a:lnTo>
                      <a:pt x="31600" y="29543"/>
                    </a:lnTo>
                    <a:lnTo>
                      <a:pt x="31600" y="80238"/>
                    </a:lnTo>
                    <a:lnTo>
                      <a:pt x="95123" y="80238"/>
                    </a:lnTo>
                    <a:lnTo>
                      <a:pt x="95123" y="109781"/>
                    </a:lnTo>
                    <a:lnTo>
                      <a:pt x="31600" y="109781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21" name="Групувати 20">
              <a:extLst>
                <a:ext uri="{FF2B5EF4-FFF2-40B4-BE49-F238E27FC236}">
                  <a16:creationId xmlns:a16="http://schemas.microsoft.com/office/drawing/2014/main" id="{2F902F26-C573-33CD-118A-9FA8BB94964E}"/>
                </a:ext>
              </a:extLst>
            </p:cNvPr>
            <p:cNvGrpSpPr/>
            <p:nvPr/>
          </p:nvGrpSpPr>
          <p:grpSpPr>
            <a:xfrm>
              <a:off x="1034605" y="1946957"/>
              <a:ext cx="1443129" cy="138496"/>
              <a:chOff x="1094461" y="2248172"/>
              <a:chExt cx="1443129" cy="138496"/>
            </a:xfrm>
          </p:grpSpPr>
          <p:sp>
            <p:nvSpPr>
              <p:cNvPr id="808" name="Полілінія: фігура 807">
                <a:extLst>
                  <a:ext uri="{FF2B5EF4-FFF2-40B4-BE49-F238E27FC236}">
                    <a16:creationId xmlns:a16="http://schemas.microsoft.com/office/drawing/2014/main" id="{C030FDB2-0E43-1D02-26F4-FFE3E94DDD6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61089" y="2248172"/>
                <a:ext cx="139838" cy="138495"/>
              </a:xfrm>
              <a:custGeom>
                <a:avLst/>
                <a:gdLst/>
                <a:ahLst/>
                <a:cxnLst/>
                <a:rect l="l" t="t" r="r" b="b"/>
                <a:pathLst>
                  <a:path w="187448" h="185648">
                    <a:moveTo>
                      <a:pt x="93595" y="0"/>
                    </a:moveTo>
                    <a:cubicBezTo>
                      <a:pt x="111598" y="107"/>
                      <a:pt x="127636" y="3975"/>
                      <a:pt x="141708" y="11603"/>
                    </a:cubicBezTo>
                    <a:cubicBezTo>
                      <a:pt x="155780" y="19231"/>
                      <a:pt x="166879" y="29975"/>
                      <a:pt x="175006" y="43834"/>
                    </a:cubicBezTo>
                    <a:cubicBezTo>
                      <a:pt x="183133" y="57693"/>
                      <a:pt x="187281" y="74023"/>
                      <a:pt x="187448" y="92824"/>
                    </a:cubicBezTo>
                    <a:cubicBezTo>
                      <a:pt x="187281" y="110976"/>
                      <a:pt x="183133" y="127001"/>
                      <a:pt x="175006" y="140898"/>
                    </a:cubicBezTo>
                    <a:cubicBezTo>
                      <a:pt x="166879" y="154796"/>
                      <a:pt x="155780" y="165692"/>
                      <a:pt x="141708" y="173587"/>
                    </a:cubicBezTo>
                    <a:cubicBezTo>
                      <a:pt x="127636" y="181482"/>
                      <a:pt x="111598" y="185502"/>
                      <a:pt x="93595" y="185648"/>
                    </a:cubicBezTo>
                    <a:cubicBezTo>
                      <a:pt x="75595" y="185541"/>
                      <a:pt x="59580" y="181673"/>
                      <a:pt x="45549" y="174044"/>
                    </a:cubicBezTo>
                    <a:cubicBezTo>
                      <a:pt x="31519" y="166416"/>
                      <a:pt x="20461" y="155672"/>
                      <a:pt x="12375" y="141813"/>
                    </a:cubicBezTo>
                    <a:cubicBezTo>
                      <a:pt x="4290" y="127954"/>
                      <a:pt x="165" y="111624"/>
                      <a:pt x="0" y="92824"/>
                    </a:cubicBezTo>
                    <a:cubicBezTo>
                      <a:pt x="131" y="75238"/>
                      <a:pt x="4123" y="59480"/>
                      <a:pt x="11975" y="45549"/>
                    </a:cubicBezTo>
                    <a:cubicBezTo>
                      <a:pt x="19827" y="31619"/>
                      <a:pt x="30752" y="20589"/>
                      <a:pt x="44749" y="12461"/>
                    </a:cubicBezTo>
                    <a:cubicBezTo>
                      <a:pt x="58746" y="4332"/>
                      <a:pt x="75028" y="179"/>
                      <a:pt x="93595" y="0"/>
                    </a:cubicBezTo>
                    <a:close/>
                    <a:moveTo>
                      <a:pt x="93595" y="29543"/>
                    </a:moveTo>
                    <a:cubicBezTo>
                      <a:pt x="76006" y="29848"/>
                      <a:pt x="61665" y="35733"/>
                      <a:pt x="50571" y="47196"/>
                    </a:cubicBezTo>
                    <a:cubicBezTo>
                      <a:pt x="39478" y="58659"/>
                      <a:pt x="33754" y="73868"/>
                      <a:pt x="33401" y="92824"/>
                    </a:cubicBezTo>
                    <a:cubicBezTo>
                      <a:pt x="33803" y="111216"/>
                      <a:pt x="39623" y="126265"/>
                      <a:pt x="50861" y="137969"/>
                    </a:cubicBezTo>
                    <a:cubicBezTo>
                      <a:pt x="62099" y="149674"/>
                      <a:pt x="76344" y="155719"/>
                      <a:pt x="93595" y="156105"/>
                    </a:cubicBezTo>
                    <a:cubicBezTo>
                      <a:pt x="112658" y="155687"/>
                      <a:pt x="127460" y="149578"/>
                      <a:pt x="138002" y="137777"/>
                    </a:cubicBezTo>
                    <a:cubicBezTo>
                      <a:pt x="148544" y="125976"/>
                      <a:pt x="153892" y="110991"/>
                      <a:pt x="154048" y="92824"/>
                    </a:cubicBezTo>
                    <a:cubicBezTo>
                      <a:pt x="153651" y="73868"/>
                      <a:pt x="147820" y="58659"/>
                      <a:pt x="136555" y="47196"/>
                    </a:cubicBezTo>
                    <a:cubicBezTo>
                      <a:pt x="125290" y="35733"/>
                      <a:pt x="110970" y="29848"/>
                      <a:pt x="93595" y="2954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7" name="Полілінія: фігура 806">
                <a:extLst>
                  <a:ext uri="{FF2B5EF4-FFF2-40B4-BE49-F238E27FC236}">
                    <a16:creationId xmlns:a16="http://schemas.microsoft.com/office/drawing/2014/main" id="{93CFDE51-88E4-2BA2-5E65-2F6C934A90E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06671" y="2248172"/>
                <a:ext cx="120269" cy="138495"/>
              </a:xfrm>
              <a:custGeom>
                <a:avLst/>
                <a:gdLst/>
                <a:ahLst/>
                <a:cxnLst/>
                <a:rect l="l" t="t" r="r" b="b"/>
                <a:pathLst>
                  <a:path w="161217" h="185648">
                    <a:moveTo>
                      <a:pt x="89740" y="0"/>
                    </a:moveTo>
                    <a:cubicBezTo>
                      <a:pt x="102491" y="37"/>
                      <a:pt x="113519" y="1632"/>
                      <a:pt x="122827" y="4784"/>
                    </a:cubicBezTo>
                    <a:cubicBezTo>
                      <a:pt x="132134" y="7937"/>
                      <a:pt x="140392" y="12422"/>
                      <a:pt x="147601" y="18239"/>
                    </a:cubicBezTo>
                    <a:lnTo>
                      <a:pt x="134243" y="43438"/>
                    </a:lnTo>
                    <a:cubicBezTo>
                      <a:pt x="129592" y="39144"/>
                      <a:pt x="123654" y="35767"/>
                      <a:pt x="116430" y="33306"/>
                    </a:cubicBezTo>
                    <a:cubicBezTo>
                      <a:pt x="109206" y="30846"/>
                      <a:pt x="101595" y="29591"/>
                      <a:pt x="93599" y="29543"/>
                    </a:cubicBezTo>
                    <a:cubicBezTo>
                      <a:pt x="75896" y="29672"/>
                      <a:pt x="61522" y="35204"/>
                      <a:pt x="50476" y="46139"/>
                    </a:cubicBezTo>
                    <a:cubicBezTo>
                      <a:pt x="39430" y="57074"/>
                      <a:pt x="33738" y="72638"/>
                      <a:pt x="33401" y="92832"/>
                    </a:cubicBezTo>
                    <a:cubicBezTo>
                      <a:pt x="33658" y="112228"/>
                      <a:pt x="39253" y="127562"/>
                      <a:pt x="50187" y="138834"/>
                    </a:cubicBezTo>
                    <a:cubicBezTo>
                      <a:pt x="61120" y="150106"/>
                      <a:pt x="75848" y="155863"/>
                      <a:pt x="94371" y="156105"/>
                    </a:cubicBezTo>
                    <a:cubicBezTo>
                      <a:pt x="101585" y="155992"/>
                      <a:pt x="108702" y="154738"/>
                      <a:pt x="115723" y="152341"/>
                    </a:cubicBezTo>
                    <a:cubicBezTo>
                      <a:pt x="122744" y="149944"/>
                      <a:pt x="128061" y="147081"/>
                      <a:pt x="131674" y="143751"/>
                    </a:cubicBezTo>
                    <a:lnTo>
                      <a:pt x="131674" y="115439"/>
                    </a:lnTo>
                    <a:lnTo>
                      <a:pt x="88196" y="115439"/>
                    </a:lnTo>
                    <a:lnTo>
                      <a:pt x="88196" y="85896"/>
                    </a:lnTo>
                    <a:lnTo>
                      <a:pt x="161217" y="85896"/>
                    </a:lnTo>
                    <a:lnTo>
                      <a:pt x="161217" y="160472"/>
                    </a:lnTo>
                    <a:cubicBezTo>
                      <a:pt x="152841" y="168489"/>
                      <a:pt x="142421" y="174676"/>
                      <a:pt x="129957" y="179033"/>
                    </a:cubicBezTo>
                    <a:cubicBezTo>
                      <a:pt x="117493" y="183389"/>
                      <a:pt x="105459" y="185594"/>
                      <a:pt x="93856" y="185648"/>
                    </a:cubicBezTo>
                    <a:cubicBezTo>
                      <a:pt x="64171" y="185285"/>
                      <a:pt x="41165" y="176824"/>
                      <a:pt x="24836" y="160265"/>
                    </a:cubicBezTo>
                    <a:cubicBezTo>
                      <a:pt x="8507" y="143706"/>
                      <a:pt x="229" y="121229"/>
                      <a:pt x="0" y="92832"/>
                    </a:cubicBezTo>
                    <a:cubicBezTo>
                      <a:pt x="88" y="75407"/>
                      <a:pt x="3766" y="59724"/>
                      <a:pt x="11032" y="45783"/>
                    </a:cubicBezTo>
                    <a:cubicBezTo>
                      <a:pt x="18298" y="31841"/>
                      <a:pt x="28623" y="20772"/>
                      <a:pt x="42006" y="12576"/>
                    </a:cubicBezTo>
                    <a:cubicBezTo>
                      <a:pt x="55389" y="4381"/>
                      <a:pt x="71301" y="188"/>
                      <a:pt x="89740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6" name="Полілінія: фігура 805">
                <a:extLst>
                  <a:ext uri="{FF2B5EF4-FFF2-40B4-BE49-F238E27FC236}">
                    <a16:creationId xmlns:a16="http://schemas.microsoft.com/office/drawing/2014/main" id="{46CB1980-D3D3-546B-2B97-3604E9C1A5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48785" y="2248172"/>
                <a:ext cx="88805" cy="138495"/>
              </a:xfrm>
              <a:custGeom>
                <a:avLst/>
                <a:gdLst/>
                <a:ahLst/>
                <a:cxnLst/>
                <a:rect l="l" t="t" r="r" b="b"/>
                <a:pathLst>
                  <a:path w="119040" h="185648">
                    <a:moveTo>
                      <a:pt x="60162" y="0"/>
                    </a:moveTo>
                    <a:cubicBezTo>
                      <a:pt x="71313" y="64"/>
                      <a:pt x="81302" y="1798"/>
                      <a:pt x="90128" y="5202"/>
                    </a:cubicBezTo>
                    <a:cubicBezTo>
                      <a:pt x="98955" y="8606"/>
                      <a:pt x="106108" y="13294"/>
                      <a:pt x="111589" y="19267"/>
                    </a:cubicBezTo>
                    <a:lnTo>
                      <a:pt x="94632" y="42919"/>
                    </a:lnTo>
                    <a:cubicBezTo>
                      <a:pt x="90382" y="38647"/>
                      <a:pt x="85775" y="35357"/>
                      <a:pt x="80812" y="33047"/>
                    </a:cubicBezTo>
                    <a:cubicBezTo>
                      <a:pt x="75849" y="30738"/>
                      <a:pt x="69823" y="29570"/>
                      <a:pt x="62735" y="29543"/>
                    </a:cubicBezTo>
                    <a:cubicBezTo>
                      <a:pt x="54817" y="29628"/>
                      <a:pt x="48651" y="31451"/>
                      <a:pt x="44239" y="35009"/>
                    </a:cubicBezTo>
                    <a:cubicBezTo>
                      <a:pt x="39826" y="38567"/>
                      <a:pt x="37585" y="43347"/>
                      <a:pt x="37515" y="49350"/>
                    </a:cubicBezTo>
                    <a:cubicBezTo>
                      <a:pt x="37940" y="58360"/>
                      <a:pt x="42186" y="65244"/>
                      <a:pt x="50254" y="70001"/>
                    </a:cubicBezTo>
                    <a:cubicBezTo>
                      <a:pt x="58321" y="74759"/>
                      <a:pt x="67663" y="79280"/>
                      <a:pt x="78278" y="83563"/>
                    </a:cubicBezTo>
                    <a:cubicBezTo>
                      <a:pt x="88893" y="87846"/>
                      <a:pt x="98234" y="93782"/>
                      <a:pt x="106302" y="101369"/>
                    </a:cubicBezTo>
                    <a:cubicBezTo>
                      <a:pt x="114369" y="108956"/>
                      <a:pt x="118615" y="120085"/>
                      <a:pt x="119040" y="134754"/>
                    </a:cubicBezTo>
                    <a:cubicBezTo>
                      <a:pt x="118639" y="150149"/>
                      <a:pt x="112825" y="162424"/>
                      <a:pt x="101595" y="171579"/>
                    </a:cubicBezTo>
                    <a:cubicBezTo>
                      <a:pt x="90367" y="180734"/>
                      <a:pt x="76126" y="185424"/>
                      <a:pt x="58875" y="185648"/>
                    </a:cubicBezTo>
                    <a:cubicBezTo>
                      <a:pt x="51020" y="185637"/>
                      <a:pt x="43148" y="184546"/>
                      <a:pt x="35261" y="182375"/>
                    </a:cubicBezTo>
                    <a:cubicBezTo>
                      <a:pt x="27373" y="180204"/>
                      <a:pt x="20287" y="177020"/>
                      <a:pt x="14002" y="172822"/>
                    </a:cubicBezTo>
                    <a:cubicBezTo>
                      <a:pt x="7717" y="168625"/>
                      <a:pt x="3049" y="163480"/>
                      <a:pt x="0" y="157389"/>
                    </a:cubicBezTo>
                    <a:lnTo>
                      <a:pt x="17989" y="135783"/>
                    </a:lnTo>
                    <a:cubicBezTo>
                      <a:pt x="23454" y="142594"/>
                      <a:pt x="29934" y="147686"/>
                      <a:pt x="37428" y="151057"/>
                    </a:cubicBezTo>
                    <a:cubicBezTo>
                      <a:pt x="44923" y="154428"/>
                      <a:pt x="52243" y="156110"/>
                      <a:pt x="59390" y="156105"/>
                    </a:cubicBezTo>
                    <a:cubicBezTo>
                      <a:pt x="67014" y="156078"/>
                      <a:pt x="73255" y="154267"/>
                      <a:pt x="78112" y="150671"/>
                    </a:cubicBezTo>
                    <a:cubicBezTo>
                      <a:pt x="82969" y="147075"/>
                      <a:pt x="85479" y="141855"/>
                      <a:pt x="85639" y="135011"/>
                    </a:cubicBezTo>
                    <a:cubicBezTo>
                      <a:pt x="85215" y="126427"/>
                      <a:pt x="80969" y="119736"/>
                      <a:pt x="72901" y="114938"/>
                    </a:cubicBezTo>
                    <a:cubicBezTo>
                      <a:pt x="64834" y="110140"/>
                      <a:pt x="55492" y="105491"/>
                      <a:pt x="44877" y="100991"/>
                    </a:cubicBezTo>
                    <a:cubicBezTo>
                      <a:pt x="34262" y="96491"/>
                      <a:pt x="24921" y="90395"/>
                      <a:pt x="16853" y="82703"/>
                    </a:cubicBezTo>
                    <a:cubicBezTo>
                      <a:pt x="8785" y="75011"/>
                      <a:pt x="4539" y="63979"/>
                      <a:pt x="4115" y="49607"/>
                    </a:cubicBezTo>
                    <a:cubicBezTo>
                      <a:pt x="4264" y="35727"/>
                      <a:pt x="9233" y="24084"/>
                      <a:pt x="19021" y="14678"/>
                    </a:cubicBezTo>
                    <a:cubicBezTo>
                      <a:pt x="28810" y="5272"/>
                      <a:pt x="42523" y="379"/>
                      <a:pt x="60162" y="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00" name="Полілінія: фігура 799">
                <a:extLst>
                  <a:ext uri="{FF2B5EF4-FFF2-40B4-BE49-F238E27FC236}">
                    <a16:creationId xmlns:a16="http://schemas.microsoft.com/office/drawing/2014/main" id="{D58BE442-5250-960B-6C7C-0A94EE3E502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50268" y="2249898"/>
                <a:ext cx="105688" cy="134658"/>
              </a:xfrm>
              <a:custGeom>
                <a:avLst/>
                <a:gdLst/>
                <a:ahLst/>
                <a:cxnLst/>
                <a:rect l="l" t="t" r="r" b="b"/>
                <a:pathLst>
                  <a:path w="141671" h="180505">
                    <a:moveTo>
                      <a:pt x="54760" y="0"/>
                    </a:moveTo>
                    <a:cubicBezTo>
                      <a:pt x="78972" y="369"/>
                      <a:pt x="95997" y="5733"/>
                      <a:pt x="105835" y="16094"/>
                    </a:cubicBezTo>
                    <a:cubicBezTo>
                      <a:pt x="115673" y="26455"/>
                      <a:pt x="120418" y="39601"/>
                      <a:pt x="120069" y="55533"/>
                    </a:cubicBezTo>
                    <a:cubicBezTo>
                      <a:pt x="119916" y="65793"/>
                      <a:pt x="118023" y="74431"/>
                      <a:pt x="114388" y="81446"/>
                    </a:cubicBezTo>
                    <a:cubicBezTo>
                      <a:pt x="110752" y="88462"/>
                      <a:pt x="106289" y="94048"/>
                      <a:pt x="100998" y="98204"/>
                    </a:cubicBezTo>
                    <a:cubicBezTo>
                      <a:pt x="95707" y="102361"/>
                      <a:pt x="90501" y="105279"/>
                      <a:pt x="85381" y="106960"/>
                    </a:cubicBezTo>
                    <a:lnTo>
                      <a:pt x="141671" y="180505"/>
                    </a:lnTo>
                    <a:lnTo>
                      <a:pt x="103368" y="180505"/>
                    </a:lnTo>
                    <a:lnTo>
                      <a:pt x="53730" y="113125"/>
                    </a:lnTo>
                    <a:lnTo>
                      <a:pt x="31600" y="113125"/>
                    </a:lnTo>
                    <a:lnTo>
                      <a:pt x="31600" y="180505"/>
                    </a:lnTo>
                    <a:lnTo>
                      <a:pt x="0" y="180505"/>
                    </a:lnTo>
                    <a:lnTo>
                      <a:pt x="0" y="514"/>
                    </a:lnTo>
                    <a:cubicBezTo>
                      <a:pt x="3735" y="508"/>
                      <a:pt x="9571" y="463"/>
                      <a:pt x="17506" y="381"/>
                    </a:cubicBezTo>
                    <a:cubicBezTo>
                      <a:pt x="25442" y="298"/>
                      <a:pt x="33108" y="216"/>
                      <a:pt x="40502" y="134"/>
                    </a:cubicBezTo>
                    <a:cubicBezTo>
                      <a:pt x="47896" y="51"/>
                      <a:pt x="52649" y="7"/>
                      <a:pt x="54760" y="0"/>
                    </a:cubicBezTo>
                    <a:close/>
                    <a:moveTo>
                      <a:pt x="53216" y="29543"/>
                    </a:moveTo>
                    <a:cubicBezTo>
                      <a:pt x="50256" y="29549"/>
                      <a:pt x="46976" y="29602"/>
                      <a:pt x="43373" y="29704"/>
                    </a:cubicBezTo>
                    <a:cubicBezTo>
                      <a:pt x="39770" y="29806"/>
                      <a:pt x="35846" y="29924"/>
                      <a:pt x="31600" y="30058"/>
                    </a:cubicBezTo>
                    <a:lnTo>
                      <a:pt x="31600" y="83582"/>
                    </a:lnTo>
                    <a:lnTo>
                      <a:pt x="52186" y="83582"/>
                    </a:lnTo>
                    <a:cubicBezTo>
                      <a:pt x="61616" y="83582"/>
                      <a:pt x="69647" y="81266"/>
                      <a:pt x="76278" y="76634"/>
                    </a:cubicBezTo>
                    <a:cubicBezTo>
                      <a:pt x="82910" y="72003"/>
                      <a:pt x="86373" y="65055"/>
                      <a:pt x="86668" y="55791"/>
                    </a:cubicBezTo>
                    <a:cubicBezTo>
                      <a:pt x="86882" y="48505"/>
                      <a:pt x="84524" y="42362"/>
                      <a:pt x="79592" y="37360"/>
                    </a:cubicBezTo>
                    <a:cubicBezTo>
                      <a:pt x="74659" y="32358"/>
                      <a:pt x="65867" y="29752"/>
                      <a:pt x="53216" y="2954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8" name="Полілінія: фігура 797">
                <a:extLst>
                  <a:ext uri="{FF2B5EF4-FFF2-40B4-BE49-F238E27FC236}">
                    <a16:creationId xmlns:a16="http://schemas.microsoft.com/office/drawing/2014/main" id="{F1D68B8D-69A0-6692-E109-77B5FA2BA3F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627391" y="2249898"/>
                <a:ext cx="90151" cy="134658"/>
              </a:xfrm>
              <a:custGeom>
                <a:avLst/>
                <a:gdLst/>
                <a:ahLst/>
                <a:cxnLst/>
                <a:rect l="l" t="t" r="r" b="b"/>
                <a:pathLst>
                  <a:path w="120844" h="180505">
                    <a:moveTo>
                      <a:pt x="51157" y="0"/>
                    </a:moveTo>
                    <a:cubicBezTo>
                      <a:pt x="68697" y="167"/>
                      <a:pt x="82568" y="2974"/>
                      <a:pt x="92771" y="8423"/>
                    </a:cubicBezTo>
                    <a:cubicBezTo>
                      <a:pt x="102974" y="13871"/>
                      <a:pt x="110233" y="20964"/>
                      <a:pt x="114548" y="29700"/>
                    </a:cubicBezTo>
                    <a:cubicBezTo>
                      <a:pt x="118864" y="38436"/>
                      <a:pt x="120961" y="47819"/>
                      <a:pt x="120840" y="57849"/>
                    </a:cubicBezTo>
                    <a:cubicBezTo>
                      <a:pt x="120823" y="68208"/>
                      <a:pt x="118317" y="77788"/>
                      <a:pt x="113321" y="86588"/>
                    </a:cubicBezTo>
                    <a:cubicBezTo>
                      <a:pt x="108325" y="95388"/>
                      <a:pt x="100943" y="102486"/>
                      <a:pt x="91174" y="107884"/>
                    </a:cubicBezTo>
                    <a:cubicBezTo>
                      <a:pt x="81405" y="113282"/>
                      <a:pt x="69353" y="116058"/>
                      <a:pt x="55017" y="116211"/>
                    </a:cubicBezTo>
                    <a:cubicBezTo>
                      <a:pt x="52160" y="116227"/>
                      <a:pt x="48546" y="116195"/>
                      <a:pt x="44177" y="116115"/>
                    </a:cubicBezTo>
                    <a:cubicBezTo>
                      <a:pt x="39808" y="116035"/>
                      <a:pt x="35616" y="115810"/>
                      <a:pt x="31600" y="115441"/>
                    </a:cubicBezTo>
                    <a:lnTo>
                      <a:pt x="31600" y="180505"/>
                    </a:lnTo>
                    <a:lnTo>
                      <a:pt x="0" y="180505"/>
                    </a:lnTo>
                    <a:lnTo>
                      <a:pt x="0" y="514"/>
                    </a:lnTo>
                    <a:cubicBezTo>
                      <a:pt x="3552" y="508"/>
                      <a:pt x="8524" y="463"/>
                      <a:pt x="14914" y="381"/>
                    </a:cubicBezTo>
                    <a:cubicBezTo>
                      <a:pt x="21304" y="298"/>
                      <a:pt x="27839" y="216"/>
                      <a:pt x="34517" y="134"/>
                    </a:cubicBezTo>
                    <a:cubicBezTo>
                      <a:pt x="41195" y="51"/>
                      <a:pt x="46742" y="7"/>
                      <a:pt x="51157" y="0"/>
                    </a:cubicBezTo>
                    <a:close/>
                    <a:moveTo>
                      <a:pt x="54245" y="29543"/>
                    </a:moveTo>
                    <a:cubicBezTo>
                      <a:pt x="51018" y="29549"/>
                      <a:pt x="47501" y="29602"/>
                      <a:pt x="43695" y="29704"/>
                    </a:cubicBezTo>
                    <a:cubicBezTo>
                      <a:pt x="39888" y="29806"/>
                      <a:pt x="35857" y="29924"/>
                      <a:pt x="31600" y="30058"/>
                    </a:cubicBezTo>
                    <a:lnTo>
                      <a:pt x="31600" y="85382"/>
                    </a:lnTo>
                    <a:cubicBezTo>
                      <a:pt x="35348" y="85773"/>
                      <a:pt x="39111" y="86084"/>
                      <a:pt x="42891" y="86315"/>
                    </a:cubicBezTo>
                    <a:cubicBezTo>
                      <a:pt x="46670" y="86545"/>
                      <a:pt x="50369" y="86663"/>
                      <a:pt x="53988" y="86668"/>
                    </a:cubicBezTo>
                    <a:cubicBezTo>
                      <a:pt x="63600" y="86711"/>
                      <a:pt x="71523" y="84374"/>
                      <a:pt x="77758" y="79656"/>
                    </a:cubicBezTo>
                    <a:cubicBezTo>
                      <a:pt x="83992" y="74939"/>
                      <a:pt x="87220" y="67584"/>
                      <a:pt x="87440" y="57591"/>
                    </a:cubicBezTo>
                    <a:cubicBezTo>
                      <a:pt x="87407" y="48204"/>
                      <a:pt x="84577" y="41182"/>
                      <a:pt x="78948" y="36523"/>
                    </a:cubicBezTo>
                    <a:cubicBezTo>
                      <a:pt x="73319" y="31865"/>
                      <a:pt x="65085" y="29538"/>
                      <a:pt x="54245" y="29543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7" name="Полілінія: фігура 796">
                <a:extLst>
                  <a:ext uri="{FF2B5EF4-FFF2-40B4-BE49-F238E27FC236}">
                    <a16:creationId xmlns:a16="http://schemas.microsoft.com/office/drawing/2014/main" id="{DB9B1221-DEAA-CE33-0364-35AEF8F827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844602" y="2249898"/>
                <a:ext cx="134299" cy="134658"/>
              </a:xfrm>
              <a:custGeom>
                <a:avLst/>
                <a:gdLst/>
                <a:ahLst/>
                <a:cxnLst/>
                <a:rect l="l" t="t" r="r" b="b"/>
                <a:pathLst>
                  <a:path w="180023" h="180505">
                    <a:moveTo>
                      <a:pt x="76124" y="0"/>
                    </a:moveTo>
                    <a:lnTo>
                      <a:pt x="103899" y="0"/>
                    </a:lnTo>
                    <a:lnTo>
                      <a:pt x="180023" y="180505"/>
                    </a:lnTo>
                    <a:lnTo>
                      <a:pt x="146333" y="180505"/>
                    </a:lnTo>
                    <a:lnTo>
                      <a:pt x="127559" y="134471"/>
                    </a:lnTo>
                    <a:lnTo>
                      <a:pt x="50664" y="134471"/>
                    </a:lnTo>
                    <a:lnTo>
                      <a:pt x="31890" y="180505"/>
                    </a:lnTo>
                    <a:lnTo>
                      <a:pt x="0" y="180505"/>
                    </a:lnTo>
                    <a:lnTo>
                      <a:pt x="76124" y="0"/>
                    </a:lnTo>
                    <a:close/>
                    <a:moveTo>
                      <a:pt x="89240" y="40891"/>
                    </a:moveTo>
                    <a:lnTo>
                      <a:pt x="62751" y="104928"/>
                    </a:lnTo>
                    <a:lnTo>
                      <a:pt x="115472" y="104928"/>
                    </a:lnTo>
                    <a:lnTo>
                      <a:pt x="89240" y="40891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6" name="Полілінія: фігура 795">
                <a:extLst>
                  <a:ext uri="{FF2B5EF4-FFF2-40B4-BE49-F238E27FC236}">
                    <a16:creationId xmlns:a16="http://schemas.microsoft.com/office/drawing/2014/main" id="{542D0B95-ADD2-07EC-0895-53D09333B18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94461" y="2250474"/>
                <a:ext cx="79596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06696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9" y="74066"/>
                    </a:lnTo>
                    <a:lnTo>
                      <a:pt x="96409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6" y="150190"/>
                    </a:lnTo>
                    <a:lnTo>
                      <a:pt x="106696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5" name="Полілінія: фігура 794">
                <a:extLst>
                  <a:ext uri="{FF2B5EF4-FFF2-40B4-BE49-F238E27FC236}">
                    <a16:creationId xmlns:a16="http://schemas.microsoft.com/office/drawing/2014/main" id="{0B1F53BC-A4EF-AE05-A4C3-C7A11EA86F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206235" y="2250474"/>
                <a:ext cx="110485" cy="136194"/>
              </a:xfrm>
              <a:custGeom>
                <a:avLst/>
                <a:gdLst/>
                <a:ahLst/>
                <a:cxnLst/>
                <a:rect l="l" t="t" r="r" b="b"/>
                <a:pathLst>
                  <a:path w="148101" h="182563">
                    <a:moveTo>
                      <a:pt x="0" y="0"/>
                    </a:moveTo>
                    <a:lnTo>
                      <a:pt x="31601" y="0"/>
                    </a:lnTo>
                    <a:lnTo>
                      <a:pt x="31601" y="96792"/>
                    </a:lnTo>
                    <a:cubicBezTo>
                      <a:pt x="31531" y="113850"/>
                      <a:pt x="35144" y="127425"/>
                      <a:pt x="42438" y="137518"/>
                    </a:cubicBezTo>
                    <a:cubicBezTo>
                      <a:pt x="49733" y="147611"/>
                      <a:pt x="61128" y="152778"/>
                      <a:pt x="76624" y="153019"/>
                    </a:cubicBezTo>
                    <a:cubicBezTo>
                      <a:pt x="90227" y="152944"/>
                      <a:pt x="100325" y="148280"/>
                      <a:pt x="106917" y="139027"/>
                    </a:cubicBezTo>
                    <a:cubicBezTo>
                      <a:pt x="113510" y="129773"/>
                      <a:pt x="116790" y="116380"/>
                      <a:pt x="116758" y="98846"/>
                    </a:cubicBezTo>
                    <a:lnTo>
                      <a:pt x="116758" y="0"/>
                    </a:lnTo>
                    <a:lnTo>
                      <a:pt x="148101" y="0"/>
                    </a:lnTo>
                    <a:lnTo>
                      <a:pt x="148101" y="105265"/>
                    </a:lnTo>
                    <a:cubicBezTo>
                      <a:pt x="147919" y="123517"/>
                      <a:pt x="144543" y="138338"/>
                      <a:pt x="137974" y="149726"/>
                    </a:cubicBezTo>
                    <a:cubicBezTo>
                      <a:pt x="131405" y="161114"/>
                      <a:pt x="122735" y="169450"/>
                      <a:pt x="111963" y="174732"/>
                    </a:cubicBezTo>
                    <a:cubicBezTo>
                      <a:pt x="101192" y="180015"/>
                      <a:pt x="89412" y="182625"/>
                      <a:pt x="76624" y="182562"/>
                    </a:cubicBezTo>
                    <a:cubicBezTo>
                      <a:pt x="53846" y="182556"/>
                      <a:pt x="35480" y="175953"/>
                      <a:pt x="21525" y="162753"/>
                    </a:cubicBezTo>
                    <a:cubicBezTo>
                      <a:pt x="7570" y="149552"/>
                      <a:pt x="395" y="129791"/>
                      <a:pt x="0" y="10346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4" name="Полілінія: фігура 793">
                <a:extLst>
                  <a:ext uri="{FF2B5EF4-FFF2-40B4-BE49-F238E27FC236}">
                    <a16:creationId xmlns:a16="http://schemas.microsoft.com/office/drawing/2014/main" id="{9E2E3CCC-3938-8520-8130-F30B4EF3C9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748188" y="2250474"/>
                <a:ext cx="79596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06696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8" y="74066"/>
                    </a:lnTo>
                    <a:lnTo>
                      <a:pt x="96408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6" y="150190"/>
                    </a:lnTo>
                    <a:lnTo>
                      <a:pt x="106696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3" name="Полілінія: фігура 792">
                <a:extLst>
                  <a:ext uri="{FF2B5EF4-FFF2-40B4-BE49-F238E27FC236}">
                    <a16:creationId xmlns:a16="http://schemas.microsoft.com/office/drawing/2014/main" id="{DCA32579-291C-58C2-5300-8C598E19A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996890" y="2250474"/>
                <a:ext cx="114706" cy="134082"/>
              </a:xfrm>
              <a:custGeom>
                <a:avLst/>
                <a:gdLst/>
                <a:ahLst/>
                <a:cxnLst/>
                <a:rect l="l" t="t" r="r" b="b"/>
                <a:pathLst>
                  <a:path w="153759" h="179733">
                    <a:moveTo>
                      <a:pt x="0" y="0"/>
                    </a:moveTo>
                    <a:lnTo>
                      <a:pt x="25176" y="0"/>
                    </a:lnTo>
                    <a:lnTo>
                      <a:pt x="124216" y="125043"/>
                    </a:lnTo>
                    <a:lnTo>
                      <a:pt x="124216" y="0"/>
                    </a:lnTo>
                    <a:lnTo>
                      <a:pt x="153759" y="0"/>
                    </a:lnTo>
                    <a:lnTo>
                      <a:pt x="153759" y="179733"/>
                    </a:lnTo>
                    <a:lnTo>
                      <a:pt x="128583" y="179733"/>
                    </a:lnTo>
                    <a:lnTo>
                      <a:pt x="29543" y="55203"/>
                    </a:lnTo>
                    <a:lnTo>
                      <a:pt x="29543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2" name="Полілінія: фігура 791">
                <a:extLst>
                  <a:ext uri="{FF2B5EF4-FFF2-40B4-BE49-F238E27FC236}">
                    <a16:creationId xmlns:a16="http://schemas.microsoft.com/office/drawing/2014/main" id="{8C599A0A-4F8F-056E-5B7B-8F912BA896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172614" y="2250474"/>
                <a:ext cx="110485" cy="136194"/>
              </a:xfrm>
              <a:custGeom>
                <a:avLst/>
                <a:gdLst/>
                <a:ahLst/>
                <a:cxnLst/>
                <a:rect l="l" t="t" r="r" b="b"/>
                <a:pathLst>
                  <a:path w="148101" h="182563">
                    <a:moveTo>
                      <a:pt x="0" y="0"/>
                    </a:moveTo>
                    <a:lnTo>
                      <a:pt x="31601" y="0"/>
                    </a:lnTo>
                    <a:lnTo>
                      <a:pt x="31601" y="96792"/>
                    </a:lnTo>
                    <a:cubicBezTo>
                      <a:pt x="31531" y="113850"/>
                      <a:pt x="35144" y="127425"/>
                      <a:pt x="42438" y="137518"/>
                    </a:cubicBezTo>
                    <a:cubicBezTo>
                      <a:pt x="49733" y="147611"/>
                      <a:pt x="61128" y="152778"/>
                      <a:pt x="76624" y="153019"/>
                    </a:cubicBezTo>
                    <a:cubicBezTo>
                      <a:pt x="90227" y="152944"/>
                      <a:pt x="100325" y="148280"/>
                      <a:pt x="106917" y="139027"/>
                    </a:cubicBezTo>
                    <a:cubicBezTo>
                      <a:pt x="113510" y="129773"/>
                      <a:pt x="116790" y="116380"/>
                      <a:pt x="116758" y="98846"/>
                    </a:cubicBezTo>
                    <a:lnTo>
                      <a:pt x="116758" y="0"/>
                    </a:lnTo>
                    <a:lnTo>
                      <a:pt x="148101" y="0"/>
                    </a:lnTo>
                    <a:lnTo>
                      <a:pt x="148101" y="105265"/>
                    </a:lnTo>
                    <a:cubicBezTo>
                      <a:pt x="147919" y="123517"/>
                      <a:pt x="144543" y="138338"/>
                      <a:pt x="137974" y="149726"/>
                    </a:cubicBezTo>
                    <a:cubicBezTo>
                      <a:pt x="131405" y="161114"/>
                      <a:pt x="122734" y="169450"/>
                      <a:pt x="111963" y="174732"/>
                    </a:cubicBezTo>
                    <a:cubicBezTo>
                      <a:pt x="101192" y="180015"/>
                      <a:pt x="89412" y="182625"/>
                      <a:pt x="76624" y="182562"/>
                    </a:cubicBezTo>
                    <a:cubicBezTo>
                      <a:pt x="53846" y="182556"/>
                      <a:pt x="35480" y="175953"/>
                      <a:pt x="21525" y="162753"/>
                    </a:cubicBezTo>
                    <a:cubicBezTo>
                      <a:pt x="7570" y="149552"/>
                      <a:pt x="395" y="129791"/>
                      <a:pt x="0" y="10346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878" name="Групувати 877">
              <a:extLst>
                <a:ext uri="{FF2B5EF4-FFF2-40B4-BE49-F238E27FC236}">
                  <a16:creationId xmlns:a16="http://schemas.microsoft.com/office/drawing/2014/main" id="{2196C661-1A16-EA3A-5D0D-0A85F4123C29}"/>
                </a:ext>
              </a:extLst>
            </p:cNvPr>
            <p:cNvGrpSpPr/>
            <p:nvPr/>
          </p:nvGrpSpPr>
          <p:grpSpPr>
            <a:xfrm>
              <a:off x="6505193" y="4115430"/>
              <a:ext cx="945627" cy="116746"/>
              <a:chOff x="6511335" y="4062397"/>
              <a:chExt cx="945627" cy="116746"/>
            </a:xfrm>
          </p:grpSpPr>
          <p:sp>
            <p:nvSpPr>
              <p:cNvPr id="791" name="Полілінія: фігура 790">
                <a:extLst>
                  <a:ext uri="{FF2B5EF4-FFF2-40B4-BE49-F238E27FC236}">
                    <a16:creationId xmlns:a16="http://schemas.microsoft.com/office/drawing/2014/main" id="{C3E5D2E8-EB3E-7AF0-E230-6C55B33934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5579" y="4062397"/>
                <a:ext cx="101383" cy="116746"/>
              </a:xfrm>
              <a:custGeom>
                <a:avLst/>
                <a:gdLst/>
                <a:ahLst/>
                <a:cxnLst/>
                <a:rect l="l" t="t" r="r" b="b"/>
                <a:pathLst>
                  <a:path w="161217" h="185648">
                    <a:moveTo>
                      <a:pt x="89740" y="0"/>
                    </a:moveTo>
                    <a:cubicBezTo>
                      <a:pt x="102491" y="37"/>
                      <a:pt x="113519" y="1632"/>
                      <a:pt x="122827" y="4784"/>
                    </a:cubicBezTo>
                    <a:cubicBezTo>
                      <a:pt x="132133" y="7937"/>
                      <a:pt x="140392" y="12422"/>
                      <a:pt x="147601" y="18239"/>
                    </a:cubicBezTo>
                    <a:lnTo>
                      <a:pt x="134243" y="43438"/>
                    </a:lnTo>
                    <a:cubicBezTo>
                      <a:pt x="129592" y="39144"/>
                      <a:pt x="123654" y="35767"/>
                      <a:pt x="116430" y="33306"/>
                    </a:cubicBezTo>
                    <a:cubicBezTo>
                      <a:pt x="109206" y="30846"/>
                      <a:pt x="101595" y="29591"/>
                      <a:pt x="93599" y="29543"/>
                    </a:cubicBezTo>
                    <a:cubicBezTo>
                      <a:pt x="75896" y="29672"/>
                      <a:pt x="61522" y="35204"/>
                      <a:pt x="50476" y="46139"/>
                    </a:cubicBezTo>
                    <a:cubicBezTo>
                      <a:pt x="39430" y="57074"/>
                      <a:pt x="33738" y="72638"/>
                      <a:pt x="33401" y="92832"/>
                    </a:cubicBezTo>
                    <a:cubicBezTo>
                      <a:pt x="33658" y="112228"/>
                      <a:pt x="39253" y="127562"/>
                      <a:pt x="50187" y="138834"/>
                    </a:cubicBezTo>
                    <a:cubicBezTo>
                      <a:pt x="61120" y="150106"/>
                      <a:pt x="75848" y="155863"/>
                      <a:pt x="94371" y="156105"/>
                    </a:cubicBezTo>
                    <a:cubicBezTo>
                      <a:pt x="101585" y="155992"/>
                      <a:pt x="108702" y="154738"/>
                      <a:pt x="115723" y="152341"/>
                    </a:cubicBezTo>
                    <a:cubicBezTo>
                      <a:pt x="122744" y="149944"/>
                      <a:pt x="128061" y="147081"/>
                      <a:pt x="131673" y="143751"/>
                    </a:cubicBezTo>
                    <a:lnTo>
                      <a:pt x="131673" y="115439"/>
                    </a:lnTo>
                    <a:lnTo>
                      <a:pt x="88196" y="115439"/>
                    </a:lnTo>
                    <a:lnTo>
                      <a:pt x="88196" y="85896"/>
                    </a:lnTo>
                    <a:lnTo>
                      <a:pt x="161217" y="85896"/>
                    </a:lnTo>
                    <a:lnTo>
                      <a:pt x="161217" y="160472"/>
                    </a:lnTo>
                    <a:cubicBezTo>
                      <a:pt x="152840" y="168489"/>
                      <a:pt x="142420" y="174676"/>
                      <a:pt x="129957" y="179033"/>
                    </a:cubicBezTo>
                    <a:cubicBezTo>
                      <a:pt x="117493" y="183389"/>
                      <a:pt x="105459" y="185594"/>
                      <a:pt x="93856" y="185648"/>
                    </a:cubicBezTo>
                    <a:cubicBezTo>
                      <a:pt x="64171" y="185285"/>
                      <a:pt x="41165" y="176824"/>
                      <a:pt x="24836" y="160265"/>
                    </a:cubicBezTo>
                    <a:cubicBezTo>
                      <a:pt x="8507" y="143706"/>
                      <a:pt x="229" y="121229"/>
                      <a:pt x="0" y="92832"/>
                    </a:cubicBezTo>
                    <a:cubicBezTo>
                      <a:pt x="88" y="75407"/>
                      <a:pt x="3766" y="59724"/>
                      <a:pt x="11032" y="45782"/>
                    </a:cubicBezTo>
                    <a:cubicBezTo>
                      <a:pt x="18298" y="31841"/>
                      <a:pt x="28623" y="20772"/>
                      <a:pt x="42006" y="12576"/>
                    </a:cubicBezTo>
                    <a:cubicBezTo>
                      <a:pt x="55389" y="4380"/>
                      <a:pt x="71301" y="188"/>
                      <a:pt x="8974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0" name="Полілінія: фігура 789">
                <a:extLst>
                  <a:ext uri="{FF2B5EF4-FFF2-40B4-BE49-F238E27FC236}">
                    <a16:creationId xmlns:a16="http://schemas.microsoft.com/office/drawing/2014/main" id="{FBC2D975-3E3E-A8B3-5B5C-3EB2830BEE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11335" y="4064338"/>
                <a:ext cx="9329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48358" h="179733">
                    <a:moveTo>
                      <a:pt x="0" y="0"/>
                    </a:moveTo>
                    <a:lnTo>
                      <a:pt x="148358" y="0"/>
                    </a:lnTo>
                    <a:lnTo>
                      <a:pt x="148358" y="29543"/>
                    </a:lnTo>
                    <a:lnTo>
                      <a:pt x="89979" y="29543"/>
                    </a:lnTo>
                    <a:lnTo>
                      <a:pt x="89979" y="179733"/>
                    </a:lnTo>
                    <a:lnTo>
                      <a:pt x="58379" y="179733"/>
                    </a:lnTo>
                    <a:lnTo>
                      <a:pt x="58379" y="29543"/>
                    </a:lnTo>
                    <a:lnTo>
                      <a:pt x="0" y="295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9" name="Полілінія: фігура 788">
                <a:extLst>
                  <a:ext uri="{FF2B5EF4-FFF2-40B4-BE49-F238E27FC236}">
                    <a16:creationId xmlns:a16="http://schemas.microsoft.com/office/drawing/2014/main" id="{C67CA3AD-8311-4100-2813-D563195CA7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21243" y="4064338"/>
                <a:ext cx="9135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45272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73295"/>
                    </a:lnTo>
                    <a:lnTo>
                      <a:pt x="113929" y="73295"/>
                    </a:lnTo>
                    <a:lnTo>
                      <a:pt x="113929" y="0"/>
                    </a:lnTo>
                    <a:lnTo>
                      <a:pt x="145272" y="0"/>
                    </a:lnTo>
                    <a:lnTo>
                      <a:pt x="145272" y="179733"/>
                    </a:lnTo>
                    <a:lnTo>
                      <a:pt x="113929" y="179733"/>
                    </a:lnTo>
                    <a:lnTo>
                      <a:pt x="113929" y="102838"/>
                    </a:lnTo>
                    <a:lnTo>
                      <a:pt x="31600" y="102838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8" name="Полілінія: фігура 787">
                <a:extLst>
                  <a:ext uri="{FF2B5EF4-FFF2-40B4-BE49-F238E27FC236}">
                    <a16:creationId xmlns:a16="http://schemas.microsoft.com/office/drawing/2014/main" id="{F5127086-4BDD-E260-205B-A1D361188B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741041" y="4064338"/>
                <a:ext cx="67097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06696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9" y="74066"/>
                    </a:lnTo>
                    <a:lnTo>
                      <a:pt x="96409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6" y="150190"/>
                    </a:lnTo>
                    <a:lnTo>
                      <a:pt x="106696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7" name="Полілінія: фігура 786">
                <a:extLst>
                  <a:ext uri="{FF2B5EF4-FFF2-40B4-BE49-F238E27FC236}">
                    <a16:creationId xmlns:a16="http://schemas.microsoft.com/office/drawing/2014/main" id="{6A93626D-1262-C970-6AF0-8B537B05DF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866828" y="4064338"/>
                <a:ext cx="64671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02838" h="179733">
                    <a:moveTo>
                      <a:pt x="0" y="0"/>
                    </a:moveTo>
                    <a:lnTo>
                      <a:pt x="102838" y="0"/>
                    </a:lnTo>
                    <a:lnTo>
                      <a:pt x="102838" y="29543"/>
                    </a:lnTo>
                    <a:lnTo>
                      <a:pt x="31600" y="29543"/>
                    </a:lnTo>
                    <a:lnTo>
                      <a:pt x="31600" y="80238"/>
                    </a:lnTo>
                    <a:lnTo>
                      <a:pt x="95123" y="80238"/>
                    </a:lnTo>
                    <a:lnTo>
                      <a:pt x="95123" y="109781"/>
                    </a:lnTo>
                    <a:lnTo>
                      <a:pt x="31600" y="109781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6" name="Полілінія: фігура 785">
                <a:extLst>
                  <a:ext uri="{FF2B5EF4-FFF2-40B4-BE49-F238E27FC236}">
                    <a16:creationId xmlns:a16="http://schemas.microsoft.com/office/drawing/2014/main" id="{F12C201C-48FA-9A9D-71FD-BCB1C114A81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53113" y="4064338"/>
                <a:ext cx="19872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31600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5" name="Полілінія: фігура 784">
                <a:extLst>
                  <a:ext uri="{FF2B5EF4-FFF2-40B4-BE49-F238E27FC236}">
                    <a16:creationId xmlns:a16="http://schemas.microsoft.com/office/drawing/2014/main" id="{AA2FE73A-7AAF-E88B-B36B-EDC6F932F3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04596" y="4064338"/>
                <a:ext cx="7081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4" name="Полілінія: фігура 783">
                <a:extLst>
                  <a:ext uri="{FF2B5EF4-FFF2-40B4-BE49-F238E27FC236}">
                    <a16:creationId xmlns:a16="http://schemas.microsoft.com/office/drawing/2014/main" id="{DF70BA57-EA1A-8E2A-210D-6FB7471D6BF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94444" y="4064338"/>
                <a:ext cx="7081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1" y="0"/>
                    </a:lnTo>
                    <a:lnTo>
                      <a:pt x="31601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3" name="Полілінія: фігура 782">
                <a:extLst>
                  <a:ext uri="{FF2B5EF4-FFF2-40B4-BE49-F238E27FC236}">
                    <a16:creationId xmlns:a16="http://schemas.microsoft.com/office/drawing/2014/main" id="{A92722EB-CB1F-528A-7488-FEFCD6BC0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86718" y="4064338"/>
                <a:ext cx="19872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31600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2" name="Полілінія: фігура 781">
                <a:extLst>
                  <a:ext uri="{FF2B5EF4-FFF2-40B4-BE49-F238E27FC236}">
                    <a16:creationId xmlns:a16="http://schemas.microsoft.com/office/drawing/2014/main" id="{A91439D0-805B-90C1-C83C-67E96A4EF3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38202" y="4064338"/>
                <a:ext cx="96693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53759" h="179733">
                    <a:moveTo>
                      <a:pt x="0" y="0"/>
                    </a:moveTo>
                    <a:lnTo>
                      <a:pt x="25176" y="0"/>
                    </a:lnTo>
                    <a:lnTo>
                      <a:pt x="124216" y="125043"/>
                    </a:lnTo>
                    <a:lnTo>
                      <a:pt x="124216" y="0"/>
                    </a:lnTo>
                    <a:lnTo>
                      <a:pt x="153759" y="0"/>
                    </a:lnTo>
                    <a:lnTo>
                      <a:pt x="153759" y="179733"/>
                    </a:lnTo>
                    <a:lnTo>
                      <a:pt x="128583" y="179733"/>
                    </a:lnTo>
                    <a:lnTo>
                      <a:pt x="29543" y="55203"/>
                    </a:lnTo>
                    <a:lnTo>
                      <a:pt x="29543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879" name="Групувати 878">
              <a:extLst>
                <a:ext uri="{FF2B5EF4-FFF2-40B4-BE49-F238E27FC236}">
                  <a16:creationId xmlns:a16="http://schemas.microsoft.com/office/drawing/2014/main" id="{7FD3951F-308D-31ED-E915-91A52FB81E39}"/>
                </a:ext>
              </a:extLst>
            </p:cNvPr>
            <p:cNvGrpSpPr/>
            <p:nvPr/>
          </p:nvGrpSpPr>
          <p:grpSpPr>
            <a:xfrm>
              <a:off x="6751222" y="4343045"/>
              <a:ext cx="699598" cy="116746"/>
              <a:chOff x="6525406" y="4290012"/>
              <a:chExt cx="699598" cy="116746"/>
            </a:xfrm>
          </p:grpSpPr>
          <p:sp>
            <p:nvSpPr>
              <p:cNvPr id="781" name="Полілінія: фігура 780">
                <a:extLst>
                  <a:ext uri="{FF2B5EF4-FFF2-40B4-BE49-F238E27FC236}">
                    <a16:creationId xmlns:a16="http://schemas.microsoft.com/office/drawing/2014/main" id="{5DF16151-E565-4678-BB0D-0C9A97CD09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20145" y="4290012"/>
                <a:ext cx="117878" cy="116746"/>
              </a:xfrm>
              <a:custGeom>
                <a:avLst/>
                <a:gdLst/>
                <a:ahLst/>
                <a:cxnLst/>
                <a:rect l="l" t="t" r="r" b="b"/>
                <a:pathLst>
                  <a:path w="187448" h="185648">
                    <a:moveTo>
                      <a:pt x="93595" y="0"/>
                    </a:moveTo>
                    <a:cubicBezTo>
                      <a:pt x="111598" y="107"/>
                      <a:pt x="127636" y="3975"/>
                      <a:pt x="141708" y="11603"/>
                    </a:cubicBezTo>
                    <a:cubicBezTo>
                      <a:pt x="155780" y="19232"/>
                      <a:pt x="166879" y="29975"/>
                      <a:pt x="175006" y="43834"/>
                    </a:cubicBezTo>
                    <a:cubicBezTo>
                      <a:pt x="183133" y="57694"/>
                      <a:pt x="187281" y="74023"/>
                      <a:pt x="187448" y="92824"/>
                    </a:cubicBezTo>
                    <a:cubicBezTo>
                      <a:pt x="187281" y="110976"/>
                      <a:pt x="183133" y="127001"/>
                      <a:pt x="175006" y="140898"/>
                    </a:cubicBezTo>
                    <a:cubicBezTo>
                      <a:pt x="166879" y="154796"/>
                      <a:pt x="155780" y="165692"/>
                      <a:pt x="141708" y="173587"/>
                    </a:cubicBezTo>
                    <a:cubicBezTo>
                      <a:pt x="127636" y="181482"/>
                      <a:pt x="111598" y="185502"/>
                      <a:pt x="93595" y="185648"/>
                    </a:cubicBezTo>
                    <a:cubicBezTo>
                      <a:pt x="75595" y="185541"/>
                      <a:pt x="59580" y="181673"/>
                      <a:pt x="45549" y="174044"/>
                    </a:cubicBezTo>
                    <a:cubicBezTo>
                      <a:pt x="31519" y="166416"/>
                      <a:pt x="20461" y="155672"/>
                      <a:pt x="12375" y="141813"/>
                    </a:cubicBezTo>
                    <a:cubicBezTo>
                      <a:pt x="4290" y="127954"/>
                      <a:pt x="165" y="111624"/>
                      <a:pt x="0" y="92824"/>
                    </a:cubicBezTo>
                    <a:cubicBezTo>
                      <a:pt x="131" y="75238"/>
                      <a:pt x="4123" y="59480"/>
                      <a:pt x="11975" y="45549"/>
                    </a:cubicBezTo>
                    <a:cubicBezTo>
                      <a:pt x="19827" y="31619"/>
                      <a:pt x="30752" y="20589"/>
                      <a:pt x="44749" y="12461"/>
                    </a:cubicBezTo>
                    <a:cubicBezTo>
                      <a:pt x="58746" y="4332"/>
                      <a:pt x="75028" y="179"/>
                      <a:pt x="93595" y="0"/>
                    </a:cubicBezTo>
                    <a:close/>
                    <a:moveTo>
                      <a:pt x="93595" y="29543"/>
                    </a:moveTo>
                    <a:cubicBezTo>
                      <a:pt x="76006" y="29848"/>
                      <a:pt x="61665" y="35733"/>
                      <a:pt x="50571" y="47196"/>
                    </a:cubicBezTo>
                    <a:cubicBezTo>
                      <a:pt x="39478" y="58659"/>
                      <a:pt x="33754" y="73868"/>
                      <a:pt x="33401" y="92824"/>
                    </a:cubicBezTo>
                    <a:cubicBezTo>
                      <a:pt x="33803" y="111216"/>
                      <a:pt x="39623" y="126265"/>
                      <a:pt x="50861" y="137970"/>
                    </a:cubicBezTo>
                    <a:cubicBezTo>
                      <a:pt x="62099" y="149674"/>
                      <a:pt x="76344" y="155719"/>
                      <a:pt x="93595" y="156105"/>
                    </a:cubicBezTo>
                    <a:cubicBezTo>
                      <a:pt x="112658" y="155687"/>
                      <a:pt x="127460" y="149578"/>
                      <a:pt x="138002" y="137777"/>
                    </a:cubicBezTo>
                    <a:cubicBezTo>
                      <a:pt x="148544" y="125976"/>
                      <a:pt x="153892" y="110991"/>
                      <a:pt x="154048" y="92824"/>
                    </a:cubicBezTo>
                    <a:cubicBezTo>
                      <a:pt x="153651" y="73868"/>
                      <a:pt x="147820" y="58659"/>
                      <a:pt x="136555" y="47196"/>
                    </a:cubicBezTo>
                    <a:cubicBezTo>
                      <a:pt x="125290" y="35733"/>
                      <a:pt x="110970" y="29848"/>
                      <a:pt x="93595" y="2954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80" name="Полілінія: фігура 779">
                <a:extLst>
                  <a:ext uri="{FF2B5EF4-FFF2-40B4-BE49-F238E27FC236}">
                    <a16:creationId xmlns:a16="http://schemas.microsoft.com/office/drawing/2014/main" id="{77CE72AB-8C80-913F-589F-365B7EFC4F2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25406" y="4291952"/>
                <a:ext cx="7081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9" name="Полілінія: фігура 778">
                <a:extLst>
                  <a:ext uri="{FF2B5EF4-FFF2-40B4-BE49-F238E27FC236}">
                    <a16:creationId xmlns:a16="http://schemas.microsoft.com/office/drawing/2014/main" id="{D8E31830-D014-0C24-EAFB-F96B0D4881C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15253" y="4291952"/>
                <a:ext cx="67097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06696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9" y="74066"/>
                    </a:lnTo>
                    <a:lnTo>
                      <a:pt x="96409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6" y="150190"/>
                    </a:lnTo>
                    <a:lnTo>
                      <a:pt x="106696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8" name="Полілінія: фігура 777">
                <a:extLst>
                  <a:ext uri="{FF2B5EF4-FFF2-40B4-BE49-F238E27FC236}">
                    <a16:creationId xmlns:a16="http://schemas.microsoft.com/office/drawing/2014/main" id="{76884949-5160-73C2-A71A-3BB5B32D8EE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94909" y="4291952"/>
                <a:ext cx="106901" cy="113350"/>
              </a:xfrm>
              <a:custGeom>
                <a:avLst/>
                <a:gdLst/>
                <a:ahLst/>
                <a:cxnLst/>
                <a:rect l="l" t="t" r="r" b="b"/>
                <a:pathLst>
                  <a:path w="169992" h="180247">
                    <a:moveTo>
                      <a:pt x="0" y="0"/>
                    </a:moveTo>
                    <a:lnTo>
                      <a:pt x="33689" y="0"/>
                    </a:lnTo>
                    <a:lnTo>
                      <a:pt x="87182" y="133260"/>
                    </a:lnTo>
                    <a:lnTo>
                      <a:pt x="138360" y="0"/>
                    </a:lnTo>
                    <a:lnTo>
                      <a:pt x="169992" y="0"/>
                    </a:lnTo>
                    <a:lnTo>
                      <a:pt x="97983" y="180247"/>
                    </a:lnTo>
                    <a:lnTo>
                      <a:pt x="74066" y="1802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7" name="Полілінія: фігура 776">
                <a:extLst>
                  <a:ext uri="{FF2B5EF4-FFF2-40B4-BE49-F238E27FC236}">
                    <a16:creationId xmlns:a16="http://schemas.microsoft.com/office/drawing/2014/main" id="{61BAB1A7-E83E-3D67-CCC7-125EDE2EF9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818910" y="4291952"/>
                <a:ext cx="6709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06695" h="179733">
                    <a:moveTo>
                      <a:pt x="0" y="0"/>
                    </a:moveTo>
                    <a:lnTo>
                      <a:pt x="104124" y="0"/>
                    </a:lnTo>
                    <a:lnTo>
                      <a:pt x="104124" y="29543"/>
                    </a:lnTo>
                    <a:lnTo>
                      <a:pt x="31600" y="29543"/>
                    </a:lnTo>
                    <a:lnTo>
                      <a:pt x="31600" y="74066"/>
                    </a:lnTo>
                    <a:lnTo>
                      <a:pt x="96409" y="74066"/>
                    </a:lnTo>
                    <a:lnTo>
                      <a:pt x="96409" y="103609"/>
                    </a:lnTo>
                    <a:lnTo>
                      <a:pt x="31600" y="103609"/>
                    </a:lnTo>
                    <a:lnTo>
                      <a:pt x="31600" y="150190"/>
                    </a:lnTo>
                    <a:lnTo>
                      <a:pt x="106695" y="150190"/>
                    </a:lnTo>
                    <a:lnTo>
                      <a:pt x="106695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6" name="Полілінія: фігура 775">
                <a:extLst>
                  <a:ext uri="{FF2B5EF4-FFF2-40B4-BE49-F238E27FC236}">
                    <a16:creationId xmlns:a16="http://schemas.microsoft.com/office/drawing/2014/main" id="{3D243F17-5A26-CE71-471E-310D6BD3583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14748" y="4291952"/>
                <a:ext cx="7081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12611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50190"/>
                    </a:lnTo>
                    <a:lnTo>
                      <a:pt x="112611" y="150190"/>
                    </a:lnTo>
                    <a:lnTo>
                      <a:pt x="112611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5" name="Полілінія: фігура 774">
                <a:extLst>
                  <a:ext uri="{FF2B5EF4-FFF2-40B4-BE49-F238E27FC236}">
                    <a16:creationId xmlns:a16="http://schemas.microsoft.com/office/drawing/2014/main" id="{A64B0E37-96F7-7E5C-5D7F-AB20187B9A8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0333" y="4291952"/>
                <a:ext cx="64671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02838" h="179733">
                    <a:moveTo>
                      <a:pt x="0" y="0"/>
                    </a:moveTo>
                    <a:lnTo>
                      <a:pt x="102838" y="0"/>
                    </a:lnTo>
                    <a:lnTo>
                      <a:pt x="102838" y="29543"/>
                    </a:lnTo>
                    <a:lnTo>
                      <a:pt x="31600" y="29543"/>
                    </a:lnTo>
                    <a:lnTo>
                      <a:pt x="31600" y="80239"/>
                    </a:lnTo>
                    <a:lnTo>
                      <a:pt x="95123" y="80239"/>
                    </a:lnTo>
                    <a:lnTo>
                      <a:pt x="95123" y="109782"/>
                    </a:lnTo>
                    <a:lnTo>
                      <a:pt x="31600" y="109782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880" name="Групувати 879">
              <a:extLst>
                <a:ext uri="{FF2B5EF4-FFF2-40B4-BE49-F238E27FC236}">
                  <a16:creationId xmlns:a16="http://schemas.microsoft.com/office/drawing/2014/main" id="{6D21608B-D294-3E4D-A9D9-ED3D89AFA179}"/>
                </a:ext>
              </a:extLst>
            </p:cNvPr>
            <p:cNvGrpSpPr/>
            <p:nvPr/>
          </p:nvGrpSpPr>
          <p:grpSpPr>
            <a:xfrm>
              <a:off x="6184777" y="4570659"/>
              <a:ext cx="1266043" cy="116747"/>
              <a:chOff x="6523788" y="4517626"/>
              <a:chExt cx="1266043" cy="116747"/>
            </a:xfrm>
          </p:grpSpPr>
          <p:sp>
            <p:nvSpPr>
              <p:cNvPr id="774" name="Полілінія: фігура 773">
                <a:extLst>
                  <a:ext uri="{FF2B5EF4-FFF2-40B4-BE49-F238E27FC236}">
                    <a16:creationId xmlns:a16="http://schemas.microsoft.com/office/drawing/2014/main" id="{FA7352C2-11D6-2270-21ED-1A64CF9BCA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95175" y="4517626"/>
                <a:ext cx="101383" cy="116746"/>
              </a:xfrm>
              <a:custGeom>
                <a:avLst/>
                <a:gdLst/>
                <a:ahLst/>
                <a:cxnLst/>
                <a:rect l="l" t="t" r="r" b="b"/>
                <a:pathLst>
                  <a:path w="161217" h="185648">
                    <a:moveTo>
                      <a:pt x="89740" y="0"/>
                    </a:moveTo>
                    <a:cubicBezTo>
                      <a:pt x="102491" y="37"/>
                      <a:pt x="113519" y="1632"/>
                      <a:pt x="122827" y="4784"/>
                    </a:cubicBezTo>
                    <a:cubicBezTo>
                      <a:pt x="132133" y="7937"/>
                      <a:pt x="140392" y="12422"/>
                      <a:pt x="147601" y="18239"/>
                    </a:cubicBezTo>
                    <a:lnTo>
                      <a:pt x="134243" y="43438"/>
                    </a:lnTo>
                    <a:cubicBezTo>
                      <a:pt x="129592" y="39144"/>
                      <a:pt x="123654" y="35767"/>
                      <a:pt x="116430" y="33306"/>
                    </a:cubicBezTo>
                    <a:cubicBezTo>
                      <a:pt x="109206" y="30846"/>
                      <a:pt x="101595" y="29591"/>
                      <a:pt x="93599" y="29543"/>
                    </a:cubicBezTo>
                    <a:cubicBezTo>
                      <a:pt x="75896" y="29672"/>
                      <a:pt x="61522" y="35204"/>
                      <a:pt x="50476" y="46139"/>
                    </a:cubicBezTo>
                    <a:cubicBezTo>
                      <a:pt x="39430" y="57074"/>
                      <a:pt x="33738" y="72638"/>
                      <a:pt x="33401" y="92832"/>
                    </a:cubicBezTo>
                    <a:cubicBezTo>
                      <a:pt x="33658" y="112228"/>
                      <a:pt x="39253" y="127562"/>
                      <a:pt x="50187" y="138834"/>
                    </a:cubicBezTo>
                    <a:cubicBezTo>
                      <a:pt x="61120" y="150106"/>
                      <a:pt x="75848" y="155863"/>
                      <a:pt x="94371" y="156105"/>
                    </a:cubicBezTo>
                    <a:cubicBezTo>
                      <a:pt x="101585" y="155992"/>
                      <a:pt x="108702" y="154738"/>
                      <a:pt x="115723" y="152341"/>
                    </a:cubicBezTo>
                    <a:cubicBezTo>
                      <a:pt x="122744" y="149944"/>
                      <a:pt x="128061" y="147081"/>
                      <a:pt x="131673" y="143751"/>
                    </a:cubicBezTo>
                    <a:lnTo>
                      <a:pt x="131673" y="115439"/>
                    </a:lnTo>
                    <a:lnTo>
                      <a:pt x="88196" y="115439"/>
                    </a:lnTo>
                    <a:lnTo>
                      <a:pt x="88196" y="85896"/>
                    </a:lnTo>
                    <a:lnTo>
                      <a:pt x="161217" y="85896"/>
                    </a:lnTo>
                    <a:lnTo>
                      <a:pt x="161217" y="160472"/>
                    </a:lnTo>
                    <a:cubicBezTo>
                      <a:pt x="152840" y="168490"/>
                      <a:pt x="142420" y="174676"/>
                      <a:pt x="129957" y="179033"/>
                    </a:cubicBezTo>
                    <a:cubicBezTo>
                      <a:pt x="117493" y="183390"/>
                      <a:pt x="105459" y="185594"/>
                      <a:pt x="93856" y="185648"/>
                    </a:cubicBezTo>
                    <a:cubicBezTo>
                      <a:pt x="64171" y="185285"/>
                      <a:pt x="41165" y="176824"/>
                      <a:pt x="24836" y="160265"/>
                    </a:cubicBezTo>
                    <a:cubicBezTo>
                      <a:pt x="8507" y="143706"/>
                      <a:pt x="229" y="121229"/>
                      <a:pt x="0" y="92832"/>
                    </a:cubicBezTo>
                    <a:cubicBezTo>
                      <a:pt x="88" y="75407"/>
                      <a:pt x="3766" y="59724"/>
                      <a:pt x="11032" y="45783"/>
                    </a:cubicBezTo>
                    <a:cubicBezTo>
                      <a:pt x="18298" y="31841"/>
                      <a:pt x="28623" y="20772"/>
                      <a:pt x="42006" y="12577"/>
                    </a:cubicBezTo>
                    <a:cubicBezTo>
                      <a:pt x="55389" y="4381"/>
                      <a:pt x="71301" y="188"/>
                      <a:pt x="8974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3" name="Полілінія: фігура 772">
                <a:extLst>
                  <a:ext uri="{FF2B5EF4-FFF2-40B4-BE49-F238E27FC236}">
                    <a16:creationId xmlns:a16="http://schemas.microsoft.com/office/drawing/2014/main" id="{1AE3B3AF-5D52-F104-AD68-83254567A7E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714972" y="4517626"/>
                <a:ext cx="74859" cy="116746"/>
              </a:xfrm>
              <a:custGeom>
                <a:avLst/>
                <a:gdLst/>
                <a:ahLst/>
                <a:cxnLst/>
                <a:rect l="l" t="t" r="r" b="b"/>
                <a:pathLst>
                  <a:path w="119040" h="185648">
                    <a:moveTo>
                      <a:pt x="60162" y="0"/>
                    </a:moveTo>
                    <a:cubicBezTo>
                      <a:pt x="71313" y="64"/>
                      <a:pt x="81302" y="1798"/>
                      <a:pt x="90128" y="5202"/>
                    </a:cubicBezTo>
                    <a:cubicBezTo>
                      <a:pt x="98955" y="8606"/>
                      <a:pt x="106109" y="13294"/>
                      <a:pt x="111589" y="19267"/>
                    </a:cubicBezTo>
                    <a:lnTo>
                      <a:pt x="94632" y="42919"/>
                    </a:lnTo>
                    <a:cubicBezTo>
                      <a:pt x="90381" y="38647"/>
                      <a:pt x="85775" y="35357"/>
                      <a:pt x="80812" y="33047"/>
                    </a:cubicBezTo>
                    <a:cubicBezTo>
                      <a:pt x="75849" y="30738"/>
                      <a:pt x="69823" y="29570"/>
                      <a:pt x="62735" y="29543"/>
                    </a:cubicBezTo>
                    <a:cubicBezTo>
                      <a:pt x="54817" y="29629"/>
                      <a:pt x="48651" y="31451"/>
                      <a:pt x="44239" y="35009"/>
                    </a:cubicBezTo>
                    <a:cubicBezTo>
                      <a:pt x="39826" y="38567"/>
                      <a:pt x="37585" y="43347"/>
                      <a:pt x="37515" y="49350"/>
                    </a:cubicBezTo>
                    <a:cubicBezTo>
                      <a:pt x="37940" y="58360"/>
                      <a:pt x="42186" y="65244"/>
                      <a:pt x="50253" y="70001"/>
                    </a:cubicBezTo>
                    <a:cubicBezTo>
                      <a:pt x="58321" y="74759"/>
                      <a:pt x="67663" y="79280"/>
                      <a:pt x="78277" y="83563"/>
                    </a:cubicBezTo>
                    <a:cubicBezTo>
                      <a:pt x="88893" y="87846"/>
                      <a:pt x="98234" y="93782"/>
                      <a:pt x="106302" y="101369"/>
                    </a:cubicBezTo>
                    <a:cubicBezTo>
                      <a:pt x="114369" y="108956"/>
                      <a:pt x="118615" y="120085"/>
                      <a:pt x="119040" y="134754"/>
                    </a:cubicBezTo>
                    <a:cubicBezTo>
                      <a:pt x="118639" y="150149"/>
                      <a:pt x="112825" y="162425"/>
                      <a:pt x="101595" y="171579"/>
                    </a:cubicBezTo>
                    <a:cubicBezTo>
                      <a:pt x="90366" y="180734"/>
                      <a:pt x="76126" y="185424"/>
                      <a:pt x="58875" y="185648"/>
                    </a:cubicBezTo>
                    <a:cubicBezTo>
                      <a:pt x="51020" y="185637"/>
                      <a:pt x="43148" y="184546"/>
                      <a:pt x="35261" y="182375"/>
                    </a:cubicBezTo>
                    <a:cubicBezTo>
                      <a:pt x="27373" y="180204"/>
                      <a:pt x="20287" y="177020"/>
                      <a:pt x="14002" y="172822"/>
                    </a:cubicBezTo>
                    <a:cubicBezTo>
                      <a:pt x="7717" y="168625"/>
                      <a:pt x="3049" y="163480"/>
                      <a:pt x="0" y="157389"/>
                    </a:cubicBezTo>
                    <a:lnTo>
                      <a:pt x="17989" y="135783"/>
                    </a:lnTo>
                    <a:cubicBezTo>
                      <a:pt x="23454" y="142595"/>
                      <a:pt x="29934" y="147686"/>
                      <a:pt x="37428" y="151057"/>
                    </a:cubicBezTo>
                    <a:cubicBezTo>
                      <a:pt x="44923" y="154428"/>
                      <a:pt x="52243" y="156110"/>
                      <a:pt x="59390" y="156105"/>
                    </a:cubicBezTo>
                    <a:cubicBezTo>
                      <a:pt x="67014" y="156078"/>
                      <a:pt x="73254" y="154267"/>
                      <a:pt x="78112" y="150671"/>
                    </a:cubicBezTo>
                    <a:cubicBezTo>
                      <a:pt x="82969" y="147075"/>
                      <a:pt x="85478" y="141855"/>
                      <a:pt x="85639" y="135011"/>
                    </a:cubicBezTo>
                    <a:cubicBezTo>
                      <a:pt x="85215" y="126427"/>
                      <a:pt x="80969" y="119736"/>
                      <a:pt x="72901" y="114938"/>
                    </a:cubicBezTo>
                    <a:cubicBezTo>
                      <a:pt x="64834" y="110141"/>
                      <a:pt x="55492" y="105491"/>
                      <a:pt x="44877" y="100991"/>
                    </a:cubicBezTo>
                    <a:cubicBezTo>
                      <a:pt x="34262" y="96491"/>
                      <a:pt x="24921" y="90395"/>
                      <a:pt x="16853" y="82703"/>
                    </a:cubicBezTo>
                    <a:cubicBezTo>
                      <a:pt x="8785" y="75011"/>
                      <a:pt x="4539" y="63979"/>
                      <a:pt x="4115" y="49607"/>
                    </a:cubicBezTo>
                    <a:cubicBezTo>
                      <a:pt x="4264" y="35727"/>
                      <a:pt x="9233" y="24084"/>
                      <a:pt x="19021" y="14678"/>
                    </a:cubicBezTo>
                    <a:cubicBezTo>
                      <a:pt x="28810" y="5272"/>
                      <a:pt x="42523" y="379"/>
                      <a:pt x="6016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2" name="Полілінія: фігура 771">
                <a:extLst>
                  <a:ext uri="{FF2B5EF4-FFF2-40B4-BE49-F238E27FC236}">
                    <a16:creationId xmlns:a16="http://schemas.microsoft.com/office/drawing/2014/main" id="{607DC693-F386-DC6C-6D7D-3DFB6DA5E49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753021" y="4519082"/>
                <a:ext cx="89091" cy="113512"/>
              </a:xfrm>
              <a:custGeom>
                <a:avLst/>
                <a:gdLst/>
                <a:ahLst/>
                <a:cxnLst/>
                <a:rect l="l" t="t" r="r" b="b"/>
                <a:pathLst>
                  <a:path w="141671" h="180505">
                    <a:moveTo>
                      <a:pt x="54760" y="0"/>
                    </a:moveTo>
                    <a:cubicBezTo>
                      <a:pt x="78972" y="369"/>
                      <a:pt x="95997" y="5733"/>
                      <a:pt x="105835" y="16094"/>
                    </a:cubicBezTo>
                    <a:cubicBezTo>
                      <a:pt x="115673" y="26455"/>
                      <a:pt x="120418" y="39601"/>
                      <a:pt x="120069" y="55534"/>
                    </a:cubicBezTo>
                    <a:cubicBezTo>
                      <a:pt x="119916" y="65793"/>
                      <a:pt x="118023" y="74431"/>
                      <a:pt x="114388" y="81447"/>
                    </a:cubicBezTo>
                    <a:cubicBezTo>
                      <a:pt x="110752" y="88462"/>
                      <a:pt x="106289" y="94048"/>
                      <a:pt x="100998" y="98205"/>
                    </a:cubicBezTo>
                    <a:cubicBezTo>
                      <a:pt x="95707" y="102361"/>
                      <a:pt x="90501" y="105279"/>
                      <a:pt x="85381" y="106960"/>
                    </a:cubicBezTo>
                    <a:lnTo>
                      <a:pt x="141671" y="180505"/>
                    </a:lnTo>
                    <a:lnTo>
                      <a:pt x="103368" y="180505"/>
                    </a:lnTo>
                    <a:lnTo>
                      <a:pt x="53730" y="113125"/>
                    </a:lnTo>
                    <a:lnTo>
                      <a:pt x="31600" y="113125"/>
                    </a:lnTo>
                    <a:lnTo>
                      <a:pt x="31600" y="180505"/>
                    </a:lnTo>
                    <a:lnTo>
                      <a:pt x="0" y="180505"/>
                    </a:lnTo>
                    <a:lnTo>
                      <a:pt x="0" y="514"/>
                    </a:lnTo>
                    <a:cubicBezTo>
                      <a:pt x="3735" y="508"/>
                      <a:pt x="9571" y="463"/>
                      <a:pt x="17506" y="381"/>
                    </a:cubicBezTo>
                    <a:cubicBezTo>
                      <a:pt x="25442" y="299"/>
                      <a:pt x="33108" y="216"/>
                      <a:pt x="40502" y="134"/>
                    </a:cubicBezTo>
                    <a:cubicBezTo>
                      <a:pt x="47896" y="51"/>
                      <a:pt x="52649" y="7"/>
                      <a:pt x="54760" y="0"/>
                    </a:cubicBezTo>
                    <a:close/>
                    <a:moveTo>
                      <a:pt x="53216" y="29543"/>
                    </a:moveTo>
                    <a:cubicBezTo>
                      <a:pt x="50256" y="29549"/>
                      <a:pt x="46976" y="29602"/>
                      <a:pt x="43373" y="29704"/>
                    </a:cubicBezTo>
                    <a:cubicBezTo>
                      <a:pt x="39770" y="29806"/>
                      <a:pt x="35846" y="29924"/>
                      <a:pt x="31600" y="30058"/>
                    </a:cubicBezTo>
                    <a:lnTo>
                      <a:pt x="31600" y="83582"/>
                    </a:lnTo>
                    <a:lnTo>
                      <a:pt x="52186" y="83582"/>
                    </a:lnTo>
                    <a:cubicBezTo>
                      <a:pt x="61616" y="83582"/>
                      <a:pt x="69647" y="81266"/>
                      <a:pt x="76278" y="76634"/>
                    </a:cubicBezTo>
                    <a:cubicBezTo>
                      <a:pt x="82910" y="72003"/>
                      <a:pt x="86373" y="65055"/>
                      <a:pt x="86668" y="55791"/>
                    </a:cubicBezTo>
                    <a:cubicBezTo>
                      <a:pt x="86882" y="48505"/>
                      <a:pt x="84524" y="42362"/>
                      <a:pt x="79592" y="37360"/>
                    </a:cubicBezTo>
                    <a:cubicBezTo>
                      <a:pt x="74659" y="32358"/>
                      <a:pt x="65867" y="29752"/>
                      <a:pt x="53216" y="2954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1" name="Полілінія: фігура 770">
                <a:extLst>
                  <a:ext uri="{FF2B5EF4-FFF2-40B4-BE49-F238E27FC236}">
                    <a16:creationId xmlns:a16="http://schemas.microsoft.com/office/drawing/2014/main" id="{B0B596C4-4EBB-ED38-D550-A734A2EA7E8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846273" y="4519082"/>
                <a:ext cx="113209" cy="113512"/>
              </a:xfrm>
              <a:custGeom>
                <a:avLst/>
                <a:gdLst/>
                <a:ahLst/>
                <a:cxnLst/>
                <a:rect l="l" t="t" r="r" b="b"/>
                <a:pathLst>
                  <a:path w="180023" h="180505">
                    <a:moveTo>
                      <a:pt x="76124" y="0"/>
                    </a:moveTo>
                    <a:lnTo>
                      <a:pt x="103899" y="0"/>
                    </a:lnTo>
                    <a:lnTo>
                      <a:pt x="180023" y="180505"/>
                    </a:lnTo>
                    <a:lnTo>
                      <a:pt x="146333" y="180505"/>
                    </a:lnTo>
                    <a:lnTo>
                      <a:pt x="127559" y="134471"/>
                    </a:lnTo>
                    <a:lnTo>
                      <a:pt x="50664" y="134471"/>
                    </a:lnTo>
                    <a:lnTo>
                      <a:pt x="31890" y="180505"/>
                    </a:lnTo>
                    <a:lnTo>
                      <a:pt x="0" y="180505"/>
                    </a:lnTo>
                    <a:lnTo>
                      <a:pt x="76124" y="0"/>
                    </a:lnTo>
                    <a:close/>
                    <a:moveTo>
                      <a:pt x="89240" y="40891"/>
                    </a:moveTo>
                    <a:lnTo>
                      <a:pt x="62751" y="104928"/>
                    </a:lnTo>
                    <a:lnTo>
                      <a:pt x="115472" y="104928"/>
                    </a:lnTo>
                    <a:lnTo>
                      <a:pt x="89240" y="4089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70" name="Полілінія: фігура 769">
                <a:extLst>
                  <a:ext uri="{FF2B5EF4-FFF2-40B4-BE49-F238E27FC236}">
                    <a16:creationId xmlns:a16="http://schemas.microsoft.com/office/drawing/2014/main" id="{EAFD5F71-D61E-3C92-5BDC-97E572F0E7F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93687" y="4519082"/>
                <a:ext cx="113209" cy="113512"/>
              </a:xfrm>
              <a:custGeom>
                <a:avLst/>
                <a:gdLst/>
                <a:ahLst/>
                <a:cxnLst/>
                <a:rect l="l" t="t" r="r" b="b"/>
                <a:pathLst>
                  <a:path w="180023" h="180505">
                    <a:moveTo>
                      <a:pt x="76124" y="0"/>
                    </a:moveTo>
                    <a:lnTo>
                      <a:pt x="103899" y="0"/>
                    </a:lnTo>
                    <a:lnTo>
                      <a:pt x="180023" y="180505"/>
                    </a:lnTo>
                    <a:lnTo>
                      <a:pt x="146333" y="180505"/>
                    </a:lnTo>
                    <a:lnTo>
                      <a:pt x="127559" y="134471"/>
                    </a:lnTo>
                    <a:lnTo>
                      <a:pt x="50664" y="134471"/>
                    </a:lnTo>
                    <a:lnTo>
                      <a:pt x="31890" y="180505"/>
                    </a:lnTo>
                    <a:lnTo>
                      <a:pt x="0" y="180505"/>
                    </a:lnTo>
                    <a:lnTo>
                      <a:pt x="76124" y="0"/>
                    </a:lnTo>
                    <a:close/>
                    <a:moveTo>
                      <a:pt x="89240" y="40891"/>
                    </a:moveTo>
                    <a:lnTo>
                      <a:pt x="62751" y="104928"/>
                    </a:lnTo>
                    <a:lnTo>
                      <a:pt x="115472" y="104928"/>
                    </a:lnTo>
                    <a:lnTo>
                      <a:pt x="89240" y="4089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9" name="Полілінія: фігура 768">
                <a:extLst>
                  <a:ext uri="{FF2B5EF4-FFF2-40B4-BE49-F238E27FC236}">
                    <a16:creationId xmlns:a16="http://schemas.microsoft.com/office/drawing/2014/main" id="{35BAE98B-7663-F670-9E75-33D93777AC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23788" y="4519567"/>
                <a:ext cx="93135" cy="114806"/>
              </a:xfrm>
              <a:custGeom>
                <a:avLst/>
                <a:gdLst/>
                <a:ahLst/>
                <a:cxnLst/>
                <a:rect l="l" t="t" r="r" b="b"/>
                <a:pathLst>
                  <a:path w="148101" h="182563">
                    <a:moveTo>
                      <a:pt x="0" y="0"/>
                    </a:moveTo>
                    <a:lnTo>
                      <a:pt x="31601" y="0"/>
                    </a:lnTo>
                    <a:lnTo>
                      <a:pt x="31601" y="96792"/>
                    </a:lnTo>
                    <a:cubicBezTo>
                      <a:pt x="31531" y="113850"/>
                      <a:pt x="35144" y="127425"/>
                      <a:pt x="42438" y="137518"/>
                    </a:cubicBezTo>
                    <a:cubicBezTo>
                      <a:pt x="49733" y="147611"/>
                      <a:pt x="61128" y="152778"/>
                      <a:pt x="76623" y="153019"/>
                    </a:cubicBezTo>
                    <a:cubicBezTo>
                      <a:pt x="90227" y="152944"/>
                      <a:pt x="100325" y="148280"/>
                      <a:pt x="106917" y="139027"/>
                    </a:cubicBezTo>
                    <a:cubicBezTo>
                      <a:pt x="113510" y="129773"/>
                      <a:pt x="116790" y="116380"/>
                      <a:pt x="116758" y="98846"/>
                    </a:cubicBezTo>
                    <a:lnTo>
                      <a:pt x="116758" y="0"/>
                    </a:lnTo>
                    <a:lnTo>
                      <a:pt x="148101" y="0"/>
                    </a:lnTo>
                    <a:lnTo>
                      <a:pt x="148101" y="105265"/>
                    </a:lnTo>
                    <a:cubicBezTo>
                      <a:pt x="147919" y="123517"/>
                      <a:pt x="144543" y="138338"/>
                      <a:pt x="137974" y="149726"/>
                    </a:cubicBezTo>
                    <a:cubicBezTo>
                      <a:pt x="131405" y="161114"/>
                      <a:pt x="122735" y="169450"/>
                      <a:pt x="111963" y="174733"/>
                    </a:cubicBezTo>
                    <a:cubicBezTo>
                      <a:pt x="101192" y="180016"/>
                      <a:pt x="89412" y="182625"/>
                      <a:pt x="76623" y="182562"/>
                    </a:cubicBezTo>
                    <a:cubicBezTo>
                      <a:pt x="53846" y="182556"/>
                      <a:pt x="35480" y="175953"/>
                      <a:pt x="21525" y="162753"/>
                    </a:cubicBezTo>
                    <a:cubicBezTo>
                      <a:pt x="7570" y="149552"/>
                      <a:pt x="395" y="129791"/>
                      <a:pt x="0" y="10346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8" name="Полілінія: фігура 767">
                <a:extLst>
                  <a:ext uri="{FF2B5EF4-FFF2-40B4-BE49-F238E27FC236}">
                    <a16:creationId xmlns:a16="http://schemas.microsoft.com/office/drawing/2014/main" id="{C446CDCC-81CF-6D16-193C-A742628B794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45203" y="4519567"/>
                <a:ext cx="91356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45272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85244"/>
                    </a:lnTo>
                    <a:lnTo>
                      <a:pt x="102581" y="0"/>
                    </a:lnTo>
                    <a:lnTo>
                      <a:pt x="140643" y="0"/>
                    </a:lnTo>
                    <a:lnTo>
                      <a:pt x="66576" y="83704"/>
                    </a:lnTo>
                    <a:lnTo>
                      <a:pt x="145272" y="179733"/>
                    </a:lnTo>
                    <a:lnTo>
                      <a:pt x="105152" y="179733"/>
                    </a:lnTo>
                    <a:lnTo>
                      <a:pt x="31600" y="87042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80" name="Полілінія: фігура 279">
                <a:extLst>
                  <a:ext uri="{FF2B5EF4-FFF2-40B4-BE49-F238E27FC236}">
                    <a16:creationId xmlns:a16="http://schemas.microsoft.com/office/drawing/2014/main" id="{2167B8CB-1D85-5C03-7077-79AEA122578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977072" y="4519567"/>
                <a:ext cx="19872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31600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9" name="Полілінія: фігура 278">
                <a:extLst>
                  <a:ext uri="{FF2B5EF4-FFF2-40B4-BE49-F238E27FC236}">
                    <a16:creationId xmlns:a16="http://schemas.microsoft.com/office/drawing/2014/main" id="{870A9025-C6EF-6F3F-B545-0132A69A86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028555" y="4519567"/>
                <a:ext cx="96692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53758" h="179733">
                    <a:moveTo>
                      <a:pt x="0" y="0"/>
                    </a:moveTo>
                    <a:lnTo>
                      <a:pt x="25176" y="0"/>
                    </a:lnTo>
                    <a:lnTo>
                      <a:pt x="124216" y="125043"/>
                    </a:lnTo>
                    <a:lnTo>
                      <a:pt x="124216" y="0"/>
                    </a:lnTo>
                    <a:lnTo>
                      <a:pt x="153758" y="0"/>
                    </a:lnTo>
                    <a:lnTo>
                      <a:pt x="153758" y="179733"/>
                    </a:lnTo>
                    <a:lnTo>
                      <a:pt x="128583" y="179733"/>
                    </a:lnTo>
                    <a:lnTo>
                      <a:pt x="29543" y="55203"/>
                    </a:lnTo>
                    <a:lnTo>
                      <a:pt x="29543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8" name="Полілінія: фігура 277">
                <a:extLst>
                  <a:ext uri="{FF2B5EF4-FFF2-40B4-BE49-F238E27FC236}">
                    <a16:creationId xmlns:a16="http://schemas.microsoft.com/office/drawing/2014/main" id="{CA613026-2800-E136-5CE3-303FA21881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56769" y="4519567"/>
                <a:ext cx="19872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31600" h="179733">
                    <a:moveTo>
                      <a:pt x="0" y="0"/>
                    </a:moveTo>
                    <a:lnTo>
                      <a:pt x="31600" y="0"/>
                    </a:lnTo>
                    <a:lnTo>
                      <a:pt x="31600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7" name="Полілінія: фігура 276">
                <a:extLst>
                  <a:ext uri="{FF2B5EF4-FFF2-40B4-BE49-F238E27FC236}">
                    <a16:creationId xmlns:a16="http://schemas.microsoft.com/office/drawing/2014/main" id="{4CB604F9-8F17-F645-AA2F-24C09E09F27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22060" y="4519567"/>
                <a:ext cx="96693" cy="113026"/>
              </a:xfrm>
              <a:custGeom>
                <a:avLst/>
                <a:gdLst/>
                <a:ahLst/>
                <a:cxnLst/>
                <a:rect l="l" t="t" r="r" b="b"/>
                <a:pathLst>
                  <a:path w="153759" h="179733">
                    <a:moveTo>
                      <a:pt x="0" y="0"/>
                    </a:moveTo>
                    <a:lnTo>
                      <a:pt x="25176" y="0"/>
                    </a:lnTo>
                    <a:lnTo>
                      <a:pt x="124216" y="125043"/>
                    </a:lnTo>
                    <a:lnTo>
                      <a:pt x="124216" y="0"/>
                    </a:lnTo>
                    <a:lnTo>
                      <a:pt x="153759" y="0"/>
                    </a:lnTo>
                    <a:lnTo>
                      <a:pt x="153759" y="179733"/>
                    </a:lnTo>
                    <a:lnTo>
                      <a:pt x="128583" y="179733"/>
                    </a:lnTo>
                    <a:lnTo>
                      <a:pt x="29543" y="55203"/>
                    </a:lnTo>
                    <a:lnTo>
                      <a:pt x="29543" y="179733"/>
                    </a:lnTo>
                    <a:lnTo>
                      <a:pt x="0" y="1797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6" name="Полілінія: фігура 275">
                <a:extLst>
                  <a:ext uri="{FF2B5EF4-FFF2-40B4-BE49-F238E27FC236}">
                    <a16:creationId xmlns:a16="http://schemas.microsoft.com/office/drawing/2014/main" id="{23FEDAFB-429D-DAC2-E9F9-32347AFBEB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482169" y="4519567"/>
                <a:ext cx="93135" cy="114806"/>
              </a:xfrm>
              <a:custGeom>
                <a:avLst/>
                <a:gdLst/>
                <a:ahLst/>
                <a:cxnLst/>
                <a:rect l="l" t="t" r="r" b="b"/>
                <a:pathLst>
                  <a:path w="148101" h="182563">
                    <a:moveTo>
                      <a:pt x="0" y="0"/>
                    </a:moveTo>
                    <a:lnTo>
                      <a:pt x="31601" y="0"/>
                    </a:lnTo>
                    <a:lnTo>
                      <a:pt x="31601" y="96792"/>
                    </a:lnTo>
                    <a:cubicBezTo>
                      <a:pt x="31531" y="113850"/>
                      <a:pt x="35144" y="127425"/>
                      <a:pt x="42438" y="137518"/>
                    </a:cubicBezTo>
                    <a:cubicBezTo>
                      <a:pt x="49733" y="147611"/>
                      <a:pt x="61128" y="152778"/>
                      <a:pt x="76624" y="153019"/>
                    </a:cubicBezTo>
                    <a:cubicBezTo>
                      <a:pt x="90227" y="152944"/>
                      <a:pt x="100325" y="148280"/>
                      <a:pt x="106917" y="139027"/>
                    </a:cubicBezTo>
                    <a:cubicBezTo>
                      <a:pt x="113510" y="129773"/>
                      <a:pt x="116790" y="116380"/>
                      <a:pt x="116758" y="98846"/>
                    </a:cubicBezTo>
                    <a:lnTo>
                      <a:pt x="116758" y="0"/>
                    </a:lnTo>
                    <a:lnTo>
                      <a:pt x="148101" y="0"/>
                    </a:lnTo>
                    <a:lnTo>
                      <a:pt x="148101" y="105265"/>
                    </a:lnTo>
                    <a:cubicBezTo>
                      <a:pt x="147919" y="123517"/>
                      <a:pt x="144543" y="138338"/>
                      <a:pt x="137974" y="149726"/>
                    </a:cubicBezTo>
                    <a:cubicBezTo>
                      <a:pt x="131405" y="161114"/>
                      <a:pt x="122734" y="169450"/>
                      <a:pt x="111963" y="174733"/>
                    </a:cubicBezTo>
                    <a:cubicBezTo>
                      <a:pt x="101192" y="180016"/>
                      <a:pt x="89412" y="182625"/>
                      <a:pt x="76624" y="182562"/>
                    </a:cubicBezTo>
                    <a:cubicBezTo>
                      <a:pt x="53846" y="182556"/>
                      <a:pt x="35480" y="175953"/>
                      <a:pt x="21525" y="162753"/>
                    </a:cubicBezTo>
                    <a:cubicBezTo>
                      <a:pt x="7570" y="149552"/>
                      <a:pt x="395" y="129791"/>
                      <a:pt x="0" y="10346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r"/>
                <a:endParaRPr lang="uk-UA">
                  <a:solidFill>
                    <a:schemeClr val="tx2">
                      <a:lumMod val="50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738521-0191-003F-2861-2A3BEC0D5D46}"/>
                </a:ext>
              </a:extLst>
            </p:cNvPr>
            <p:cNvSpPr txBox="1"/>
            <p:nvPr/>
          </p:nvSpPr>
          <p:spPr>
            <a:xfrm>
              <a:off x="700389" y="6528727"/>
              <a:ext cx="311444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* data taken from agsi.gie.eu 05.04.2024</a:t>
              </a:r>
              <a:endParaRPr lang="uk-UA" sz="1400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23" name="TextBox 1022">
              <a:extLst>
                <a:ext uri="{FF2B5EF4-FFF2-40B4-BE49-F238E27FC236}">
                  <a16:creationId xmlns:a16="http://schemas.microsoft.com/office/drawing/2014/main" id="{D394D5DB-E7B6-E412-52FE-2A1AFC7CCC17}"/>
                </a:ext>
              </a:extLst>
            </p:cNvPr>
            <p:cNvSpPr txBox="1"/>
            <p:nvPr/>
          </p:nvSpPr>
          <p:spPr>
            <a:xfrm rot="16200000">
              <a:off x="8119914" y="3296865"/>
              <a:ext cx="961028" cy="2599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17749">
                <a:defRPr sz="2400" b="1" spc="-2">
                  <a:solidFill>
                    <a:srgbClr val="666666"/>
                  </a:solidFill>
                  <a:latin typeface="Arial"/>
                </a:defRPr>
              </a:lvl1pPr>
            </a:lstStyle>
            <a:p>
              <a:r>
                <a:rPr lang="en-US" sz="1089" dirty="0">
                  <a:solidFill>
                    <a:schemeClr val="bg2">
                      <a:lumMod val="25000"/>
                    </a:schemeClr>
                  </a:solidFill>
                </a:rPr>
                <a:t>nomination</a:t>
              </a:r>
              <a:endParaRPr lang="uk-UA" sz="1089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44" name="TextBox 643">
              <a:extLst>
                <a:ext uri="{FF2B5EF4-FFF2-40B4-BE49-F238E27FC236}">
                  <a16:creationId xmlns:a16="http://schemas.microsoft.com/office/drawing/2014/main" id="{24962DC3-8AB6-EB41-DC4D-E2CFDAF22DF5}"/>
                </a:ext>
              </a:extLst>
            </p:cNvPr>
            <p:cNvSpPr txBox="1"/>
            <p:nvPr/>
          </p:nvSpPr>
          <p:spPr>
            <a:xfrm>
              <a:off x="5172222" y="1370868"/>
              <a:ext cx="98745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sz="4800" b="1">
                  <a:solidFill>
                    <a:schemeClr val="bg2">
                      <a:lumMod val="10000"/>
                    </a:schemeClr>
                  </a:solidFill>
                </a:defRPr>
              </a:lvl1pPr>
            </a:lstStyle>
            <a:p>
              <a:r>
                <a:rPr lang="en-US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EU Partner</a:t>
              </a:r>
              <a:endParaRPr lang="uk-UA" sz="14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3" name="TextBox 372">
              <a:extLst>
                <a:ext uri="{FF2B5EF4-FFF2-40B4-BE49-F238E27FC236}">
                  <a16:creationId xmlns:a16="http://schemas.microsoft.com/office/drawing/2014/main" id="{5601DAB1-0641-BE29-B10E-9472D45D1CC8}"/>
                </a:ext>
              </a:extLst>
            </p:cNvPr>
            <p:cNvSpPr txBox="1"/>
            <p:nvPr/>
          </p:nvSpPr>
          <p:spPr>
            <a:xfrm>
              <a:off x="7091353" y="1671800"/>
              <a:ext cx="1018227" cy="4273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sz="4800" b="1">
                  <a:solidFill>
                    <a:schemeClr val="bg2">
                      <a:lumMod val="10000"/>
                    </a:schemeClr>
                  </a:solidFill>
                </a:defRPr>
              </a:lvl1pPr>
            </a:lstStyle>
            <a:p>
              <a:r>
                <a:rPr lang="en-US" sz="2177" dirty="0">
                  <a:latin typeface="Calibri" panose="020F0502020204030204" pitchFamily="34" charset="0"/>
                  <a:cs typeface="Calibri" panose="020F0502020204030204" pitchFamily="34" charset="0"/>
                </a:rPr>
                <a:t>EU SSO</a:t>
              </a:r>
              <a:endParaRPr lang="uk-UA" sz="2177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47" name="TextBox 646">
              <a:extLst>
                <a:ext uri="{FF2B5EF4-FFF2-40B4-BE49-F238E27FC236}">
                  <a16:creationId xmlns:a16="http://schemas.microsoft.com/office/drawing/2014/main" id="{2F532865-BC1A-6C41-9A8F-04BD6985F86F}"/>
                </a:ext>
              </a:extLst>
            </p:cNvPr>
            <p:cNvSpPr txBox="1"/>
            <p:nvPr/>
          </p:nvSpPr>
          <p:spPr>
            <a:xfrm rot="16200000">
              <a:off x="5844452" y="1945718"/>
              <a:ext cx="961028" cy="2599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17749">
                <a:defRPr sz="2400" b="1" spc="-2">
                  <a:solidFill>
                    <a:srgbClr val="666666"/>
                  </a:solidFill>
                  <a:latin typeface="Arial"/>
                </a:defRPr>
              </a:lvl1pPr>
            </a:lstStyle>
            <a:p>
              <a:r>
                <a:rPr lang="en-US" sz="1089" dirty="0">
                  <a:solidFill>
                    <a:schemeClr val="bg2">
                      <a:lumMod val="25000"/>
                    </a:schemeClr>
                  </a:solidFill>
                </a:rPr>
                <a:t>nomination</a:t>
              </a:r>
              <a:endParaRPr lang="uk-UA" sz="1089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642" name="TextBox 641">
              <a:extLst>
                <a:ext uri="{FF2B5EF4-FFF2-40B4-BE49-F238E27FC236}">
                  <a16:creationId xmlns:a16="http://schemas.microsoft.com/office/drawing/2014/main" id="{1AC2D2EE-B927-68D1-322A-793AD7A43D1D}"/>
                </a:ext>
              </a:extLst>
            </p:cNvPr>
            <p:cNvSpPr txBox="1"/>
            <p:nvPr/>
          </p:nvSpPr>
          <p:spPr>
            <a:xfrm>
              <a:off x="10061619" y="2292244"/>
              <a:ext cx="1044388" cy="4273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>
                <a:defRPr sz="4800" b="1">
                  <a:solidFill>
                    <a:schemeClr val="bg2">
                      <a:lumMod val="10000"/>
                    </a:schemeClr>
                  </a:solidFill>
                </a:defRPr>
              </a:lvl1pPr>
            </a:lstStyle>
            <a:p>
              <a:r>
                <a:rPr lang="en-US" sz="2177" dirty="0">
                  <a:latin typeface="Calibri" panose="020F0502020204030204" pitchFamily="34" charset="0"/>
                  <a:cs typeface="Calibri" panose="020F0502020204030204" pitchFamily="34" charset="0"/>
                </a:rPr>
                <a:t>UA SSO</a:t>
              </a:r>
              <a:endParaRPr lang="uk-UA" sz="2177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650" name="Групувати 649">
              <a:extLst>
                <a:ext uri="{FF2B5EF4-FFF2-40B4-BE49-F238E27FC236}">
                  <a16:creationId xmlns:a16="http://schemas.microsoft.com/office/drawing/2014/main" id="{25A35DC0-FB88-0B30-D967-33A63CE0AD78}"/>
                </a:ext>
              </a:extLst>
            </p:cNvPr>
            <p:cNvGrpSpPr/>
            <p:nvPr/>
          </p:nvGrpSpPr>
          <p:grpSpPr>
            <a:xfrm>
              <a:off x="9230262" y="5507171"/>
              <a:ext cx="2874895" cy="652933"/>
              <a:chOff x="12397588" y="-2357300"/>
              <a:chExt cx="3332120" cy="756775"/>
            </a:xfrm>
          </p:grpSpPr>
          <p:sp>
            <p:nvSpPr>
              <p:cNvPr id="651" name="object 8">
                <a:extLst>
                  <a:ext uri="{FF2B5EF4-FFF2-40B4-BE49-F238E27FC236}">
                    <a16:creationId xmlns:a16="http://schemas.microsoft.com/office/drawing/2014/main" id="{576CAE01-13BC-FF5F-4FA1-86EDDE398AC5}"/>
                  </a:ext>
                </a:extLst>
              </p:cNvPr>
              <p:cNvSpPr/>
              <p:nvPr/>
            </p:nvSpPr>
            <p:spPr>
              <a:xfrm>
                <a:off x="13426832" y="-2233312"/>
                <a:ext cx="2302876" cy="4994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4590"/>
                <a:r>
                  <a:rPr lang="en-US" sz="1100" b="1" dirty="0">
                    <a:solidFill>
                      <a:srgbClr val="666666"/>
                    </a:solidFill>
                    <a:latin typeface="Arial"/>
                  </a:rPr>
                  <a:t>working gas volume </a:t>
                </a:r>
              </a:p>
              <a:p>
                <a:pPr marL="4590"/>
                <a:r>
                  <a:rPr lang="en-US" sz="1100" b="1" dirty="0">
                    <a:solidFill>
                      <a:srgbClr val="666666"/>
                    </a:solidFill>
                    <a:latin typeface="Arial"/>
                  </a:rPr>
                  <a:t>offered to non-residents</a:t>
                </a:r>
                <a:endParaRPr lang="ru-RU" sz="1100" b="1" dirty="0">
                  <a:solidFill>
                    <a:srgbClr val="666666"/>
                  </a:solidFill>
                  <a:latin typeface="Arial"/>
                </a:endParaRPr>
              </a:p>
            </p:txBody>
          </p:sp>
          <p:grpSp>
            <p:nvGrpSpPr>
              <p:cNvPr id="652" name="Групувати 651">
                <a:extLst>
                  <a:ext uri="{FF2B5EF4-FFF2-40B4-BE49-F238E27FC236}">
                    <a16:creationId xmlns:a16="http://schemas.microsoft.com/office/drawing/2014/main" id="{2AAFCEA3-C5D8-D785-BA72-0D7F6E949B87}"/>
                  </a:ext>
                </a:extLst>
              </p:cNvPr>
              <p:cNvGrpSpPr/>
              <p:nvPr/>
            </p:nvGrpSpPr>
            <p:grpSpPr>
              <a:xfrm>
                <a:off x="12397588" y="-2357300"/>
                <a:ext cx="1272839" cy="756775"/>
                <a:chOff x="11394246" y="-2355481"/>
                <a:chExt cx="1272839" cy="756775"/>
              </a:xfrm>
            </p:grpSpPr>
            <p:sp>
              <p:nvSpPr>
                <p:cNvPr id="653" name="object 8">
                  <a:extLst>
                    <a:ext uri="{FF2B5EF4-FFF2-40B4-BE49-F238E27FC236}">
                      <a16:creationId xmlns:a16="http://schemas.microsoft.com/office/drawing/2014/main" id="{C72D974F-3E52-0F51-A8F8-EBFD5B4E6C3F}"/>
                    </a:ext>
                  </a:extLst>
                </p:cNvPr>
                <p:cNvSpPr/>
                <p:nvPr/>
              </p:nvSpPr>
              <p:spPr>
                <a:xfrm>
                  <a:off x="11394246" y="-2355481"/>
                  <a:ext cx="1272839" cy="756775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37018" tIns="18509" rIns="37018" bIns="18509" anchor="t">
                  <a:spAutoFit/>
                </a:bodyPr>
                <a:lstStyle/>
                <a:p>
                  <a:pPr>
                    <a:lnSpc>
                      <a:spcPct val="100000"/>
                    </a:lnSpc>
                  </a:pPr>
                  <a:r>
                    <a:rPr lang="en-US" sz="4000" b="1" dirty="0">
                      <a:solidFill>
                        <a:srgbClr val="00A1DF"/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10</a:t>
                  </a:r>
                  <a:endParaRPr lang="ru-RU" sz="4000" b="1" dirty="0">
                    <a:solidFill>
                      <a:srgbClr val="00A1D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4" name="object 8">
                  <a:extLst>
                    <a:ext uri="{FF2B5EF4-FFF2-40B4-BE49-F238E27FC236}">
                      <a16:creationId xmlns:a16="http://schemas.microsoft.com/office/drawing/2014/main" id="{8A335E8D-EE55-5F96-D8D2-B0FBC694E296}"/>
                    </a:ext>
                  </a:extLst>
                </p:cNvPr>
                <p:cNvSpPr/>
                <p:nvPr/>
              </p:nvSpPr>
              <p:spPr>
                <a:xfrm rot="16200000">
                  <a:off x="11908100" y="-2153898"/>
                  <a:ext cx="580756" cy="293032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37018" tIns="18509" rIns="37018" bIns="18509" anchor="t">
                  <a:spAutoFit/>
                </a:bodyPr>
                <a:lstStyle/>
                <a:p>
                  <a:pPr>
                    <a:lnSpc>
                      <a:spcPct val="100000"/>
                    </a:lnSpc>
                  </a:pPr>
                  <a:r>
                    <a:rPr lang="en-US" sz="1400" dirty="0">
                      <a:solidFill>
                        <a:srgbClr val="00A1DF"/>
                      </a:solidFill>
                      <a:latin typeface="Arial Black"/>
                      <a:ea typeface="DejaVu Sans"/>
                    </a:rPr>
                    <a:t>bcm</a:t>
                  </a:r>
                  <a:endParaRPr lang="ru-RU" sz="1400" dirty="0">
                    <a:solidFill>
                      <a:srgbClr val="00A1DF"/>
                    </a:solidFill>
                    <a:latin typeface="Arial"/>
                  </a:endParaRPr>
                </a:p>
              </p:txBody>
            </p:sp>
          </p:grpSp>
        </p:grpSp>
        <p:sp>
          <p:nvSpPr>
            <p:cNvPr id="1041" name="TextBox 1040">
              <a:extLst>
                <a:ext uri="{FF2B5EF4-FFF2-40B4-BE49-F238E27FC236}">
                  <a16:creationId xmlns:a16="http://schemas.microsoft.com/office/drawing/2014/main" id="{B32A1DFA-988F-255E-61A7-235A928D8CBF}"/>
                </a:ext>
              </a:extLst>
            </p:cNvPr>
            <p:cNvSpPr txBox="1"/>
            <p:nvPr/>
          </p:nvSpPr>
          <p:spPr>
            <a:xfrm>
              <a:off x="11442784" y="128946"/>
              <a:ext cx="133574" cy="130153"/>
            </a:xfrm>
            <a:custGeom>
              <a:avLst/>
              <a:gdLst/>
              <a:ahLst/>
              <a:cxnLst/>
              <a:rect l="l" t="t" r="r" b="b"/>
              <a:pathLst>
                <a:path w="97196" h="96262">
                  <a:moveTo>
                    <a:pt x="48531" y="0"/>
                  </a:moveTo>
                  <a:cubicBezTo>
                    <a:pt x="57866" y="55"/>
                    <a:pt x="66182" y="2061"/>
                    <a:pt x="73479" y="6016"/>
                  </a:cubicBezTo>
                  <a:cubicBezTo>
                    <a:pt x="80775" y="9972"/>
                    <a:pt x="86530" y="15542"/>
                    <a:pt x="90744" y="22729"/>
                  </a:cubicBezTo>
                  <a:cubicBezTo>
                    <a:pt x="94958" y="29915"/>
                    <a:pt x="97109" y="38382"/>
                    <a:pt x="97196" y="48130"/>
                  </a:cubicBezTo>
                  <a:cubicBezTo>
                    <a:pt x="97109" y="57543"/>
                    <a:pt x="94958" y="65852"/>
                    <a:pt x="90744" y="73058"/>
                  </a:cubicBezTo>
                  <a:cubicBezTo>
                    <a:pt x="86530" y="80264"/>
                    <a:pt x="80775" y="85914"/>
                    <a:pt x="73479" y="90008"/>
                  </a:cubicBezTo>
                  <a:cubicBezTo>
                    <a:pt x="66182" y="94102"/>
                    <a:pt x="57866" y="96186"/>
                    <a:pt x="48531" y="96262"/>
                  </a:cubicBezTo>
                  <a:cubicBezTo>
                    <a:pt x="39198" y="96206"/>
                    <a:pt x="30894" y="94200"/>
                    <a:pt x="23618" y="90245"/>
                  </a:cubicBezTo>
                  <a:cubicBezTo>
                    <a:pt x="16343" y="86290"/>
                    <a:pt x="10610" y="80719"/>
                    <a:pt x="6417" y="73532"/>
                  </a:cubicBezTo>
                  <a:cubicBezTo>
                    <a:pt x="2225" y="66346"/>
                    <a:pt x="86" y="57879"/>
                    <a:pt x="0" y="48130"/>
                  </a:cubicBezTo>
                  <a:cubicBezTo>
                    <a:pt x="68" y="39012"/>
                    <a:pt x="2138" y="30841"/>
                    <a:pt x="6210" y="23618"/>
                  </a:cubicBezTo>
                  <a:cubicBezTo>
                    <a:pt x="10281" y="16395"/>
                    <a:pt x="15946" y="10676"/>
                    <a:pt x="23203" y="6461"/>
                  </a:cubicBezTo>
                  <a:cubicBezTo>
                    <a:pt x="30461" y="2246"/>
                    <a:pt x="38904" y="92"/>
                    <a:pt x="48531" y="0"/>
                  </a:cubicBezTo>
                  <a:close/>
                  <a:moveTo>
                    <a:pt x="48531" y="15318"/>
                  </a:moveTo>
                  <a:cubicBezTo>
                    <a:pt x="39411" y="15477"/>
                    <a:pt x="31975" y="18528"/>
                    <a:pt x="26223" y="24472"/>
                  </a:cubicBezTo>
                  <a:cubicBezTo>
                    <a:pt x="20470" y="30415"/>
                    <a:pt x="17503" y="38302"/>
                    <a:pt x="17319" y="48130"/>
                  </a:cubicBezTo>
                  <a:cubicBezTo>
                    <a:pt x="17528" y="57667"/>
                    <a:pt x="20545" y="65470"/>
                    <a:pt x="26373" y="71539"/>
                  </a:cubicBezTo>
                  <a:cubicBezTo>
                    <a:pt x="32200" y="77608"/>
                    <a:pt x="39586" y="80743"/>
                    <a:pt x="48531" y="80943"/>
                  </a:cubicBezTo>
                  <a:cubicBezTo>
                    <a:pt x="58415" y="80726"/>
                    <a:pt x="66091" y="77558"/>
                    <a:pt x="71557" y="71439"/>
                  </a:cubicBezTo>
                  <a:cubicBezTo>
                    <a:pt x="77023" y="65320"/>
                    <a:pt x="79796" y="57551"/>
                    <a:pt x="79877" y="48130"/>
                  </a:cubicBezTo>
                  <a:cubicBezTo>
                    <a:pt x="79671" y="38302"/>
                    <a:pt x="76648" y="30415"/>
                    <a:pt x="70807" y="24472"/>
                  </a:cubicBezTo>
                  <a:cubicBezTo>
                    <a:pt x="64965" y="18528"/>
                    <a:pt x="57540" y="15477"/>
                    <a:pt x="48531" y="15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042" name="TextBox 1041">
              <a:extLst>
                <a:ext uri="{FF2B5EF4-FFF2-40B4-BE49-F238E27FC236}">
                  <a16:creationId xmlns:a16="http://schemas.microsoft.com/office/drawing/2014/main" id="{EE0070DE-1092-380A-11F8-5EB2F098382B}"/>
                </a:ext>
              </a:extLst>
            </p:cNvPr>
            <p:cNvSpPr txBox="1"/>
            <p:nvPr/>
          </p:nvSpPr>
          <p:spPr>
            <a:xfrm>
              <a:off x="11599863" y="128946"/>
              <a:ext cx="114881" cy="130153"/>
            </a:xfrm>
            <a:custGeom>
              <a:avLst/>
              <a:gdLst/>
              <a:ahLst/>
              <a:cxnLst/>
              <a:rect l="l" t="t" r="r" b="b"/>
              <a:pathLst>
                <a:path w="83594" h="96262">
                  <a:moveTo>
                    <a:pt x="46532" y="0"/>
                  </a:moveTo>
                  <a:cubicBezTo>
                    <a:pt x="53144" y="19"/>
                    <a:pt x="58862" y="846"/>
                    <a:pt x="63688" y="2481"/>
                  </a:cubicBezTo>
                  <a:cubicBezTo>
                    <a:pt x="68514" y="4115"/>
                    <a:pt x="72796" y="6441"/>
                    <a:pt x="76534" y="9457"/>
                  </a:cubicBezTo>
                  <a:lnTo>
                    <a:pt x="69608" y="22523"/>
                  </a:lnTo>
                  <a:cubicBezTo>
                    <a:pt x="67196" y="20297"/>
                    <a:pt x="64117" y="18546"/>
                    <a:pt x="60371" y="17270"/>
                  </a:cubicBezTo>
                  <a:cubicBezTo>
                    <a:pt x="56625" y="15994"/>
                    <a:pt x="52679" y="15343"/>
                    <a:pt x="48533" y="15318"/>
                  </a:cubicBezTo>
                  <a:cubicBezTo>
                    <a:pt x="39354" y="15385"/>
                    <a:pt x="31901" y="18253"/>
                    <a:pt x="26173" y="23923"/>
                  </a:cubicBezTo>
                  <a:cubicBezTo>
                    <a:pt x="20446" y="29593"/>
                    <a:pt x="17494" y="37664"/>
                    <a:pt x="17319" y="48135"/>
                  </a:cubicBezTo>
                  <a:cubicBezTo>
                    <a:pt x="17453" y="58192"/>
                    <a:pt x="20354" y="66143"/>
                    <a:pt x="26023" y="71988"/>
                  </a:cubicBezTo>
                  <a:cubicBezTo>
                    <a:pt x="31692" y="77832"/>
                    <a:pt x="39329" y="80817"/>
                    <a:pt x="48933" y="80943"/>
                  </a:cubicBezTo>
                  <a:cubicBezTo>
                    <a:pt x="52674" y="80885"/>
                    <a:pt x="56364" y="80234"/>
                    <a:pt x="60005" y="78991"/>
                  </a:cubicBezTo>
                  <a:cubicBezTo>
                    <a:pt x="63645" y="77748"/>
                    <a:pt x="66402" y="76264"/>
                    <a:pt x="68276" y="74537"/>
                  </a:cubicBezTo>
                  <a:lnTo>
                    <a:pt x="68276" y="59857"/>
                  </a:lnTo>
                  <a:lnTo>
                    <a:pt x="45732" y="59857"/>
                  </a:lnTo>
                  <a:lnTo>
                    <a:pt x="45732" y="44539"/>
                  </a:lnTo>
                  <a:lnTo>
                    <a:pt x="83594" y="44539"/>
                  </a:lnTo>
                  <a:lnTo>
                    <a:pt x="83594" y="83208"/>
                  </a:lnTo>
                  <a:cubicBezTo>
                    <a:pt x="79251" y="87365"/>
                    <a:pt x="73848" y="90573"/>
                    <a:pt x="67385" y="92832"/>
                  </a:cubicBezTo>
                  <a:cubicBezTo>
                    <a:pt x="60922" y="95091"/>
                    <a:pt x="54683" y="96234"/>
                    <a:pt x="48666" y="96262"/>
                  </a:cubicBezTo>
                  <a:cubicBezTo>
                    <a:pt x="33274" y="96073"/>
                    <a:pt x="21345" y="91686"/>
                    <a:pt x="12878" y="83100"/>
                  </a:cubicBezTo>
                  <a:cubicBezTo>
                    <a:pt x="4412" y="74514"/>
                    <a:pt x="119" y="62859"/>
                    <a:pt x="0" y="48135"/>
                  </a:cubicBezTo>
                  <a:cubicBezTo>
                    <a:pt x="46" y="39100"/>
                    <a:pt x="1953" y="30968"/>
                    <a:pt x="5721" y="23739"/>
                  </a:cubicBezTo>
                  <a:cubicBezTo>
                    <a:pt x="9488" y="16510"/>
                    <a:pt x="14842" y="10771"/>
                    <a:pt x="21781" y="6521"/>
                  </a:cubicBezTo>
                  <a:cubicBezTo>
                    <a:pt x="28721" y="2271"/>
                    <a:pt x="36971" y="97"/>
                    <a:pt x="46532" y="0"/>
                  </a:cubicBez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043" name="TextBox 1042">
              <a:extLst>
                <a:ext uri="{FF2B5EF4-FFF2-40B4-BE49-F238E27FC236}">
                  <a16:creationId xmlns:a16="http://schemas.microsoft.com/office/drawing/2014/main" id="{EF67AB39-4890-4DAC-072B-165A6175A6CF}"/>
                </a:ext>
              </a:extLst>
            </p:cNvPr>
            <p:cNvSpPr txBox="1"/>
            <p:nvPr/>
          </p:nvSpPr>
          <p:spPr>
            <a:xfrm>
              <a:off x="11056203" y="130570"/>
              <a:ext cx="128281" cy="126547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044" name="TextBox 1043">
              <a:extLst>
                <a:ext uri="{FF2B5EF4-FFF2-40B4-BE49-F238E27FC236}">
                  <a16:creationId xmlns:a16="http://schemas.microsoft.com/office/drawing/2014/main" id="{1C000C6B-24C1-4DBE-BBCB-57C7A095E08B}"/>
                </a:ext>
              </a:extLst>
            </p:cNvPr>
            <p:cNvSpPr txBox="1"/>
            <p:nvPr/>
          </p:nvSpPr>
          <p:spPr>
            <a:xfrm>
              <a:off x="11736879" y="130570"/>
              <a:ext cx="128281" cy="126547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045" name="TextBox 1044">
              <a:extLst>
                <a:ext uri="{FF2B5EF4-FFF2-40B4-BE49-F238E27FC236}">
                  <a16:creationId xmlns:a16="http://schemas.microsoft.com/office/drawing/2014/main" id="{A38BFC8D-6395-6F0B-691B-0A38F1666B3E}"/>
                </a:ext>
              </a:extLst>
            </p:cNvPr>
            <p:cNvSpPr txBox="1"/>
            <p:nvPr/>
          </p:nvSpPr>
          <p:spPr>
            <a:xfrm>
              <a:off x="10915628" y="131111"/>
              <a:ext cx="109565" cy="126006"/>
            </a:xfrm>
            <a:custGeom>
              <a:avLst/>
              <a:gdLst/>
              <a:ahLst/>
              <a:cxnLst/>
              <a:rect l="l" t="t" r="r" b="b"/>
              <a:pathLst>
                <a:path w="79726" h="93195">
                  <a:moveTo>
                    <a:pt x="0" y="0"/>
                  </a:moveTo>
                  <a:lnTo>
                    <a:pt x="13054" y="0"/>
                  </a:lnTo>
                  <a:lnTo>
                    <a:pt x="64408" y="64837"/>
                  </a:lnTo>
                  <a:lnTo>
                    <a:pt x="64408" y="0"/>
                  </a:lnTo>
                  <a:lnTo>
                    <a:pt x="79726" y="0"/>
                  </a:lnTo>
                  <a:lnTo>
                    <a:pt x="79726" y="93195"/>
                  </a:lnTo>
                  <a:lnTo>
                    <a:pt x="66672" y="93195"/>
                  </a:lnTo>
                  <a:lnTo>
                    <a:pt x="15318" y="28624"/>
                  </a:lnTo>
                  <a:lnTo>
                    <a:pt x="15318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046" name="TextBox 1045">
              <a:extLst>
                <a:ext uri="{FF2B5EF4-FFF2-40B4-BE49-F238E27FC236}">
                  <a16:creationId xmlns:a16="http://schemas.microsoft.com/office/drawing/2014/main" id="{FD39BB17-8ECE-F99E-93C0-504B0592FEE1}"/>
                </a:ext>
              </a:extLst>
            </p:cNvPr>
            <p:cNvSpPr txBox="1"/>
            <p:nvPr/>
          </p:nvSpPr>
          <p:spPr>
            <a:xfrm>
              <a:off x="11216697" y="131111"/>
              <a:ext cx="73280" cy="126006"/>
            </a:xfrm>
            <a:custGeom>
              <a:avLst/>
              <a:gdLst/>
              <a:ahLst/>
              <a:cxnLst/>
              <a:rect l="l" t="t" r="r" b="b"/>
              <a:pathLst>
                <a:path w="53323" h="93195">
                  <a:moveTo>
                    <a:pt x="0" y="0"/>
                  </a:moveTo>
                  <a:lnTo>
                    <a:pt x="53323" y="0"/>
                  </a:lnTo>
                  <a:lnTo>
                    <a:pt x="53323" y="15318"/>
                  </a:lnTo>
                  <a:lnTo>
                    <a:pt x="16385" y="15318"/>
                  </a:lnTo>
                  <a:lnTo>
                    <a:pt x="16385" y="41605"/>
                  </a:lnTo>
                  <a:lnTo>
                    <a:pt x="49322" y="41605"/>
                  </a:lnTo>
                  <a:lnTo>
                    <a:pt x="49322" y="56924"/>
                  </a:lnTo>
                  <a:lnTo>
                    <a:pt x="16385" y="56924"/>
                  </a:lnTo>
                  <a:lnTo>
                    <a:pt x="16385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047" name="TextBox 1046">
              <a:extLst>
                <a:ext uri="{FF2B5EF4-FFF2-40B4-BE49-F238E27FC236}">
                  <a16:creationId xmlns:a16="http://schemas.microsoft.com/office/drawing/2014/main" id="{FEE58CA6-F31A-63BB-2094-67D1FBD999B7}"/>
                </a:ext>
              </a:extLst>
            </p:cNvPr>
            <p:cNvSpPr txBox="1"/>
            <p:nvPr/>
          </p:nvSpPr>
          <p:spPr>
            <a:xfrm>
              <a:off x="11318561" y="131111"/>
              <a:ext cx="105717" cy="126006"/>
            </a:xfrm>
            <a:custGeom>
              <a:avLst/>
              <a:gdLst/>
              <a:ahLst/>
              <a:cxnLst/>
              <a:rect l="l" t="t" r="r" b="b"/>
              <a:pathLst>
                <a:path w="76926" h="93195">
                  <a:moveTo>
                    <a:pt x="0" y="0"/>
                  </a:moveTo>
                  <a:lnTo>
                    <a:pt x="76926" y="0"/>
                  </a:lnTo>
                  <a:lnTo>
                    <a:pt x="76926" y="15318"/>
                  </a:lnTo>
                  <a:lnTo>
                    <a:pt x="46656" y="15318"/>
                  </a:lnTo>
                  <a:lnTo>
                    <a:pt x="46656" y="93195"/>
                  </a:lnTo>
                  <a:lnTo>
                    <a:pt x="30270" y="93195"/>
                  </a:lnTo>
                  <a:lnTo>
                    <a:pt x="30270" y="15318"/>
                  </a:lnTo>
                  <a:lnTo>
                    <a:pt x="0" y="15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048" name="TextBox 1047">
              <a:extLst>
                <a:ext uri="{FF2B5EF4-FFF2-40B4-BE49-F238E27FC236}">
                  <a16:creationId xmlns:a16="http://schemas.microsoft.com/office/drawing/2014/main" id="{01677987-43C5-E42E-3659-B73FAD3BAD7F}"/>
                </a:ext>
              </a:extLst>
            </p:cNvPr>
            <p:cNvSpPr txBox="1"/>
            <p:nvPr/>
          </p:nvSpPr>
          <p:spPr>
            <a:xfrm>
              <a:off x="11886915" y="131111"/>
              <a:ext cx="102992" cy="126006"/>
            </a:xfrm>
            <a:custGeom>
              <a:avLst/>
              <a:gdLst/>
              <a:ahLst/>
              <a:cxnLst/>
              <a:rect l="l" t="t" r="r" b="b"/>
              <a:pathLst>
                <a:path w="74943" h="93195">
                  <a:moveTo>
                    <a:pt x="2667" y="0"/>
                  </a:moveTo>
                  <a:lnTo>
                    <a:pt x="73609" y="0"/>
                  </a:lnTo>
                  <a:lnTo>
                    <a:pt x="73609" y="11322"/>
                  </a:lnTo>
                  <a:lnTo>
                    <a:pt x="21870" y="77876"/>
                  </a:lnTo>
                  <a:lnTo>
                    <a:pt x="74943" y="77876"/>
                  </a:lnTo>
                  <a:lnTo>
                    <a:pt x="74943" y="93195"/>
                  </a:lnTo>
                  <a:lnTo>
                    <a:pt x="0" y="93195"/>
                  </a:lnTo>
                  <a:lnTo>
                    <a:pt x="0" y="82006"/>
                  </a:lnTo>
                  <a:lnTo>
                    <a:pt x="51607" y="15318"/>
                  </a:lnTo>
                  <a:lnTo>
                    <a:pt x="2667" y="15318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049" name="Freeform 218">
              <a:extLst>
                <a:ext uri="{FF2B5EF4-FFF2-40B4-BE49-F238E27FC236}">
                  <a16:creationId xmlns:a16="http://schemas.microsoft.com/office/drawing/2014/main" id="{B05C3F55-6DAF-7591-85F5-DA5371DC201F}"/>
                </a:ext>
              </a:extLst>
            </p:cNvPr>
            <p:cNvSpPr/>
            <p:nvPr/>
          </p:nvSpPr>
          <p:spPr>
            <a:xfrm>
              <a:off x="10749599" y="394584"/>
              <a:ext cx="6334" cy="1806"/>
            </a:xfrm>
            <a:custGeom>
              <a:avLst/>
              <a:gdLst/>
              <a:ahLst/>
              <a:cxnLst/>
              <a:rect l="0" t="0" r="0" b="0"/>
              <a:pathLst>
                <a:path w="13665" h="3962">
                  <a:moveTo>
                    <a:pt x="0" y="3962"/>
                  </a:moveTo>
                  <a:cubicBezTo>
                    <a:pt x="4610" y="2731"/>
                    <a:pt x="9169" y="1626"/>
                    <a:pt x="13665" y="0"/>
                  </a:cubicBezTo>
                  <a:cubicBezTo>
                    <a:pt x="8978" y="1384"/>
                    <a:pt x="4508" y="2731"/>
                    <a:pt x="0" y="3962"/>
                  </a:cubicBezTo>
                </a:path>
              </a:pathLst>
            </a:custGeom>
            <a:solidFill>
              <a:srgbClr val="000000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pic>
          <p:nvPicPr>
            <p:cNvPr id="1050" name="Picture 219">
              <a:extLst>
                <a:ext uri="{FF2B5EF4-FFF2-40B4-BE49-F238E27FC236}">
                  <a16:creationId xmlns:a16="http://schemas.microsoft.com/office/drawing/2014/main" id="{6CBA172A-7ED4-89A2-9F37-0C8385E5B2C3}"/>
                </a:ext>
              </a:extLst>
            </p:cNvPr>
            <p:cNvPicPr/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0740495" y="390320"/>
              <a:ext cx="21326" cy="13865"/>
            </a:xfrm>
            <a:prstGeom prst="rect">
              <a:avLst/>
            </a:prstGeom>
            <a:noFill/>
          </p:spPr>
        </p:pic>
        <p:grpSp>
          <p:nvGrpSpPr>
            <p:cNvPr id="1052" name="Групувати 1051">
              <a:extLst>
                <a:ext uri="{FF2B5EF4-FFF2-40B4-BE49-F238E27FC236}">
                  <a16:creationId xmlns:a16="http://schemas.microsoft.com/office/drawing/2014/main" id="{C8D016EC-FE70-A998-63FD-EF3831A7B21F}"/>
                </a:ext>
              </a:extLst>
            </p:cNvPr>
            <p:cNvGrpSpPr/>
            <p:nvPr/>
          </p:nvGrpSpPr>
          <p:grpSpPr>
            <a:xfrm>
              <a:off x="10925063" y="312405"/>
              <a:ext cx="790781" cy="68116"/>
              <a:chOff x="4220435" y="3738620"/>
              <a:chExt cx="575419" cy="50379"/>
            </a:xfrm>
          </p:grpSpPr>
          <p:sp>
            <p:nvSpPr>
              <p:cNvPr id="1053" name="TextBox 1052">
                <a:extLst>
                  <a:ext uri="{FF2B5EF4-FFF2-40B4-BE49-F238E27FC236}">
                    <a16:creationId xmlns:a16="http://schemas.microsoft.com/office/drawing/2014/main" id="{8D5426D4-B00D-6418-FE24-C11EFDA9FDF9}"/>
                  </a:ext>
                </a:extLst>
              </p:cNvPr>
              <p:cNvSpPr txBox="1"/>
              <p:nvPr/>
            </p:nvSpPr>
            <p:spPr>
              <a:xfrm>
                <a:off x="4600817" y="3741001"/>
                <a:ext cx="29929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29929" h="47998">
                    <a:moveTo>
                      <a:pt x="15198" y="0"/>
                    </a:moveTo>
                    <a:cubicBezTo>
                      <a:pt x="17931" y="19"/>
                      <a:pt x="20418" y="463"/>
                      <a:pt x="22659" y="1331"/>
                    </a:cubicBezTo>
                    <a:cubicBezTo>
                      <a:pt x="24899" y="2200"/>
                      <a:pt x="26701" y="3376"/>
                      <a:pt x="28065" y="4860"/>
                    </a:cubicBezTo>
                    <a:lnTo>
                      <a:pt x="25002" y="9127"/>
                    </a:lnTo>
                    <a:cubicBezTo>
                      <a:pt x="23783" y="7889"/>
                      <a:pt x="22405" y="6947"/>
                      <a:pt x="20868" y="6301"/>
                    </a:cubicBezTo>
                    <a:cubicBezTo>
                      <a:pt x="19331" y="5655"/>
                      <a:pt x="17552" y="5330"/>
                      <a:pt x="15531" y="5326"/>
                    </a:cubicBezTo>
                    <a:cubicBezTo>
                      <a:pt x="12905" y="5353"/>
                      <a:pt x="10853" y="5981"/>
                      <a:pt x="9377" y="7210"/>
                    </a:cubicBezTo>
                    <a:cubicBezTo>
                      <a:pt x="7902" y="8438"/>
                      <a:pt x="7151" y="10099"/>
                      <a:pt x="7126" y="12195"/>
                    </a:cubicBezTo>
                    <a:cubicBezTo>
                      <a:pt x="7187" y="14454"/>
                      <a:pt x="7977" y="16223"/>
                      <a:pt x="9498" y="17502"/>
                    </a:cubicBezTo>
                    <a:cubicBezTo>
                      <a:pt x="11018" y="18780"/>
                      <a:pt x="12903" y="19858"/>
                      <a:pt x="15153" y="20734"/>
                    </a:cubicBezTo>
                    <a:cubicBezTo>
                      <a:pt x="17403" y="21611"/>
                      <a:pt x="19652" y="22575"/>
                      <a:pt x="21902" y="23627"/>
                    </a:cubicBezTo>
                    <a:cubicBezTo>
                      <a:pt x="24152" y="24680"/>
                      <a:pt x="26037" y="26110"/>
                      <a:pt x="27557" y="27916"/>
                    </a:cubicBezTo>
                    <a:cubicBezTo>
                      <a:pt x="29078" y="29723"/>
                      <a:pt x="29868" y="32197"/>
                      <a:pt x="29929" y="35336"/>
                    </a:cubicBezTo>
                    <a:cubicBezTo>
                      <a:pt x="29825" y="39219"/>
                      <a:pt x="28351" y="42288"/>
                      <a:pt x="25507" y="44543"/>
                    </a:cubicBezTo>
                    <a:cubicBezTo>
                      <a:pt x="22663" y="46798"/>
                      <a:pt x="19071" y="47949"/>
                      <a:pt x="14731" y="47998"/>
                    </a:cubicBezTo>
                    <a:cubicBezTo>
                      <a:pt x="11753" y="47981"/>
                      <a:pt x="8872" y="47365"/>
                      <a:pt x="6089" y="46150"/>
                    </a:cubicBezTo>
                    <a:cubicBezTo>
                      <a:pt x="3305" y="44935"/>
                      <a:pt x="1276" y="43220"/>
                      <a:pt x="0" y="41005"/>
                    </a:cubicBezTo>
                    <a:lnTo>
                      <a:pt x="3264" y="37137"/>
                    </a:lnTo>
                    <a:cubicBezTo>
                      <a:pt x="4693" y="38943"/>
                      <a:pt x="6465" y="40316"/>
                      <a:pt x="8579" y="41255"/>
                    </a:cubicBezTo>
                    <a:cubicBezTo>
                      <a:pt x="10693" y="42194"/>
                      <a:pt x="12766" y="42666"/>
                      <a:pt x="14798" y="42672"/>
                    </a:cubicBezTo>
                    <a:cubicBezTo>
                      <a:pt x="17309" y="42665"/>
                      <a:pt x="19441" y="42045"/>
                      <a:pt x="21193" y="40813"/>
                    </a:cubicBezTo>
                    <a:cubicBezTo>
                      <a:pt x="22946" y="39581"/>
                      <a:pt x="23860" y="37777"/>
                      <a:pt x="23936" y="35403"/>
                    </a:cubicBezTo>
                    <a:cubicBezTo>
                      <a:pt x="23876" y="33168"/>
                      <a:pt x="23085" y="31398"/>
                      <a:pt x="21565" y="30095"/>
                    </a:cubicBezTo>
                    <a:cubicBezTo>
                      <a:pt x="20045" y="28792"/>
                      <a:pt x="18160" y="27681"/>
                      <a:pt x="15910" y="26763"/>
                    </a:cubicBezTo>
                    <a:cubicBezTo>
                      <a:pt x="13660" y="25844"/>
                      <a:pt x="11410" y="24845"/>
                      <a:pt x="9160" y="23763"/>
                    </a:cubicBezTo>
                    <a:cubicBezTo>
                      <a:pt x="6910" y="22682"/>
                      <a:pt x="5025" y="21246"/>
                      <a:pt x="3505" y="19455"/>
                    </a:cubicBezTo>
                    <a:cubicBezTo>
                      <a:pt x="1985" y="17663"/>
                      <a:pt x="1194" y="15243"/>
                      <a:pt x="1134" y="12195"/>
                    </a:cubicBezTo>
                    <a:cubicBezTo>
                      <a:pt x="1165" y="8740"/>
                      <a:pt x="2400" y="5865"/>
                      <a:pt x="4839" y="3571"/>
                    </a:cubicBezTo>
                    <a:cubicBezTo>
                      <a:pt x="7278" y="1278"/>
                      <a:pt x="10731" y="87"/>
                      <a:pt x="1519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54" name="TextBox 1053">
                <a:extLst>
                  <a:ext uri="{FF2B5EF4-FFF2-40B4-BE49-F238E27FC236}">
                    <a16:creationId xmlns:a16="http://schemas.microsoft.com/office/drawing/2014/main" id="{10D73B30-C802-8C7E-45DA-F0C0B8A01C61}"/>
                  </a:ext>
                </a:extLst>
              </p:cNvPr>
              <p:cNvSpPr txBox="1"/>
              <p:nvPr/>
            </p:nvSpPr>
            <p:spPr>
              <a:xfrm>
                <a:off x="4646060" y="3741001"/>
                <a:ext cx="41130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41130" h="47998">
                    <a:moveTo>
                      <a:pt x="22933" y="0"/>
                    </a:moveTo>
                    <a:cubicBezTo>
                      <a:pt x="26078" y="1"/>
                      <a:pt x="28840" y="381"/>
                      <a:pt x="31219" y="1140"/>
                    </a:cubicBezTo>
                    <a:cubicBezTo>
                      <a:pt x="33597" y="1899"/>
                      <a:pt x="35725" y="3028"/>
                      <a:pt x="37602" y="4527"/>
                    </a:cubicBezTo>
                    <a:lnTo>
                      <a:pt x="35138" y="9061"/>
                    </a:lnTo>
                    <a:cubicBezTo>
                      <a:pt x="33740" y="7826"/>
                      <a:pt x="32033" y="6895"/>
                      <a:pt x="30019" y="6268"/>
                    </a:cubicBezTo>
                    <a:cubicBezTo>
                      <a:pt x="28004" y="5641"/>
                      <a:pt x="25864" y="5327"/>
                      <a:pt x="23600" y="5326"/>
                    </a:cubicBezTo>
                    <a:cubicBezTo>
                      <a:pt x="18314" y="5399"/>
                      <a:pt x="14079" y="7103"/>
                      <a:pt x="10895" y="10437"/>
                    </a:cubicBezTo>
                    <a:cubicBezTo>
                      <a:pt x="7710" y="13771"/>
                      <a:pt x="6076" y="18293"/>
                      <a:pt x="5993" y="24002"/>
                    </a:cubicBezTo>
                    <a:cubicBezTo>
                      <a:pt x="6072" y="29738"/>
                      <a:pt x="7714" y="34266"/>
                      <a:pt x="10920" y="37586"/>
                    </a:cubicBezTo>
                    <a:cubicBezTo>
                      <a:pt x="14125" y="40907"/>
                      <a:pt x="18418" y="42602"/>
                      <a:pt x="23800" y="42672"/>
                    </a:cubicBezTo>
                    <a:cubicBezTo>
                      <a:pt x="26071" y="42650"/>
                      <a:pt x="28314" y="42261"/>
                      <a:pt x="30527" y="41505"/>
                    </a:cubicBezTo>
                    <a:cubicBezTo>
                      <a:pt x="32741" y="40748"/>
                      <a:pt x="34500" y="39759"/>
                      <a:pt x="35805" y="38536"/>
                    </a:cubicBezTo>
                    <a:lnTo>
                      <a:pt x="35805" y="28929"/>
                    </a:lnTo>
                    <a:lnTo>
                      <a:pt x="23199" y="28929"/>
                    </a:lnTo>
                    <a:lnTo>
                      <a:pt x="23199" y="23603"/>
                    </a:lnTo>
                    <a:lnTo>
                      <a:pt x="41130" y="23603"/>
                    </a:lnTo>
                    <a:lnTo>
                      <a:pt x="41130" y="41538"/>
                    </a:lnTo>
                    <a:cubicBezTo>
                      <a:pt x="38960" y="43614"/>
                      <a:pt x="36258" y="45207"/>
                      <a:pt x="33026" y="46316"/>
                    </a:cubicBezTo>
                    <a:cubicBezTo>
                      <a:pt x="29795" y="47426"/>
                      <a:pt x="26675" y="47987"/>
                      <a:pt x="23666" y="47998"/>
                    </a:cubicBezTo>
                    <a:cubicBezTo>
                      <a:pt x="16319" y="47906"/>
                      <a:pt x="10558" y="45724"/>
                      <a:pt x="6381" y="41450"/>
                    </a:cubicBezTo>
                    <a:cubicBezTo>
                      <a:pt x="2204" y="37176"/>
                      <a:pt x="78" y="31361"/>
                      <a:pt x="0" y="24002"/>
                    </a:cubicBezTo>
                    <a:cubicBezTo>
                      <a:pt x="25" y="19485"/>
                      <a:pt x="974" y="15425"/>
                      <a:pt x="2848" y="11821"/>
                    </a:cubicBezTo>
                    <a:cubicBezTo>
                      <a:pt x="4722" y="8217"/>
                      <a:pt x="7370" y="5358"/>
                      <a:pt x="10792" y="3244"/>
                    </a:cubicBezTo>
                    <a:cubicBezTo>
                      <a:pt x="14215" y="1129"/>
                      <a:pt x="18261" y="48"/>
                      <a:pt x="2293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55" name="TextBox 1054">
                <a:extLst>
                  <a:ext uri="{FF2B5EF4-FFF2-40B4-BE49-F238E27FC236}">
                    <a16:creationId xmlns:a16="http://schemas.microsoft.com/office/drawing/2014/main" id="{250533A0-B22B-9A06-09FE-549D63832976}"/>
                  </a:ext>
                </a:extLst>
              </p:cNvPr>
              <p:cNvSpPr txBox="1"/>
              <p:nvPr/>
            </p:nvSpPr>
            <p:spPr>
              <a:xfrm>
                <a:off x="4479416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70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70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7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56" name="TextBox 1055">
                <a:extLst>
                  <a:ext uri="{FF2B5EF4-FFF2-40B4-BE49-F238E27FC236}">
                    <a16:creationId xmlns:a16="http://schemas.microsoft.com/office/drawing/2014/main" id="{CEA78CA6-84A2-6965-0D2E-92A30A637425}"/>
                  </a:ext>
                </a:extLst>
              </p:cNvPr>
              <p:cNvSpPr txBox="1"/>
              <p:nvPr/>
            </p:nvSpPr>
            <p:spPr>
              <a:xfrm>
                <a:off x="4700872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69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69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8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57" name="TextBox 1056">
                <a:extLst>
                  <a:ext uri="{FF2B5EF4-FFF2-40B4-BE49-F238E27FC236}">
                    <a16:creationId xmlns:a16="http://schemas.microsoft.com/office/drawing/2014/main" id="{87A59537-8A5F-800D-45FB-09AE4F784D50}"/>
                  </a:ext>
                </a:extLst>
              </p:cNvPr>
              <p:cNvSpPr txBox="1"/>
              <p:nvPr/>
            </p:nvSpPr>
            <p:spPr>
              <a:xfrm>
                <a:off x="4330639" y="3738620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60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9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58" name="TextBox 1057">
                <a:extLst>
                  <a:ext uri="{FF2B5EF4-FFF2-40B4-BE49-F238E27FC236}">
                    <a16:creationId xmlns:a16="http://schemas.microsoft.com/office/drawing/2014/main" id="{A7DDF16C-7BBC-1957-7A63-AE1EEE33F771}"/>
                  </a:ext>
                </a:extLst>
              </p:cNvPr>
              <p:cNvSpPr txBox="1"/>
              <p:nvPr/>
            </p:nvSpPr>
            <p:spPr>
              <a:xfrm>
                <a:off x="4428271" y="3741001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59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8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59" name="TextBox 1058">
                <a:extLst>
                  <a:ext uri="{FF2B5EF4-FFF2-40B4-BE49-F238E27FC236}">
                    <a16:creationId xmlns:a16="http://schemas.microsoft.com/office/drawing/2014/main" id="{0C0A4E64-2FC0-C94C-AD4A-9818902FB120}"/>
                  </a:ext>
                </a:extLst>
              </p:cNvPr>
              <p:cNvSpPr txBox="1"/>
              <p:nvPr/>
            </p:nvSpPr>
            <p:spPr>
              <a:xfrm>
                <a:off x="4220435" y="3738620"/>
                <a:ext cx="37396" cy="47264"/>
              </a:xfrm>
              <a:custGeom>
                <a:avLst/>
                <a:gdLst/>
                <a:ahLst/>
                <a:cxnLst/>
                <a:rect l="l" t="t" r="r" b="b"/>
                <a:pathLst>
                  <a:path w="37396" h="472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25670"/>
                    </a:lnTo>
                    <a:cubicBezTo>
                      <a:pt x="5682" y="30781"/>
                      <a:pt x="6869" y="34760"/>
                      <a:pt x="9219" y="37604"/>
                    </a:cubicBezTo>
                    <a:cubicBezTo>
                      <a:pt x="11568" y="40449"/>
                      <a:pt x="14939" y="41894"/>
                      <a:pt x="19331" y="41938"/>
                    </a:cubicBezTo>
                    <a:cubicBezTo>
                      <a:pt x="23204" y="41940"/>
                      <a:pt x="26230" y="40620"/>
                      <a:pt x="28410" y="37980"/>
                    </a:cubicBezTo>
                    <a:cubicBezTo>
                      <a:pt x="30591" y="35339"/>
                      <a:pt x="31699" y="31369"/>
                      <a:pt x="31737" y="26070"/>
                    </a:cubicBezTo>
                    <a:lnTo>
                      <a:pt x="31737" y="0"/>
                    </a:lnTo>
                    <a:lnTo>
                      <a:pt x="37396" y="0"/>
                    </a:lnTo>
                    <a:lnTo>
                      <a:pt x="37396" y="27203"/>
                    </a:lnTo>
                    <a:cubicBezTo>
                      <a:pt x="37349" y="31943"/>
                      <a:pt x="36495" y="35790"/>
                      <a:pt x="34832" y="38746"/>
                    </a:cubicBezTo>
                    <a:cubicBezTo>
                      <a:pt x="33169" y="41701"/>
                      <a:pt x="30976" y="43864"/>
                      <a:pt x="28254" y="45234"/>
                    </a:cubicBezTo>
                    <a:cubicBezTo>
                      <a:pt x="25531" y="46604"/>
                      <a:pt x="22557" y="47281"/>
                      <a:pt x="19331" y="47264"/>
                    </a:cubicBezTo>
                    <a:cubicBezTo>
                      <a:pt x="13624" y="47263"/>
                      <a:pt x="9001" y="45550"/>
                      <a:pt x="5464" y="42126"/>
                    </a:cubicBezTo>
                    <a:cubicBezTo>
                      <a:pt x="1926" y="38702"/>
                      <a:pt x="105" y="33572"/>
                      <a:pt x="0" y="267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60" name="TextBox 1059">
                <a:extLst>
                  <a:ext uri="{FF2B5EF4-FFF2-40B4-BE49-F238E27FC236}">
                    <a16:creationId xmlns:a16="http://schemas.microsoft.com/office/drawing/2014/main" id="{D0586374-79EC-1393-28C6-A567FCDF78D1}"/>
                  </a:ext>
                </a:extLst>
              </p:cNvPr>
              <p:cNvSpPr txBox="1"/>
              <p:nvPr/>
            </p:nvSpPr>
            <p:spPr>
              <a:xfrm>
                <a:off x="4278251" y="3738620"/>
                <a:ext cx="5659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5659" h="466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61" name="TextBox 1060">
                <a:extLst>
                  <a:ext uri="{FF2B5EF4-FFF2-40B4-BE49-F238E27FC236}">
                    <a16:creationId xmlns:a16="http://schemas.microsoft.com/office/drawing/2014/main" id="{00FC7847-937A-A848-784B-6582DDD99E90}"/>
                  </a:ext>
                </a:extLst>
              </p:cNvPr>
              <p:cNvSpPr txBox="1"/>
              <p:nvPr/>
            </p:nvSpPr>
            <p:spPr>
              <a:xfrm>
                <a:off x="4285044" y="3738620"/>
                <a:ext cx="28403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28403" h="46664">
                    <a:moveTo>
                      <a:pt x="20469" y="0"/>
                    </a:moveTo>
                    <a:lnTo>
                      <a:pt x="27337" y="0"/>
                    </a:lnTo>
                    <a:lnTo>
                      <a:pt x="6534" y="21932"/>
                    </a:lnTo>
                    <a:lnTo>
                      <a:pt x="28403" y="46664"/>
                    </a:lnTo>
                    <a:lnTo>
                      <a:pt x="21136" y="46664"/>
                    </a:lnTo>
                    <a:lnTo>
                      <a:pt x="0" y="22332"/>
                    </a:lnTo>
                    <a:lnTo>
                      <a:pt x="2046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62" name="TextBox 1061">
                <a:extLst>
                  <a:ext uri="{FF2B5EF4-FFF2-40B4-BE49-F238E27FC236}">
                    <a16:creationId xmlns:a16="http://schemas.microsoft.com/office/drawing/2014/main" id="{B879AFA4-665C-518E-C6A1-791102653B1E}"/>
                  </a:ext>
                </a:extLst>
              </p:cNvPr>
              <p:cNvSpPr txBox="1"/>
              <p:nvPr/>
            </p:nvSpPr>
            <p:spPr>
              <a:xfrm>
                <a:off x="4374312" y="3741001"/>
                <a:ext cx="38330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330" h="46664">
                    <a:moveTo>
                      <a:pt x="0" y="0"/>
                    </a:moveTo>
                    <a:lnTo>
                      <a:pt x="38330" y="0"/>
                    </a:lnTo>
                    <a:lnTo>
                      <a:pt x="38330" y="5325"/>
                    </a:lnTo>
                    <a:lnTo>
                      <a:pt x="21995" y="5325"/>
                    </a:lnTo>
                    <a:lnTo>
                      <a:pt x="21995" y="46664"/>
                    </a:lnTo>
                    <a:lnTo>
                      <a:pt x="16336" y="46664"/>
                    </a:lnTo>
                    <a:lnTo>
                      <a:pt x="16336" y="5325"/>
                    </a:lnTo>
                    <a:lnTo>
                      <a:pt x="0" y="53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63" name="TextBox 1062">
                <a:extLst>
                  <a:ext uri="{FF2B5EF4-FFF2-40B4-BE49-F238E27FC236}">
                    <a16:creationId xmlns:a16="http://schemas.microsoft.com/office/drawing/2014/main" id="{D739ED69-A4B6-24A4-C992-04E7D88AF8B9}"/>
                  </a:ext>
                </a:extLst>
              </p:cNvPr>
              <p:cNvSpPr txBox="1"/>
              <p:nvPr/>
            </p:nvSpPr>
            <p:spPr>
              <a:xfrm>
                <a:off x="4542571" y="3741001"/>
                <a:ext cx="38997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997" h="46664">
                    <a:moveTo>
                      <a:pt x="0" y="0"/>
                    </a:moveTo>
                    <a:lnTo>
                      <a:pt x="4527" y="0"/>
                    </a:lnTo>
                    <a:lnTo>
                      <a:pt x="33671" y="36798"/>
                    </a:lnTo>
                    <a:lnTo>
                      <a:pt x="33671" y="0"/>
                    </a:lnTo>
                    <a:lnTo>
                      <a:pt x="38997" y="0"/>
                    </a:lnTo>
                    <a:lnTo>
                      <a:pt x="38997" y="46664"/>
                    </a:lnTo>
                    <a:lnTo>
                      <a:pt x="34470" y="46664"/>
                    </a:lnTo>
                    <a:lnTo>
                      <a:pt x="5326" y="9999"/>
                    </a:lnTo>
                    <a:lnTo>
                      <a:pt x="5326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064" name="TextBox 1063">
                <a:extLst>
                  <a:ext uri="{FF2B5EF4-FFF2-40B4-BE49-F238E27FC236}">
                    <a16:creationId xmlns:a16="http://schemas.microsoft.com/office/drawing/2014/main" id="{42D29199-97F5-2389-D5CA-4A6E564E6987}"/>
                  </a:ext>
                </a:extLst>
              </p:cNvPr>
              <p:cNvSpPr txBox="1"/>
              <p:nvPr/>
            </p:nvSpPr>
            <p:spPr>
              <a:xfrm>
                <a:off x="4758121" y="3741001"/>
                <a:ext cx="37733" cy="47727"/>
              </a:xfrm>
              <a:custGeom>
                <a:avLst/>
                <a:gdLst/>
                <a:ahLst/>
                <a:cxnLst/>
                <a:rect l="l" t="t" r="r" b="b"/>
                <a:pathLst>
                  <a:path w="37733" h="47727">
                    <a:moveTo>
                      <a:pt x="2767" y="0"/>
                    </a:moveTo>
                    <a:lnTo>
                      <a:pt x="36951" y="0"/>
                    </a:lnTo>
                    <a:lnTo>
                      <a:pt x="36951" y="5632"/>
                    </a:lnTo>
                    <a:lnTo>
                      <a:pt x="10158" y="38742"/>
                    </a:lnTo>
                    <a:lnTo>
                      <a:pt x="7260" y="42095"/>
                    </a:lnTo>
                    <a:lnTo>
                      <a:pt x="37733" y="42095"/>
                    </a:lnTo>
                    <a:lnTo>
                      <a:pt x="37733" y="47727"/>
                    </a:lnTo>
                    <a:lnTo>
                      <a:pt x="0" y="47727"/>
                    </a:lnTo>
                    <a:lnTo>
                      <a:pt x="0" y="41867"/>
                    </a:lnTo>
                    <a:lnTo>
                      <a:pt x="24450" y="11297"/>
                    </a:lnTo>
                    <a:cubicBezTo>
                      <a:pt x="26186" y="9126"/>
                      <a:pt x="27836" y="7238"/>
                      <a:pt x="29398" y="5632"/>
                    </a:cubicBezTo>
                    <a:lnTo>
                      <a:pt x="2767" y="5632"/>
                    </a:lnTo>
                    <a:lnTo>
                      <a:pt x="276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dirty="0"/>
              </a:p>
            </p:txBody>
          </p:sp>
        </p:grpSp>
        <p:sp>
          <p:nvSpPr>
            <p:cNvPr id="1071" name="Полілінія: фігура 1070">
              <a:extLst>
                <a:ext uri="{FF2B5EF4-FFF2-40B4-BE49-F238E27FC236}">
                  <a16:creationId xmlns:a16="http://schemas.microsoft.com/office/drawing/2014/main" id="{32EF9D85-8AA8-169D-A888-F1691ED05567}"/>
                </a:ext>
              </a:extLst>
            </p:cNvPr>
            <p:cNvSpPr/>
            <p:nvPr/>
          </p:nvSpPr>
          <p:spPr>
            <a:xfrm>
              <a:off x="3210426" y="165316"/>
              <a:ext cx="6528589" cy="206276"/>
            </a:xfrm>
            <a:custGeom>
              <a:avLst/>
              <a:gdLst/>
              <a:ahLst/>
              <a:cxnLst/>
              <a:rect l="l" t="t" r="r" b="b"/>
              <a:pathLst>
                <a:path w="6528589" h="206276">
                  <a:moveTo>
                    <a:pt x="1622071" y="117143"/>
                  </a:moveTo>
                  <a:lnTo>
                    <a:pt x="1622071" y="170021"/>
                  </a:lnTo>
                  <a:cubicBezTo>
                    <a:pt x="1624538" y="170330"/>
                    <a:pt x="1627754" y="170640"/>
                    <a:pt x="1631721" y="170949"/>
                  </a:cubicBezTo>
                  <a:cubicBezTo>
                    <a:pt x="1635688" y="171259"/>
                    <a:pt x="1640192" y="171426"/>
                    <a:pt x="1645231" y="171450"/>
                  </a:cubicBezTo>
                  <a:cubicBezTo>
                    <a:pt x="1657138" y="171426"/>
                    <a:pt x="1666204" y="168972"/>
                    <a:pt x="1672429" y="164090"/>
                  </a:cubicBezTo>
                  <a:cubicBezTo>
                    <a:pt x="1678654" y="159207"/>
                    <a:pt x="1681787" y="152037"/>
                    <a:pt x="1681829" y="142581"/>
                  </a:cubicBezTo>
                  <a:cubicBezTo>
                    <a:pt x="1681752" y="134144"/>
                    <a:pt x="1678690" y="127796"/>
                    <a:pt x="1672644" y="123538"/>
                  </a:cubicBezTo>
                  <a:cubicBezTo>
                    <a:pt x="1666598" y="119281"/>
                    <a:pt x="1658033" y="117149"/>
                    <a:pt x="1646949" y="117143"/>
                  </a:cubicBezTo>
                  <a:close/>
                  <a:moveTo>
                    <a:pt x="5979963" y="35397"/>
                  </a:moveTo>
                  <a:cubicBezTo>
                    <a:pt x="5976675" y="35403"/>
                    <a:pt x="5973029" y="35462"/>
                    <a:pt x="5969027" y="35576"/>
                  </a:cubicBezTo>
                  <a:cubicBezTo>
                    <a:pt x="5965023" y="35689"/>
                    <a:pt x="5960664" y="35820"/>
                    <a:pt x="5955946" y="35969"/>
                  </a:cubicBezTo>
                  <a:lnTo>
                    <a:pt x="5955946" y="95440"/>
                  </a:lnTo>
                  <a:lnTo>
                    <a:pt x="5978819" y="95440"/>
                  </a:lnTo>
                  <a:cubicBezTo>
                    <a:pt x="5989297" y="95440"/>
                    <a:pt x="5998219" y="92867"/>
                    <a:pt x="6005588" y="87720"/>
                  </a:cubicBezTo>
                  <a:cubicBezTo>
                    <a:pt x="6012957" y="82574"/>
                    <a:pt x="6016805" y="74854"/>
                    <a:pt x="6017133" y="64561"/>
                  </a:cubicBezTo>
                  <a:cubicBezTo>
                    <a:pt x="6017371" y="56466"/>
                    <a:pt x="6014749" y="49639"/>
                    <a:pt x="6009269" y="44082"/>
                  </a:cubicBezTo>
                  <a:cubicBezTo>
                    <a:pt x="6003789" y="38524"/>
                    <a:pt x="5994021" y="35629"/>
                    <a:pt x="5979963" y="35397"/>
                  </a:cubicBezTo>
                  <a:close/>
                  <a:moveTo>
                    <a:pt x="4617888" y="35397"/>
                  </a:moveTo>
                  <a:cubicBezTo>
                    <a:pt x="4614600" y="35403"/>
                    <a:pt x="4610955" y="35462"/>
                    <a:pt x="4606952" y="35576"/>
                  </a:cubicBezTo>
                  <a:cubicBezTo>
                    <a:pt x="4602949" y="35689"/>
                    <a:pt x="4598589" y="35820"/>
                    <a:pt x="4593872" y="35969"/>
                  </a:cubicBezTo>
                  <a:lnTo>
                    <a:pt x="4593872" y="95440"/>
                  </a:lnTo>
                  <a:lnTo>
                    <a:pt x="4616745" y="95440"/>
                  </a:lnTo>
                  <a:cubicBezTo>
                    <a:pt x="4627222" y="95440"/>
                    <a:pt x="4636145" y="92867"/>
                    <a:pt x="4643514" y="87720"/>
                  </a:cubicBezTo>
                  <a:cubicBezTo>
                    <a:pt x="4650882" y="82574"/>
                    <a:pt x="4654730" y="74854"/>
                    <a:pt x="4655058" y="64561"/>
                  </a:cubicBezTo>
                  <a:cubicBezTo>
                    <a:pt x="4655296" y="56466"/>
                    <a:pt x="4652675" y="49639"/>
                    <a:pt x="4647195" y="44082"/>
                  </a:cubicBezTo>
                  <a:cubicBezTo>
                    <a:pt x="4641715" y="38524"/>
                    <a:pt x="4631946" y="35629"/>
                    <a:pt x="4617888" y="35397"/>
                  </a:cubicBezTo>
                  <a:close/>
                  <a:moveTo>
                    <a:pt x="3676057" y="35397"/>
                  </a:moveTo>
                  <a:cubicBezTo>
                    <a:pt x="3672471" y="35403"/>
                    <a:pt x="3668563" y="35462"/>
                    <a:pt x="3664334" y="35576"/>
                  </a:cubicBezTo>
                  <a:cubicBezTo>
                    <a:pt x="3660105" y="35689"/>
                    <a:pt x="3655626" y="35820"/>
                    <a:pt x="3650897" y="35969"/>
                  </a:cubicBezTo>
                  <a:lnTo>
                    <a:pt x="3650897" y="97440"/>
                  </a:lnTo>
                  <a:cubicBezTo>
                    <a:pt x="3655060" y="97874"/>
                    <a:pt x="3659241" y="98220"/>
                    <a:pt x="3663441" y="98476"/>
                  </a:cubicBezTo>
                  <a:cubicBezTo>
                    <a:pt x="3667640" y="98732"/>
                    <a:pt x="3671750" y="98863"/>
                    <a:pt x="3675771" y="98869"/>
                  </a:cubicBezTo>
                  <a:cubicBezTo>
                    <a:pt x="3686451" y="98917"/>
                    <a:pt x="3695255" y="96320"/>
                    <a:pt x="3702182" y="91078"/>
                  </a:cubicBezTo>
                  <a:cubicBezTo>
                    <a:pt x="3709110" y="85836"/>
                    <a:pt x="3712696" y="77664"/>
                    <a:pt x="3712940" y="66561"/>
                  </a:cubicBezTo>
                  <a:cubicBezTo>
                    <a:pt x="3712904" y="56131"/>
                    <a:pt x="3709759" y="48328"/>
                    <a:pt x="3703505" y="43152"/>
                  </a:cubicBezTo>
                  <a:cubicBezTo>
                    <a:pt x="3697250" y="37976"/>
                    <a:pt x="3688101" y="35391"/>
                    <a:pt x="3676057" y="35397"/>
                  </a:cubicBezTo>
                  <a:close/>
                  <a:moveTo>
                    <a:pt x="3255813" y="35397"/>
                  </a:moveTo>
                  <a:cubicBezTo>
                    <a:pt x="3252525" y="35403"/>
                    <a:pt x="3248880" y="35462"/>
                    <a:pt x="3244877" y="35576"/>
                  </a:cubicBezTo>
                  <a:cubicBezTo>
                    <a:pt x="3240874" y="35689"/>
                    <a:pt x="3236514" y="35820"/>
                    <a:pt x="3231796" y="35969"/>
                  </a:cubicBezTo>
                  <a:lnTo>
                    <a:pt x="3231796" y="95440"/>
                  </a:lnTo>
                  <a:lnTo>
                    <a:pt x="3254670" y="95440"/>
                  </a:lnTo>
                  <a:cubicBezTo>
                    <a:pt x="3265147" y="95440"/>
                    <a:pt x="3274070" y="92867"/>
                    <a:pt x="3281439" y="87720"/>
                  </a:cubicBezTo>
                  <a:cubicBezTo>
                    <a:pt x="3288807" y="82574"/>
                    <a:pt x="3292655" y="74854"/>
                    <a:pt x="3292983" y="64561"/>
                  </a:cubicBezTo>
                  <a:cubicBezTo>
                    <a:pt x="3293221" y="56466"/>
                    <a:pt x="3290600" y="49639"/>
                    <a:pt x="3285120" y="44082"/>
                  </a:cubicBezTo>
                  <a:cubicBezTo>
                    <a:pt x="3279640" y="38524"/>
                    <a:pt x="3269871" y="35629"/>
                    <a:pt x="3255813" y="35397"/>
                  </a:cubicBezTo>
                  <a:close/>
                  <a:moveTo>
                    <a:pt x="1360338" y="35397"/>
                  </a:moveTo>
                  <a:cubicBezTo>
                    <a:pt x="1357050" y="35403"/>
                    <a:pt x="1353405" y="35462"/>
                    <a:pt x="1349402" y="35576"/>
                  </a:cubicBezTo>
                  <a:cubicBezTo>
                    <a:pt x="1345399" y="35689"/>
                    <a:pt x="1341039" y="35820"/>
                    <a:pt x="1336321" y="35969"/>
                  </a:cubicBezTo>
                  <a:lnTo>
                    <a:pt x="1336321" y="95440"/>
                  </a:lnTo>
                  <a:lnTo>
                    <a:pt x="1359195" y="95440"/>
                  </a:lnTo>
                  <a:cubicBezTo>
                    <a:pt x="1369672" y="95440"/>
                    <a:pt x="1378595" y="92867"/>
                    <a:pt x="1385964" y="87720"/>
                  </a:cubicBezTo>
                  <a:cubicBezTo>
                    <a:pt x="1393332" y="82574"/>
                    <a:pt x="1397180" y="74854"/>
                    <a:pt x="1397508" y="64561"/>
                  </a:cubicBezTo>
                  <a:cubicBezTo>
                    <a:pt x="1397746" y="56466"/>
                    <a:pt x="1395125" y="49639"/>
                    <a:pt x="1389645" y="44082"/>
                  </a:cubicBezTo>
                  <a:cubicBezTo>
                    <a:pt x="1384165" y="38524"/>
                    <a:pt x="1374396" y="35629"/>
                    <a:pt x="1360338" y="35397"/>
                  </a:cubicBezTo>
                  <a:close/>
                  <a:moveTo>
                    <a:pt x="1644088" y="35111"/>
                  </a:moveTo>
                  <a:lnTo>
                    <a:pt x="1632437" y="35326"/>
                  </a:lnTo>
                  <a:cubicBezTo>
                    <a:pt x="1628696" y="35469"/>
                    <a:pt x="1625241" y="35683"/>
                    <a:pt x="1622071" y="35969"/>
                  </a:cubicBezTo>
                  <a:lnTo>
                    <a:pt x="1622071" y="86560"/>
                  </a:lnTo>
                  <a:lnTo>
                    <a:pt x="1645804" y="86560"/>
                  </a:lnTo>
                  <a:cubicBezTo>
                    <a:pt x="1654174" y="86596"/>
                    <a:pt x="1661168" y="84452"/>
                    <a:pt x="1666786" y="80129"/>
                  </a:cubicBezTo>
                  <a:cubicBezTo>
                    <a:pt x="1672403" y="75806"/>
                    <a:pt x="1675322" y="69089"/>
                    <a:pt x="1675542" y="59978"/>
                  </a:cubicBezTo>
                  <a:cubicBezTo>
                    <a:pt x="1675411" y="51814"/>
                    <a:pt x="1672528" y="45633"/>
                    <a:pt x="1666893" y="41435"/>
                  </a:cubicBezTo>
                  <a:cubicBezTo>
                    <a:pt x="1664075" y="39336"/>
                    <a:pt x="1660766" y="37760"/>
                    <a:pt x="1656965" y="36706"/>
                  </a:cubicBezTo>
                  <a:close/>
                  <a:moveTo>
                    <a:pt x="3466795" y="32825"/>
                  </a:moveTo>
                  <a:cubicBezTo>
                    <a:pt x="3447252" y="33165"/>
                    <a:pt x="3431317" y="39703"/>
                    <a:pt x="3418991" y="52439"/>
                  </a:cubicBezTo>
                  <a:cubicBezTo>
                    <a:pt x="3406665" y="65176"/>
                    <a:pt x="3400306" y="82076"/>
                    <a:pt x="3399912" y="103137"/>
                  </a:cubicBezTo>
                  <a:cubicBezTo>
                    <a:pt x="3400359" y="123574"/>
                    <a:pt x="3406826" y="140294"/>
                    <a:pt x="3419313" y="153299"/>
                  </a:cubicBezTo>
                  <a:cubicBezTo>
                    <a:pt x="3431800" y="166304"/>
                    <a:pt x="3447628" y="173021"/>
                    <a:pt x="3466795" y="173450"/>
                  </a:cubicBezTo>
                  <a:cubicBezTo>
                    <a:pt x="3487976" y="172985"/>
                    <a:pt x="3504423" y="166197"/>
                    <a:pt x="3516136" y="153085"/>
                  </a:cubicBezTo>
                  <a:cubicBezTo>
                    <a:pt x="3527849" y="139973"/>
                    <a:pt x="3533792" y="123323"/>
                    <a:pt x="3533965" y="103137"/>
                  </a:cubicBezTo>
                  <a:cubicBezTo>
                    <a:pt x="3533524" y="82076"/>
                    <a:pt x="3527046" y="65176"/>
                    <a:pt x="3514529" y="52439"/>
                  </a:cubicBezTo>
                  <a:cubicBezTo>
                    <a:pt x="3502011" y="39703"/>
                    <a:pt x="3486100" y="33165"/>
                    <a:pt x="3466795" y="32825"/>
                  </a:cubicBezTo>
                  <a:close/>
                  <a:moveTo>
                    <a:pt x="2609545" y="32825"/>
                  </a:moveTo>
                  <a:cubicBezTo>
                    <a:pt x="2590002" y="33165"/>
                    <a:pt x="2574067" y="39703"/>
                    <a:pt x="2561741" y="52439"/>
                  </a:cubicBezTo>
                  <a:cubicBezTo>
                    <a:pt x="2549415" y="65176"/>
                    <a:pt x="2543056" y="82076"/>
                    <a:pt x="2542662" y="103137"/>
                  </a:cubicBezTo>
                  <a:cubicBezTo>
                    <a:pt x="2543109" y="123574"/>
                    <a:pt x="2549576" y="140294"/>
                    <a:pt x="2562063" y="153299"/>
                  </a:cubicBezTo>
                  <a:cubicBezTo>
                    <a:pt x="2574550" y="166304"/>
                    <a:pt x="2590378" y="173021"/>
                    <a:pt x="2609545" y="173450"/>
                  </a:cubicBezTo>
                  <a:cubicBezTo>
                    <a:pt x="2630726" y="172985"/>
                    <a:pt x="2647173" y="166197"/>
                    <a:pt x="2658886" y="153085"/>
                  </a:cubicBezTo>
                  <a:cubicBezTo>
                    <a:pt x="2670599" y="139973"/>
                    <a:pt x="2676542" y="123323"/>
                    <a:pt x="2676715" y="103137"/>
                  </a:cubicBezTo>
                  <a:cubicBezTo>
                    <a:pt x="2676274" y="82076"/>
                    <a:pt x="2669796" y="65176"/>
                    <a:pt x="2657279" y="52439"/>
                  </a:cubicBezTo>
                  <a:cubicBezTo>
                    <a:pt x="2644761" y="39703"/>
                    <a:pt x="2628850" y="33165"/>
                    <a:pt x="2609545" y="32825"/>
                  </a:cubicBezTo>
                  <a:close/>
                  <a:moveTo>
                    <a:pt x="752170" y="32825"/>
                  </a:moveTo>
                  <a:cubicBezTo>
                    <a:pt x="732627" y="33165"/>
                    <a:pt x="716693" y="39703"/>
                    <a:pt x="704366" y="52439"/>
                  </a:cubicBezTo>
                  <a:cubicBezTo>
                    <a:pt x="692040" y="65176"/>
                    <a:pt x="685681" y="82076"/>
                    <a:pt x="685288" y="103137"/>
                  </a:cubicBezTo>
                  <a:cubicBezTo>
                    <a:pt x="685734" y="123574"/>
                    <a:pt x="692201" y="140294"/>
                    <a:pt x="704688" y="153299"/>
                  </a:cubicBezTo>
                  <a:cubicBezTo>
                    <a:pt x="717175" y="166304"/>
                    <a:pt x="733002" y="173021"/>
                    <a:pt x="752170" y="173450"/>
                  </a:cubicBezTo>
                  <a:cubicBezTo>
                    <a:pt x="773351" y="172985"/>
                    <a:pt x="789798" y="166197"/>
                    <a:pt x="801511" y="153085"/>
                  </a:cubicBezTo>
                  <a:cubicBezTo>
                    <a:pt x="813225" y="139973"/>
                    <a:pt x="819167" y="123323"/>
                    <a:pt x="819340" y="103137"/>
                  </a:cubicBezTo>
                  <a:cubicBezTo>
                    <a:pt x="818899" y="82076"/>
                    <a:pt x="812421" y="65176"/>
                    <a:pt x="799904" y="52439"/>
                  </a:cubicBezTo>
                  <a:cubicBezTo>
                    <a:pt x="787387" y="39703"/>
                    <a:pt x="771475" y="33165"/>
                    <a:pt x="752170" y="32825"/>
                  </a:cubicBezTo>
                  <a:close/>
                  <a:moveTo>
                    <a:pt x="275920" y="32825"/>
                  </a:moveTo>
                  <a:cubicBezTo>
                    <a:pt x="256377" y="33165"/>
                    <a:pt x="240443" y="39703"/>
                    <a:pt x="228116" y="52439"/>
                  </a:cubicBezTo>
                  <a:cubicBezTo>
                    <a:pt x="215790" y="65176"/>
                    <a:pt x="209431" y="82076"/>
                    <a:pt x="209038" y="103137"/>
                  </a:cubicBezTo>
                  <a:cubicBezTo>
                    <a:pt x="209484" y="123574"/>
                    <a:pt x="215951" y="140294"/>
                    <a:pt x="228438" y="153299"/>
                  </a:cubicBezTo>
                  <a:cubicBezTo>
                    <a:pt x="240925" y="166304"/>
                    <a:pt x="256752" y="173021"/>
                    <a:pt x="275920" y="173450"/>
                  </a:cubicBezTo>
                  <a:cubicBezTo>
                    <a:pt x="297101" y="172985"/>
                    <a:pt x="313548" y="166197"/>
                    <a:pt x="325261" y="153085"/>
                  </a:cubicBezTo>
                  <a:cubicBezTo>
                    <a:pt x="336974" y="139973"/>
                    <a:pt x="342917" y="123323"/>
                    <a:pt x="343090" y="103137"/>
                  </a:cubicBezTo>
                  <a:cubicBezTo>
                    <a:pt x="342649" y="82076"/>
                    <a:pt x="336171" y="65176"/>
                    <a:pt x="323654" y="52439"/>
                  </a:cubicBezTo>
                  <a:cubicBezTo>
                    <a:pt x="311137" y="39703"/>
                    <a:pt x="295226" y="33165"/>
                    <a:pt x="275920" y="32825"/>
                  </a:cubicBezTo>
                  <a:close/>
                  <a:moveTo>
                    <a:pt x="6351746" y="3429"/>
                  </a:moveTo>
                  <a:lnTo>
                    <a:pt x="6391751" y="3429"/>
                  </a:lnTo>
                  <a:lnTo>
                    <a:pt x="6441451" y="87018"/>
                  </a:lnTo>
                  <a:lnTo>
                    <a:pt x="6490585" y="3429"/>
                  </a:lnTo>
                  <a:lnTo>
                    <a:pt x="6528589" y="3429"/>
                  </a:lnTo>
                  <a:lnTo>
                    <a:pt x="6457437" y="119827"/>
                  </a:lnTo>
                  <a:lnTo>
                    <a:pt x="6457437" y="203132"/>
                  </a:lnTo>
                  <a:lnTo>
                    <a:pt x="6422326" y="203132"/>
                  </a:lnTo>
                  <a:lnTo>
                    <a:pt x="6422326" y="119827"/>
                  </a:lnTo>
                  <a:close/>
                  <a:moveTo>
                    <a:pt x="6181724" y="3429"/>
                  </a:moveTo>
                  <a:lnTo>
                    <a:pt x="6346567" y="3429"/>
                  </a:lnTo>
                  <a:lnTo>
                    <a:pt x="6346567" y="36254"/>
                  </a:lnTo>
                  <a:lnTo>
                    <a:pt x="6281701" y="36254"/>
                  </a:lnTo>
                  <a:lnTo>
                    <a:pt x="6281701" y="203132"/>
                  </a:lnTo>
                  <a:lnTo>
                    <a:pt x="6246589" y="203132"/>
                  </a:lnTo>
                  <a:lnTo>
                    <a:pt x="6246589" y="36254"/>
                  </a:lnTo>
                  <a:lnTo>
                    <a:pt x="6181724" y="36254"/>
                  </a:lnTo>
                  <a:close/>
                  <a:moveTo>
                    <a:pt x="6115621" y="3429"/>
                  </a:moveTo>
                  <a:lnTo>
                    <a:pt x="6150732" y="3429"/>
                  </a:lnTo>
                  <a:lnTo>
                    <a:pt x="6150732" y="203132"/>
                  </a:lnTo>
                  <a:lnTo>
                    <a:pt x="6115621" y="203132"/>
                  </a:lnTo>
                  <a:close/>
                  <a:moveTo>
                    <a:pt x="5698902" y="3429"/>
                  </a:moveTo>
                  <a:lnTo>
                    <a:pt x="5734013" y="3429"/>
                  </a:lnTo>
                  <a:lnTo>
                    <a:pt x="5734013" y="110976"/>
                  </a:lnTo>
                  <a:cubicBezTo>
                    <a:pt x="5733937" y="129928"/>
                    <a:pt x="5737950" y="145012"/>
                    <a:pt x="5746055" y="156227"/>
                  </a:cubicBezTo>
                  <a:cubicBezTo>
                    <a:pt x="5754160" y="167441"/>
                    <a:pt x="5766822" y="173182"/>
                    <a:pt x="5784039" y="173450"/>
                  </a:cubicBezTo>
                  <a:cubicBezTo>
                    <a:pt x="5799153" y="173367"/>
                    <a:pt x="5810373" y="168184"/>
                    <a:pt x="5817698" y="157903"/>
                  </a:cubicBezTo>
                  <a:cubicBezTo>
                    <a:pt x="5825023" y="147621"/>
                    <a:pt x="5828668" y="132739"/>
                    <a:pt x="5828633" y="113258"/>
                  </a:cubicBezTo>
                  <a:lnTo>
                    <a:pt x="5828633" y="3429"/>
                  </a:lnTo>
                  <a:lnTo>
                    <a:pt x="5863458" y="3429"/>
                  </a:lnTo>
                  <a:lnTo>
                    <a:pt x="5863458" y="120390"/>
                  </a:lnTo>
                  <a:cubicBezTo>
                    <a:pt x="5863256" y="140670"/>
                    <a:pt x="5859505" y="157137"/>
                    <a:pt x="5852206" y="169791"/>
                  </a:cubicBezTo>
                  <a:cubicBezTo>
                    <a:pt x="5844907" y="182444"/>
                    <a:pt x="5835273" y="191706"/>
                    <a:pt x="5823305" y="197576"/>
                  </a:cubicBezTo>
                  <a:cubicBezTo>
                    <a:pt x="5811337" y="203446"/>
                    <a:pt x="5798248" y="206346"/>
                    <a:pt x="5784039" y="206275"/>
                  </a:cubicBezTo>
                  <a:cubicBezTo>
                    <a:pt x="5758731" y="206269"/>
                    <a:pt x="5738323" y="198932"/>
                    <a:pt x="5722819" y="184265"/>
                  </a:cubicBezTo>
                  <a:cubicBezTo>
                    <a:pt x="5707313" y="169598"/>
                    <a:pt x="5699340" y="147641"/>
                    <a:pt x="5698902" y="118393"/>
                  </a:cubicBezTo>
                  <a:close/>
                  <a:moveTo>
                    <a:pt x="5349335" y="3429"/>
                  </a:moveTo>
                  <a:lnTo>
                    <a:pt x="5465028" y="3429"/>
                  </a:lnTo>
                  <a:lnTo>
                    <a:pt x="5465028" y="36254"/>
                  </a:lnTo>
                  <a:lnTo>
                    <a:pt x="5384446" y="36254"/>
                  </a:lnTo>
                  <a:lnTo>
                    <a:pt x="5384446" y="85725"/>
                  </a:lnTo>
                  <a:lnTo>
                    <a:pt x="5456455" y="85725"/>
                  </a:lnTo>
                  <a:lnTo>
                    <a:pt x="5456455" y="118550"/>
                  </a:lnTo>
                  <a:lnTo>
                    <a:pt x="5384446" y="118550"/>
                  </a:lnTo>
                  <a:lnTo>
                    <a:pt x="5384446" y="170307"/>
                  </a:lnTo>
                  <a:lnTo>
                    <a:pt x="5467885" y="170307"/>
                  </a:lnTo>
                  <a:lnTo>
                    <a:pt x="5467885" y="203132"/>
                  </a:lnTo>
                  <a:lnTo>
                    <a:pt x="5349335" y="203132"/>
                  </a:lnTo>
                  <a:close/>
                  <a:moveTo>
                    <a:pt x="4922996" y="3429"/>
                  </a:moveTo>
                  <a:lnTo>
                    <a:pt x="4963001" y="3429"/>
                  </a:lnTo>
                  <a:lnTo>
                    <a:pt x="5012702" y="87018"/>
                  </a:lnTo>
                  <a:lnTo>
                    <a:pt x="5061835" y="3429"/>
                  </a:lnTo>
                  <a:lnTo>
                    <a:pt x="5099839" y="3429"/>
                  </a:lnTo>
                  <a:lnTo>
                    <a:pt x="5028688" y="119827"/>
                  </a:lnTo>
                  <a:lnTo>
                    <a:pt x="5028688" y="203132"/>
                  </a:lnTo>
                  <a:lnTo>
                    <a:pt x="4993576" y="203132"/>
                  </a:lnTo>
                  <a:lnTo>
                    <a:pt x="4993576" y="119827"/>
                  </a:lnTo>
                  <a:close/>
                  <a:moveTo>
                    <a:pt x="4396835" y="3429"/>
                  </a:moveTo>
                  <a:lnTo>
                    <a:pt x="4512528" y="3429"/>
                  </a:lnTo>
                  <a:lnTo>
                    <a:pt x="4512528" y="36254"/>
                  </a:lnTo>
                  <a:lnTo>
                    <a:pt x="4431946" y="36254"/>
                  </a:lnTo>
                  <a:lnTo>
                    <a:pt x="4431946" y="85725"/>
                  </a:lnTo>
                  <a:lnTo>
                    <a:pt x="4503955" y="85725"/>
                  </a:lnTo>
                  <a:lnTo>
                    <a:pt x="4503955" y="118550"/>
                  </a:lnTo>
                  <a:lnTo>
                    <a:pt x="4431946" y="118550"/>
                  </a:lnTo>
                  <a:lnTo>
                    <a:pt x="4431946" y="170307"/>
                  </a:lnTo>
                  <a:lnTo>
                    <a:pt x="4515385" y="170307"/>
                  </a:lnTo>
                  <a:lnTo>
                    <a:pt x="4515385" y="203132"/>
                  </a:lnTo>
                  <a:lnTo>
                    <a:pt x="4396835" y="203132"/>
                  </a:lnTo>
                  <a:close/>
                  <a:moveTo>
                    <a:pt x="4168235" y="3429"/>
                  </a:moveTo>
                  <a:lnTo>
                    <a:pt x="4196208" y="3429"/>
                  </a:lnTo>
                  <a:lnTo>
                    <a:pt x="4306252" y="142365"/>
                  </a:lnTo>
                  <a:lnTo>
                    <a:pt x="4306252" y="3429"/>
                  </a:lnTo>
                  <a:lnTo>
                    <a:pt x="4339078" y="3429"/>
                  </a:lnTo>
                  <a:lnTo>
                    <a:pt x="4339078" y="203132"/>
                  </a:lnTo>
                  <a:lnTo>
                    <a:pt x="4311105" y="203132"/>
                  </a:lnTo>
                  <a:lnTo>
                    <a:pt x="4201060" y="64765"/>
                  </a:lnTo>
                  <a:lnTo>
                    <a:pt x="4201060" y="203132"/>
                  </a:lnTo>
                  <a:lnTo>
                    <a:pt x="4168235" y="203132"/>
                  </a:lnTo>
                  <a:close/>
                  <a:moveTo>
                    <a:pt x="4006310" y="3429"/>
                  </a:moveTo>
                  <a:lnTo>
                    <a:pt x="4122003" y="3429"/>
                  </a:lnTo>
                  <a:lnTo>
                    <a:pt x="4122003" y="36254"/>
                  </a:lnTo>
                  <a:lnTo>
                    <a:pt x="4041421" y="36254"/>
                  </a:lnTo>
                  <a:lnTo>
                    <a:pt x="4041421" y="85725"/>
                  </a:lnTo>
                  <a:lnTo>
                    <a:pt x="4113430" y="85725"/>
                  </a:lnTo>
                  <a:lnTo>
                    <a:pt x="4113430" y="118550"/>
                  </a:lnTo>
                  <a:lnTo>
                    <a:pt x="4041421" y="118550"/>
                  </a:lnTo>
                  <a:lnTo>
                    <a:pt x="4041421" y="170307"/>
                  </a:lnTo>
                  <a:lnTo>
                    <a:pt x="4124860" y="170307"/>
                  </a:lnTo>
                  <a:lnTo>
                    <a:pt x="4124860" y="203132"/>
                  </a:lnTo>
                  <a:lnTo>
                    <a:pt x="4006310" y="203132"/>
                  </a:lnTo>
                  <a:close/>
                  <a:moveTo>
                    <a:pt x="3787235" y="3429"/>
                  </a:moveTo>
                  <a:lnTo>
                    <a:pt x="3902928" y="3429"/>
                  </a:lnTo>
                  <a:lnTo>
                    <a:pt x="3902928" y="36254"/>
                  </a:lnTo>
                  <a:lnTo>
                    <a:pt x="3822347" y="36254"/>
                  </a:lnTo>
                  <a:lnTo>
                    <a:pt x="3822347" y="85725"/>
                  </a:lnTo>
                  <a:lnTo>
                    <a:pt x="3894355" y="85725"/>
                  </a:lnTo>
                  <a:lnTo>
                    <a:pt x="3894355" y="118550"/>
                  </a:lnTo>
                  <a:lnTo>
                    <a:pt x="3822347" y="118550"/>
                  </a:lnTo>
                  <a:lnTo>
                    <a:pt x="3822347" y="170307"/>
                  </a:lnTo>
                  <a:lnTo>
                    <a:pt x="3905785" y="170307"/>
                  </a:lnTo>
                  <a:lnTo>
                    <a:pt x="3905785" y="203132"/>
                  </a:lnTo>
                  <a:lnTo>
                    <a:pt x="3787235" y="203132"/>
                  </a:lnTo>
                  <a:close/>
                  <a:moveTo>
                    <a:pt x="2974752" y="3429"/>
                  </a:moveTo>
                  <a:lnTo>
                    <a:pt x="3009864" y="3429"/>
                  </a:lnTo>
                  <a:lnTo>
                    <a:pt x="3009864" y="110976"/>
                  </a:lnTo>
                  <a:cubicBezTo>
                    <a:pt x="3009787" y="129928"/>
                    <a:pt x="3013800" y="145012"/>
                    <a:pt x="3021906" y="156227"/>
                  </a:cubicBezTo>
                  <a:cubicBezTo>
                    <a:pt x="3030011" y="167441"/>
                    <a:pt x="3042672" y="173182"/>
                    <a:pt x="3059889" y="173450"/>
                  </a:cubicBezTo>
                  <a:cubicBezTo>
                    <a:pt x="3075004" y="173367"/>
                    <a:pt x="3086224" y="168184"/>
                    <a:pt x="3093549" y="157903"/>
                  </a:cubicBezTo>
                  <a:cubicBezTo>
                    <a:pt x="3100874" y="147621"/>
                    <a:pt x="3104519" y="132739"/>
                    <a:pt x="3104483" y="113258"/>
                  </a:cubicBezTo>
                  <a:lnTo>
                    <a:pt x="3104483" y="3429"/>
                  </a:lnTo>
                  <a:lnTo>
                    <a:pt x="3139309" y="3429"/>
                  </a:lnTo>
                  <a:lnTo>
                    <a:pt x="3139309" y="120390"/>
                  </a:lnTo>
                  <a:cubicBezTo>
                    <a:pt x="3139106" y="140670"/>
                    <a:pt x="3135356" y="157137"/>
                    <a:pt x="3128057" y="169791"/>
                  </a:cubicBezTo>
                  <a:cubicBezTo>
                    <a:pt x="3120757" y="182444"/>
                    <a:pt x="3111124" y="191706"/>
                    <a:pt x="3099155" y="197576"/>
                  </a:cubicBezTo>
                  <a:cubicBezTo>
                    <a:pt x="3087187" y="203446"/>
                    <a:pt x="3074099" y="206346"/>
                    <a:pt x="3059889" y="206275"/>
                  </a:cubicBezTo>
                  <a:cubicBezTo>
                    <a:pt x="3034581" y="206269"/>
                    <a:pt x="3014174" y="198932"/>
                    <a:pt x="2998668" y="184265"/>
                  </a:cubicBezTo>
                  <a:cubicBezTo>
                    <a:pt x="2983163" y="169598"/>
                    <a:pt x="2975191" y="147641"/>
                    <a:pt x="2974752" y="118393"/>
                  </a:cubicBezTo>
                  <a:close/>
                  <a:moveTo>
                    <a:pt x="2815685" y="3429"/>
                  </a:moveTo>
                  <a:lnTo>
                    <a:pt x="2931378" y="3429"/>
                  </a:lnTo>
                  <a:lnTo>
                    <a:pt x="2931378" y="36254"/>
                  </a:lnTo>
                  <a:lnTo>
                    <a:pt x="2850797" y="36254"/>
                  </a:lnTo>
                  <a:lnTo>
                    <a:pt x="2850797" y="85725"/>
                  </a:lnTo>
                  <a:lnTo>
                    <a:pt x="2922805" y="85725"/>
                  </a:lnTo>
                  <a:lnTo>
                    <a:pt x="2922805" y="118550"/>
                  </a:lnTo>
                  <a:lnTo>
                    <a:pt x="2850797" y="118550"/>
                  </a:lnTo>
                  <a:lnTo>
                    <a:pt x="2850797" y="170307"/>
                  </a:lnTo>
                  <a:lnTo>
                    <a:pt x="2934235" y="170307"/>
                  </a:lnTo>
                  <a:lnTo>
                    <a:pt x="2934235" y="203132"/>
                  </a:lnTo>
                  <a:lnTo>
                    <a:pt x="2815685" y="203132"/>
                  </a:lnTo>
                  <a:close/>
                  <a:moveTo>
                    <a:pt x="2333625" y="3429"/>
                  </a:moveTo>
                  <a:lnTo>
                    <a:pt x="2498467" y="3429"/>
                  </a:lnTo>
                  <a:lnTo>
                    <a:pt x="2498467" y="36254"/>
                  </a:lnTo>
                  <a:lnTo>
                    <a:pt x="2433602" y="36254"/>
                  </a:lnTo>
                  <a:lnTo>
                    <a:pt x="2433602" y="203132"/>
                  </a:lnTo>
                  <a:lnTo>
                    <a:pt x="2398490" y="203132"/>
                  </a:lnTo>
                  <a:lnTo>
                    <a:pt x="2398490" y="36254"/>
                  </a:lnTo>
                  <a:lnTo>
                    <a:pt x="2333625" y="36254"/>
                  </a:lnTo>
                  <a:close/>
                  <a:moveTo>
                    <a:pt x="2158460" y="3429"/>
                  </a:moveTo>
                  <a:lnTo>
                    <a:pt x="2274153" y="3429"/>
                  </a:lnTo>
                  <a:lnTo>
                    <a:pt x="2274153" y="36254"/>
                  </a:lnTo>
                  <a:lnTo>
                    <a:pt x="2193571" y="36254"/>
                  </a:lnTo>
                  <a:lnTo>
                    <a:pt x="2193571" y="85725"/>
                  </a:lnTo>
                  <a:lnTo>
                    <a:pt x="2265580" y="85725"/>
                  </a:lnTo>
                  <a:lnTo>
                    <a:pt x="2265580" y="118550"/>
                  </a:lnTo>
                  <a:lnTo>
                    <a:pt x="2193571" y="118550"/>
                  </a:lnTo>
                  <a:lnTo>
                    <a:pt x="2193571" y="170307"/>
                  </a:lnTo>
                  <a:lnTo>
                    <a:pt x="2277010" y="170307"/>
                  </a:lnTo>
                  <a:lnTo>
                    <a:pt x="2277010" y="203132"/>
                  </a:lnTo>
                  <a:lnTo>
                    <a:pt x="2158460" y="203132"/>
                  </a:lnTo>
                  <a:close/>
                  <a:moveTo>
                    <a:pt x="1962150" y="3429"/>
                  </a:moveTo>
                  <a:lnTo>
                    <a:pt x="2126992" y="3429"/>
                  </a:lnTo>
                  <a:lnTo>
                    <a:pt x="2126992" y="36254"/>
                  </a:lnTo>
                  <a:lnTo>
                    <a:pt x="2062126" y="36254"/>
                  </a:lnTo>
                  <a:lnTo>
                    <a:pt x="2062126" y="203132"/>
                  </a:lnTo>
                  <a:lnTo>
                    <a:pt x="2027015" y="203132"/>
                  </a:lnTo>
                  <a:lnTo>
                    <a:pt x="2027015" y="36254"/>
                  </a:lnTo>
                  <a:lnTo>
                    <a:pt x="1962150" y="36254"/>
                  </a:lnTo>
                  <a:close/>
                  <a:moveTo>
                    <a:pt x="1765077" y="3429"/>
                  </a:moveTo>
                  <a:lnTo>
                    <a:pt x="1800189" y="3429"/>
                  </a:lnTo>
                  <a:lnTo>
                    <a:pt x="1800189" y="110976"/>
                  </a:lnTo>
                  <a:cubicBezTo>
                    <a:pt x="1800111" y="129928"/>
                    <a:pt x="1804125" y="145012"/>
                    <a:pt x="1812231" y="156227"/>
                  </a:cubicBezTo>
                  <a:cubicBezTo>
                    <a:pt x="1820336" y="167441"/>
                    <a:pt x="1832997" y="173182"/>
                    <a:pt x="1850214" y="173450"/>
                  </a:cubicBezTo>
                  <a:cubicBezTo>
                    <a:pt x="1865329" y="173367"/>
                    <a:pt x="1876549" y="168184"/>
                    <a:pt x="1883874" y="157903"/>
                  </a:cubicBezTo>
                  <a:cubicBezTo>
                    <a:pt x="1891199" y="147621"/>
                    <a:pt x="1894844" y="132739"/>
                    <a:pt x="1894808" y="113258"/>
                  </a:cubicBezTo>
                  <a:lnTo>
                    <a:pt x="1894808" y="3429"/>
                  </a:lnTo>
                  <a:lnTo>
                    <a:pt x="1929634" y="3429"/>
                  </a:lnTo>
                  <a:lnTo>
                    <a:pt x="1929634" y="120390"/>
                  </a:lnTo>
                  <a:cubicBezTo>
                    <a:pt x="1929431" y="140670"/>
                    <a:pt x="1925681" y="157137"/>
                    <a:pt x="1918382" y="169791"/>
                  </a:cubicBezTo>
                  <a:cubicBezTo>
                    <a:pt x="1911082" y="182444"/>
                    <a:pt x="1901449" y="191706"/>
                    <a:pt x="1889481" y="197576"/>
                  </a:cubicBezTo>
                  <a:cubicBezTo>
                    <a:pt x="1877513" y="203446"/>
                    <a:pt x="1864424" y="206346"/>
                    <a:pt x="1850214" y="206275"/>
                  </a:cubicBezTo>
                  <a:cubicBezTo>
                    <a:pt x="1824906" y="206269"/>
                    <a:pt x="1804499" y="198932"/>
                    <a:pt x="1788994" y="184265"/>
                  </a:cubicBezTo>
                  <a:cubicBezTo>
                    <a:pt x="1773488" y="169598"/>
                    <a:pt x="1765516" y="147641"/>
                    <a:pt x="1765077" y="118393"/>
                  </a:cubicBezTo>
                  <a:close/>
                  <a:moveTo>
                    <a:pt x="1495996" y="3429"/>
                  </a:moveTo>
                  <a:lnTo>
                    <a:pt x="1531108" y="3429"/>
                  </a:lnTo>
                  <a:lnTo>
                    <a:pt x="1531108" y="203132"/>
                  </a:lnTo>
                  <a:lnTo>
                    <a:pt x="1495996" y="203132"/>
                  </a:lnTo>
                  <a:close/>
                  <a:moveTo>
                    <a:pt x="1104900" y="3429"/>
                  </a:moveTo>
                  <a:lnTo>
                    <a:pt x="1269742" y="3429"/>
                  </a:lnTo>
                  <a:lnTo>
                    <a:pt x="1269742" y="36254"/>
                  </a:lnTo>
                  <a:lnTo>
                    <a:pt x="1204876" y="36254"/>
                  </a:lnTo>
                  <a:lnTo>
                    <a:pt x="1204876" y="203132"/>
                  </a:lnTo>
                  <a:lnTo>
                    <a:pt x="1169765" y="203132"/>
                  </a:lnTo>
                  <a:lnTo>
                    <a:pt x="1169765" y="36254"/>
                  </a:lnTo>
                  <a:lnTo>
                    <a:pt x="1104900" y="36254"/>
                  </a:lnTo>
                  <a:close/>
                  <a:moveTo>
                    <a:pt x="901160" y="3429"/>
                  </a:moveTo>
                  <a:lnTo>
                    <a:pt x="929133" y="3429"/>
                  </a:lnTo>
                  <a:lnTo>
                    <a:pt x="1039177" y="142365"/>
                  </a:lnTo>
                  <a:lnTo>
                    <a:pt x="1039177" y="3429"/>
                  </a:lnTo>
                  <a:lnTo>
                    <a:pt x="1072003" y="3429"/>
                  </a:lnTo>
                  <a:lnTo>
                    <a:pt x="1072003" y="203132"/>
                  </a:lnTo>
                  <a:lnTo>
                    <a:pt x="1044030" y="203132"/>
                  </a:lnTo>
                  <a:lnTo>
                    <a:pt x="933985" y="64765"/>
                  </a:lnTo>
                  <a:lnTo>
                    <a:pt x="933985" y="203132"/>
                  </a:lnTo>
                  <a:lnTo>
                    <a:pt x="901160" y="203132"/>
                  </a:lnTo>
                  <a:close/>
                  <a:moveTo>
                    <a:pt x="0" y="3429"/>
                  </a:moveTo>
                  <a:lnTo>
                    <a:pt x="164842" y="3429"/>
                  </a:lnTo>
                  <a:lnTo>
                    <a:pt x="164842" y="36254"/>
                  </a:lnTo>
                  <a:lnTo>
                    <a:pt x="99977" y="36254"/>
                  </a:lnTo>
                  <a:lnTo>
                    <a:pt x="99977" y="203132"/>
                  </a:lnTo>
                  <a:lnTo>
                    <a:pt x="64865" y="203132"/>
                  </a:lnTo>
                  <a:lnTo>
                    <a:pt x="64865" y="36254"/>
                  </a:lnTo>
                  <a:lnTo>
                    <a:pt x="0" y="36254"/>
                  </a:lnTo>
                  <a:close/>
                  <a:moveTo>
                    <a:pt x="5981678" y="2571"/>
                  </a:moveTo>
                  <a:cubicBezTo>
                    <a:pt x="6008581" y="2981"/>
                    <a:pt x="6027498" y="8941"/>
                    <a:pt x="6038429" y="20453"/>
                  </a:cubicBezTo>
                  <a:cubicBezTo>
                    <a:pt x="6049360" y="31965"/>
                    <a:pt x="6054631" y="46572"/>
                    <a:pt x="6054244" y="64275"/>
                  </a:cubicBezTo>
                  <a:cubicBezTo>
                    <a:pt x="6054075" y="75674"/>
                    <a:pt x="6051971" y="85272"/>
                    <a:pt x="6047931" y="93067"/>
                  </a:cubicBezTo>
                  <a:cubicBezTo>
                    <a:pt x="6043893" y="100862"/>
                    <a:pt x="6038933" y="107069"/>
                    <a:pt x="6033055" y="111687"/>
                  </a:cubicBezTo>
                  <a:cubicBezTo>
                    <a:pt x="6027175" y="116305"/>
                    <a:pt x="6021391" y="119548"/>
                    <a:pt x="6015703" y="121415"/>
                  </a:cubicBezTo>
                  <a:lnTo>
                    <a:pt x="6078247" y="203132"/>
                  </a:lnTo>
                  <a:lnTo>
                    <a:pt x="6035689" y="203132"/>
                  </a:lnTo>
                  <a:lnTo>
                    <a:pt x="5980535" y="128266"/>
                  </a:lnTo>
                  <a:lnTo>
                    <a:pt x="5955946" y="128266"/>
                  </a:lnTo>
                  <a:lnTo>
                    <a:pt x="5955946" y="203132"/>
                  </a:lnTo>
                  <a:lnTo>
                    <a:pt x="5920835" y="203132"/>
                  </a:lnTo>
                  <a:lnTo>
                    <a:pt x="5920835" y="3142"/>
                  </a:lnTo>
                  <a:cubicBezTo>
                    <a:pt x="5924985" y="3135"/>
                    <a:pt x="5931468" y="3086"/>
                    <a:pt x="5940285" y="2994"/>
                  </a:cubicBezTo>
                  <a:cubicBezTo>
                    <a:pt x="5949103" y="2903"/>
                    <a:pt x="5957621" y="2811"/>
                    <a:pt x="5965836" y="2719"/>
                  </a:cubicBezTo>
                  <a:cubicBezTo>
                    <a:pt x="5974053" y="2628"/>
                    <a:pt x="5979333" y="2578"/>
                    <a:pt x="5981678" y="2571"/>
                  </a:cubicBezTo>
                  <a:close/>
                  <a:moveTo>
                    <a:pt x="4619604" y="2571"/>
                  </a:moveTo>
                  <a:cubicBezTo>
                    <a:pt x="4646507" y="2981"/>
                    <a:pt x="4665423" y="8941"/>
                    <a:pt x="4676354" y="20453"/>
                  </a:cubicBezTo>
                  <a:cubicBezTo>
                    <a:pt x="4687285" y="31965"/>
                    <a:pt x="4692557" y="46572"/>
                    <a:pt x="4692169" y="64275"/>
                  </a:cubicBezTo>
                  <a:cubicBezTo>
                    <a:pt x="4692000" y="75674"/>
                    <a:pt x="4689896" y="85272"/>
                    <a:pt x="4685857" y="93067"/>
                  </a:cubicBezTo>
                  <a:cubicBezTo>
                    <a:pt x="4681818" y="100862"/>
                    <a:pt x="4676859" y="107069"/>
                    <a:pt x="4670980" y="111687"/>
                  </a:cubicBezTo>
                  <a:cubicBezTo>
                    <a:pt x="4665101" y="116305"/>
                    <a:pt x="4659317" y="119548"/>
                    <a:pt x="4653628" y="121415"/>
                  </a:cubicBezTo>
                  <a:lnTo>
                    <a:pt x="4716172" y="203132"/>
                  </a:lnTo>
                  <a:lnTo>
                    <a:pt x="4673614" y="203132"/>
                  </a:lnTo>
                  <a:lnTo>
                    <a:pt x="4618460" y="128266"/>
                  </a:lnTo>
                  <a:lnTo>
                    <a:pt x="4593872" y="128266"/>
                  </a:lnTo>
                  <a:lnTo>
                    <a:pt x="4593872" y="203132"/>
                  </a:lnTo>
                  <a:lnTo>
                    <a:pt x="4558760" y="203132"/>
                  </a:lnTo>
                  <a:lnTo>
                    <a:pt x="4558760" y="3142"/>
                  </a:lnTo>
                  <a:cubicBezTo>
                    <a:pt x="4562910" y="3135"/>
                    <a:pt x="4569394" y="3086"/>
                    <a:pt x="4578211" y="2994"/>
                  </a:cubicBezTo>
                  <a:cubicBezTo>
                    <a:pt x="4587029" y="2903"/>
                    <a:pt x="4595546" y="2811"/>
                    <a:pt x="4603762" y="2719"/>
                  </a:cubicBezTo>
                  <a:cubicBezTo>
                    <a:pt x="4611978" y="2628"/>
                    <a:pt x="4617259" y="2578"/>
                    <a:pt x="4619604" y="2571"/>
                  </a:cubicBezTo>
                  <a:close/>
                  <a:moveTo>
                    <a:pt x="3672626" y="2571"/>
                  </a:moveTo>
                  <a:cubicBezTo>
                    <a:pt x="3692115" y="2756"/>
                    <a:pt x="3707527" y="5875"/>
                    <a:pt x="3718864" y="11929"/>
                  </a:cubicBezTo>
                  <a:cubicBezTo>
                    <a:pt x="3730200" y="17983"/>
                    <a:pt x="3738265" y="25864"/>
                    <a:pt x="3743061" y="35571"/>
                  </a:cubicBezTo>
                  <a:cubicBezTo>
                    <a:pt x="3747855" y="45278"/>
                    <a:pt x="3750186" y="55703"/>
                    <a:pt x="3750052" y="66847"/>
                  </a:cubicBezTo>
                  <a:cubicBezTo>
                    <a:pt x="3750032" y="78358"/>
                    <a:pt x="3747248" y="89002"/>
                    <a:pt x="3741697" y="98779"/>
                  </a:cubicBezTo>
                  <a:cubicBezTo>
                    <a:pt x="3736146" y="108557"/>
                    <a:pt x="3727944" y="116445"/>
                    <a:pt x="3717089" y="122442"/>
                  </a:cubicBezTo>
                  <a:cubicBezTo>
                    <a:pt x="3706235" y="128440"/>
                    <a:pt x="3692844" y="131524"/>
                    <a:pt x="3676915" y="131695"/>
                  </a:cubicBezTo>
                  <a:cubicBezTo>
                    <a:pt x="3673740" y="131713"/>
                    <a:pt x="3669725" y="131677"/>
                    <a:pt x="3664871" y="131588"/>
                  </a:cubicBezTo>
                  <a:cubicBezTo>
                    <a:pt x="3660016" y="131498"/>
                    <a:pt x="3655358" y="131249"/>
                    <a:pt x="3650897" y="130838"/>
                  </a:cubicBezTo>
                  <a:lnTo>
                    <a:pt x="3650897" y="203132"/>
                  </a:lnTo>
                  <a:lnTo>
                    <a:pt x="3615785" y="203132"/>
                  </a:lnTo>
                  <a:lnTo>
                    <a:pt x="3615785" y="3142"/>
                  </a:lnTo>
                  <a:cubicBezTo>
                    <a:pt x="3619732" y="3135"/>
                    <a:pt x="3625256" y="3086"/>
                    <a:pt x="3632356" y="2994"/>
                  </a:cubicBezTo>
                  <a:cubicBezTo>
                    <a:pt x="3639457" y="2903"/>
                    <a:pt x="3646717" y="2811"/>
                    <a:pt x="3654137" y="2719"/>
                  </a:cubicBezTo>
                  <a:cubicBezTo>
                    <a:pt x="3661557" y="2628"/>
                    <a:pt x="3667720" y="2578"/>
                    <a:pt x="3672626" y="2571"/>
                  </a:cubicBezTo>
                  <a:close/>
                  <a:moveTo>
                    <a:pt x="3257529" y="2571"/>
                  </a:moveTo>
                  <a:cubicBezTo>
                    <a:pt x="3284431" y="2981"/>
                    <a:pt x="3303348" y="8941"/>
                    <a:pt x="3314279" y="20453"/>
                  </a:cubicBezTo>
                  <a:cubicBezTo>
                    <a:pt x="3325210" y="31965"/>
                    <a:pt x="3330482" y="46572"/>
                    <a:pt x="3330094" y="64275"/>
                  </a:cubicBezTo>
                  <a:cubicBezTo>
                    <a:pt x="3329925" y="75674"/>
                    <a:pt x="3327821" y="85272"/>
                    <a:pt x="3323782" y="93067"/>
                  </a:cubicBezTo>
                  <a:cubicBezTo>
                    <a:pt x="3319743" y="100862"/>
                    <a:pt x="3314784" y="107069"/>
                    <a:pt x="3308905" y="111687"/>
                  </a:cubicBezTo>
                  <a:cubicBezTo>
                    <a:pt x="3303026" y="116305"/>
                    <a:pt x="3297242" y="119548"/>
                    <a:pt x="3291553" y="121415"/>
                  </a:cubicBezTo>
                  <a:lnTo>
                    <a:pt x="3354097" y="203132"/>
                  </a:lnTo>
                  <a:lnTo>
                    <a:pt x="3311538" y="203132"/>
                  </a:lnTo>
                  <a:lnTo>
                    <a:pt x="3256385" y="128266"/>
                  </a:lnTo>
                  <a:lnTo>
                    <a:pt x="3231796" y="128266"/>
                  </a:lnTo>
                  <a:lnTo>
                    <a:pt x="3231796" y="203132"/>
                  </a:lnTo>
                  <a:lnTo>
                    <a:pt x="3196685" y="203132"/>
                  </a:lnTo>
                  <a:lnTo>
                    <a:pt x="3196685" y="3142"/>
                  </a:lnTo>
                  <a:cubicBezTo>
                    <a:pt x="3200835" y="3135"/>
                    <a:pt x="3207319" y="3086"/>
                    <a:pt x="3216136" y="2994"/>
                  </a:cubicBezTo>
                  <a:cubicBezTo>
                    <a:pt x="3224954" y="2903"/>
                    <a:pt x="3233471" y="2811"/>
                    <a:pt x="3241687" y="2719"/>
                  </a:cubicBezTo>
                  <a:cubicBezTo>
                    <a:pt x="3249903" y="2628"/>
                    <a:pt x="3255183" y="2578"/>
                    <a:pt x="3257529" y="2571"/>
                  </a:cubicBezTo>
                  <a:close/>
                  <a:moveTo>
                    <a:pt x="1362054" y="2571"/>
                  </a:moveTo>
                  <a:cubicBezTo>
                    <a:pt x="1388956" y="2981"/>
                    <a:pt x="1407873" y="8941"/>
                    <a:pt x="1418804" y="20453"/>
                  </a:cubicBezTo>
                  <a:cubicBezTo>
                    <a:pt x="1429736" y="31965"/>
                    <a:pt x="1435007" y="46572"/>
                    <a:pt x="1434619" y="64275"/>
                  </a:cubicBezTo>
                  <a:cubicBezTo>
                    <a:pt x="1434450" y="75674"/>
                    <a:pt x="1432346" y="85272"/>
                    <a:pt x="1428307" y="93067"/>
                  </a:cubicBezTo>
                  <a:cubicBezTo>
                    <a:pt x="1424268" y="100862"/>
                    <a:pt x="1419309" y="107069"/>
                    <a:pt x="1413430" y="111687"/>
                  </a:cubicBezTo>
                  <a:cubicBezTo>
                    <a:pt x="1407551" y="116305"/>
                    <a:pt x="1401767" y="119548"/>
                    <a:pt x="1396078" y="121415"/>
                  </a:cubicBezTo>
                  <a:lnTo>
                    <a:pt x="1458623" y="203132"/>
                  </a:lnTo>
                  <a:lnTo>
                    <a:pt x="1416064" y="203132"/>
                  </a:lnTo>
                  <a:lnTo>
                    <a:pt x="1360910" y="128266"/>
                  </a:lnTo>
                  <a:lnTo>
                    <a:pt x="1336321" y="128266"/>
                  </a:lnTo>
                  <a:lnTo>
                    <a:pt x="1336321" y="203132"/>
                  </a:lnTo>
                  <a:lnTo>
                    <a:pt x="1301210" y="203132"/>
                  </a:lnTo>
                  <a:lnTo>
                    <a:pt x="1301210" y="3142"/>
                  </a:lnTo>
                  <a:cubicBezTo>
                    <a:pt x="1305360" y="3135"/>
                    <a:pt x="1311844" y="3086"/>
                    <a:pt x="1320662" y="2994"/>
                  </a:cubicBezTo>
                  <a:cubicBezTo>
                    <a:pt x="1329479" y="2903"/>
                    <a:pt x="1337996" y="2811"/>
                    <a:pt x="1346212" y="2719"/>
                  </a:cubicBezTo>
                  <a:cubicBezTo>
                    <a:pt x="1354428" y="2628"/>
                    <a:pt x="1359709" y="2578"/>
                    <a:pt x="1362054" y="2571"/>
                  </a:cubicBezTo>
                  <a:close/>
                  <a:moveTo>
                    <a:pt x="1644661" y="2286"/>
                  </a:moveTo>
                  <a:cubicBezTo>
                    <a:pt x="1668278" y="2612"/>
                    <a:pt x="1685194" y="7382"/>
                    <a:pt x="1695411" y="16596"/>
                  </a:cubicBezTo>
                  <a:cubicBezTo>
                    <a:pt x="1705627" y="25810"/>
                    <a:pt x="1710613" y="37508"/>
                    <a:pt x="1710368" y="51689"/>
                  </a:cubicBezTo>
                  <a:cubicBezTo>
                    <a:pt x="1710249" y="63087"/>
                    <a:pt x="1707633" y="72519"/>
                    <a:pt x="1702519" y="79986"/>
                  </a:cubicBezTo>
                  <a:cubicBezTo>
                    <a:pt x="1697405" y="87453"/>
                    <a:pt x="1690509" y="93170"/>
                    <a:pt x="1681829" y="97135"/>
                  </a:cubicBezTo>
                  <a:lnTo>
                    <a:pt x="1681829" y="97707"/>
                  </a:lnTo>
                  <a:cubicBezTo>
                    <a:pt x="1691909" y="100113"/>
                    <a:pt x="1700223" y="105162"/>
                    <a:pt x="1706771" y="112856"/>
                  </a:cubicBezTo>
                  <a:cubicBezTo>
                    <a:pt x="1713319" y="120549"/>
                    <a:pt x="1716708" y="131029"/>
                    <a:pt x="1716940" y="144296"/>
                  </a:cubicBezTo>
                  <a:cubicBezTo>
                    <a:pt x="1716490" y="164794"/>
                    <a:pt x="1709398" y="179933"/>
                    <a:pt x="1695666" y="189713"/>
                  </a:cubicBezTo>
                  <a:cubicBezTo>
                    <a:pt x="1681933" y="199493"/>
                    <a:pt x="1664264" y="204347"/>
                    <a:pt x="1642658" y="204275"/>
                  </a:cubicBezTo>
                  <a:cubicBezTo>
                    <a:pt x="1633063" y="204269"/>
                    <a:pt x="1622955" y="204138"/>
                    <a:pt x="1612336" y="203883"/>
                  </a:cubicBezTo>
                  <a:cubicBezTo>
                    <a:pt x="1601716" y="203627"/>
                    <a:pt x="1593257" y="203282"/>
                    <a:pt x="1586960" y="202848"/>
                  </a:cubicBezTo>
                  <a:lnTo>
                    <a:pt x="1586960" y="3713"/>
                  </a:lnTo>
                  <a:cubicBezTo>
                    <a:pt x="1592984" y="3403"/>
                    <a:pt x="1601490" y="3094"/>
                    <a:pt x="1612479" y="2785"/>
                  </a:cubicBezTo>
                  <a:cubicBezTo>
                    <a:pt x="1623468" y="2476"/>
                    <a:pt x="1634196" y="2309"/>
                    <a:pt x="1644661" y="2286"/>
                  </a:cubicBezTo>
                  <a:close/>
                  <a:moveTo>
                    <a:pt x="5598663" y="0"/>
                  </a:moveTo>
                  <a:cubicBezTo>
                    <a:pt x="5611755" y="95"/>
                    <a:pt x="5623505" y="1974"/>
                    <a:pt x="5633917" y="5637"/>
                  </a:cubicBezTo>
                  <a:cubicBezTo>
                    <a:pt x="5644329" y="9300"/>
                    <a:pt x="5652867" y="14176"/>
                    <a:pt x="5659528" y="20266"/>
                  </a:cubicBezTo>
                  <a:lnTo>
                    <a:pt x="5643811" y="46258"/>
                  </a:lnTo>
                  <a:cubicBezTo>
                    <a:pt x="5637930" y="42197"/>
                    <a:pt x="5631405" y="38958"/>
                    <a:pt x="5624238" y="36540"/>
                  </a:cubicBezTo>
                  <a:cubicBezTo>
                    <a:pt x="5617071" y="34123"/>
                    <a:pt x="5608546" y="32885"/>
                    <a:pt x="5598663" y="32825"/>
                  </a:cubicBezTo>
                  <a:cubicBezTo>
                    <a:pt x="5579697" y="33039"/>
                    <a:pt x="5564195" y="39328"/>
                    <a:pt x="5552157" y="51689"/>
                  </a:cubicBezTo>
                  <a:cubicBezTo>
                    <a:pt x="5540121" y="64051"/>
                    <a:pt x="5533905" y="81200"/>
                    <a:pt x="5533512" y="103137"/>
                  </a:cubicBezTo>
                  <a:cubicBezTo>
                    <a:pt x="5533840" y="124324"/>
                    <a:pt x="5540257" y="141259"/>
                    <a:pt x="5552765" y="153942"/>
                  </a:cubicBezTo>
                  <a:cubicBezTo>
                    <a:pt x="5565273" y="166626"/>
                    <a:pt x="5581905" y="173128"/>
                    <a:pt x="5602663" y="173450"/>
                  </a:cubicBezTo>
                  <a:cubicBezTo>
                    <a:pt x="5611159" y="173444"/>
                    <a:pt x="5619457" y="172098"/>
                    <a:pt x="5627559" y="169413"/>
                  </a:cubicBezTo>
                  <a:cubicBezTo>
                    <a:pt x="5635661" y="166727"/>
                    <a:pt x="5643175" y="162737"/>
                    <a:pt x="5650098" y="157444"/>
                  </a:cubicBezTo>
                  <a:lnTo>
                    <a:pt x="5663529" y="183726"/>
                  </a:lnTo>
                  <a:cubicBezTo>
                    <a:pt x="5656986" y="190535"/>
                    <a:pt x="5647997" y="195970"/>
                    <a:pt x="5636561" y="200031"/>
                  </a:cubicBezTo>
                  <a:cubicBezTo>
                    <a:pt x="5625125" y="204093"/>
                    <a:pt x="5612778" y="206174"/>
                    <a:pt x="5599520" y="206275"/>
                  </a:cubicBezTo>
                  <a:cubicBezTo>
                    <a:pt x="5568471" y="205872"/>
                    <a:pt x="5543640" y="196471"/>
                    <a:pt x="5525029" y="178072"/>
                  </a:cubicBezTo>
                  <a:cubicBezTo>
                    <a:pt x="5506417" y="159673"/>
                    <a:pt x="5496875" y="134695"/>
                    <a:pt x="5496401" y="103137"/>
                  </a:cubicBezTo>
                  <a:cubicBezTo>
                    <a:pt x="5496441" y="83778"/>
                    <a:pt x="5500389" y="66353"/>
                    <a:pt x="5508245" y="50864"/>
                  </a:cubicBezTo>
                  <a:cubicBezTo>
                    <a:pt x="5516101" y="35375"/>
                    <a:pt x="5527623" y="23078"/>
                    <a:pt x="5542815" y="13972"/>
                  </a:cubicBezTo>
                  <a:cubicBezTo>
                    <a:pt x="5558004" y="4867"/>
                    <a:pt x="5576621" y="209"/>
                    <a:pt x="5598663" y="0"/>
                  </a:cubicBezTo>
                  <a:close/>
                  <a:moveTo>
                    <a:pt x="5239397" y="0"/>
                  </a:moveTo>
                  <a:cubicBezTo>
                    <a:pt x="5251787" y="71"/>
                    <a:pt x="5262885" y="1998"/>
                    <a:pt x="5272693" y="5780"/>
                  </a:cubicBezTo>
                  <a:cubicBezTo>
                    <a:pt x="5282501" y="9562"/>
                    <a:pt x="5290449" y="14771"/>
                    <a:pt x="5296538" y="21408"/>
                  </a:cubicBezTo>
                  <a:lnTo>
                    <a:pt x="5277697" y="47687"/>
                  </a:lnTo>
                  <a:cubicBezTo>
                    <a:pt x="5272975" y="42941"/>
                    <a:pt x="5267856" y="39285"/>
                    <a:pt x="5262341" y="36719"/>
                  </a:cubicBezTo>
                  <a:cubicBezTo>
                    <a:pt x="5256827" y="34153"/>
                    <a:pt x="5250131" y="32855"/>
                    <a:pt x="5242257" y="32825"/>
                  </a:cubicBezTo>
                  <a:cubicBezTo>
                    <a:pt x="5233457" y="32920"/>
                    <a:pt x="5226607" y="34945"/>
                    <a:pt x="5221705" y="38899"/>
                  </a:cubicBezTo>
                  <a:cubicBezTo>
                    <a:pt x="5216801" y="42852"/>
                    <a:pt x="5214311" y="48164"/>
                    <a:pt x="5214234" y="54833"/>
                  </a:cubicBezTo>
                  <a:cubicBezTo>
                    <a:pt x="5214706" y="64844"/>
                    <a:pt x="5219423" y="72493"/>
                    <a:pt x="5228387" y="77779"/>
                  </a:cubicBezTo>
                  <a:cubicBezTo>
                    <a:pt x="5237351" y="83065"/>
                    <a:pt x="5247731" y="88088"/>
                    <a:pt x="5259525" y="92847"/>
                  </a:cubicBezTo>
                  <a:cubicBezTo>
                    <a:pt x="5271321" y="97607"/>
                    <a:pt x="5281699" y="104202"/>
                    <a:pt x="5290663" y="112632"/>
                  </a:cubicBezTo>
                  <a:cubicBezTo>
                    <a:pt x="5299627" y="121062"/>
                    <a:pt x="5304345" y="133427"/>
                    <a:pt x="5304817" y="149726"/>
                  </a:cubicBezTo>
                  <a:cubicBezTo>
                    <a:pt x="5304372" y="166832"/>
                    <a:pt x="5297911" y="180471"/>
                    <a:pt x="5285434" y="190644"/>
                  </a:cubicBezTo>
                  <a:cubicBezTo>
                    <a:pt x="5272957" y="200816"/>
                    <a:pt x="5257135" y="206026"/>
                    <a:pt x="5237967" y="206275"/>
                  </a:cubicBezTo>
                  <a:cubicBezTo>
                    <a:pt x="5229239" y="206263"/>
                    <a:pt x="5220493" y="205051"/>
                    <a:pt x="5211729" y="202639"/>
                  </a:cubicBezTo>
                  <a:cubicBezTo>
                    <a:pt x="5202965" y="200227"/>
                    <a:pt x="5195091" y="196688"/>
                    <a:pt x="5188108" y="192025"/>
                  </a:cubicBezTo>
                  <a:cubicBezTo>
                    <a:pt x="5181124" y="187361"/>
                    <a:pt x="5175939" y="181645"/>
                    <a:pt x="5172551" y="174877"/>
                  </a:cubicBezTo>
                  <a:lnTo>
                    <a:pt x="5192538" y="150870"/>
                  </a:lnTo>
                  <a:cubicBezTo>
                    <a:pt x="5198611" y="158438"/>
                    <a:pt x="5205811" y="164095"/>
                    <a:pt x="5214137" y="167841"/>
                  </a:cubicBezTo>
                  <a:cubicBezTo>
                    <a:pt x="5222465" y="171586"/>
                    <a:pt x="5230599" y="173456"/>
                    <a:pt x="5238539" y="173450"/>
                  </a:cubicBezTo>
                  <a:cubicBezTo>
                    <a:pt x="5247011" y="173420"/>
                    <a:pt x="5253944" y="171407"/>
                    <a:pt x="5259341" y="167412"/>
                  </a:cubicBezTo>
                  <a:cubicBezTo>
                    <a:pt x="5264739" y="163416"/>
                    <a:pt x="5267527" y="157616"/>
                    <a:pt x="5267705" y="150012"/>
                  </a:cubicBezTo>
                  <a:cubicBezTo>
                    <a:pt x="5267233" y="140474"/>
                    <a:pt x="5262515" y="133040"/>
                    <a:pt x="5253551" y="127709"/>
                  </a:cubicBezTo>
                  <a:cubicBezTo>
                    <a:pt x="5244588" y="122378"/>
                    <a:pt x="5234209" y="117212"/>
                    <a:pt x="5222413" y="112212"/>
                  </a:cubicBezTo>
                  <a:cubicBezTo>
                    <a:pt x="5210619" y="107212"/>
                    <a:pt x="5200240" y="100438"/>
                    <a:pt x="5191276" y="91892"/>
                  </a:cubicBezTo>
                  <a:cubicBezTo>
                    <a:pt x="5182312" y="83345"/>
                    <a:pt x="5177594" y="71088"/>
                    <a:pt x="5177122" y="55119"/>
                  </a:cubicBezTo>
                  <a:cubicBezTo>
                    <a:pt x="5177288" y="39697"/>
                    <a:pt x="5182809" y="26760"/>
                    <a:pt x="5193685" y="16309"/>
                  </a:cubicBezTo>
                  <a:cubicBezTo>
                    <a:pt x="5204561" y="5858"/>
                    <a:pt x="5219799" y="421"/>
                    <a:pt x="5239397" y="0"/>
                  </a:cubicBezTo>
                  <a:close/>
                  <a:moveTo>
                    <a:pt x="4824587" y="0"/>
                  </a:moveTo>
                  <a:cubicBezTo>
                    <a:pt x="4838755" y="41"/>
                    <a:pt x="4851009" y="1813"/>
                    <a:pt x="4861350" y="5316"/>
                  </a:cubicBezTo>
                  <a:cubicBezTo>
                    <a:pt x="4871691" y="8818"/>
                    <a:pt x="4880867" y="13802"/>
                    <a:pt x="4888877" y="20266"/>
                  </a:cubicBezTo>
                  <a:lnTo>
                    <a:pt x="4874034" y="48265"/>
                  </a:lnTo>
                  <a:cubicBezTo>
                    <a:pt x="4868867" y="43494"/>
                    <a:pt x="4862269" y="39741"/>
                    <a:pt x="4854243" y="37007"/>
                  </a:cubicBezTo>
                  <a:cubicBezTo>
                    <a:pt x="4846216" y="34273"/>
                    <a:pt x="4837759" y="32879"/>
                    <a:pt x="4828874" y="32825"/>
                  </a:cubicBezTo>
                  <a:cubicBezTo>
                    <a:pt x="4809205" y="32968"/>
                    <a:pt x="4793234" y="39115"/>
                    <a:pt x="4780961" y="51265"/>
                  </a:cubicBezTo>
                  <a:cubicBezTo>
                    <a:pt x="4768687" y="63415"/>
                    <a:pt x="4762363" y="80709"/>
                    <a:pt x="4761988" y="103147"/>
                  </a:cubicBezTo>
                  <a:cubicBezTo>
                    <a:pt x="4762274" y="124698"/>
                    <a:pt x="4768491" y="141735"/>
                    <a:pt x="4780639" y="154260"/>
                  </a:cubicBezTo>
                  <a:cubicBezTo>
                    <a:pt x="4792787" y="166784"/>
                    <a:pt x="4809151" y="173181"/>
                    <a:pt x="4829732" y="173450"/>
                  </a:cubicBezTo>
                  <a:cubicBezTo>
                    <a:pt x="4837748" y="173325"/>
                    <a:pt x="4845656" y="171931"/>
                    <a:pt x="4853457" y="169267"/>
                  </a:cubicBezTo>
                  <a:cubicBezTo>
                    <a:pt x="4861259" y="166604"/>
                    <a:pt x="4867166" y="163423"/>
                    <a:pt x="4871180" y="159723"/>
                  </a:cubicBezTo>
                  <a:lnTo>
                    <a:pt x="4871180" y="128266"/>
                  </a:lnTo>
                  <a:lnTo>
                    <a:pt x="4822872" y="128266"/>
                  </a:lnTo>
                  <a:lnTo>
                    <a:pt x="4822872" y="95440"/>
                  </a:lnTo>
                  <a:lnTo>
                    <a:pt x="4904005" y="95440"/>
                  </a:lnTo>
                  <a:lnTo>
                    <a:pt x="4904005" y="178302"/>
                  </a:lnTo>
                  <a:cubicBezTo>
                    <a:pt x="4894698" y="187210"/>
                    <a:pt x="4883121" y="194085"/>
                    <a:pt x="4869272" y="198925"/>
                  </a:cubicBezTo>
                  <a:cubicBezTo>
                    <a:pt x="4855423" y="203766"/>
                    <a:pt x="4842053" y="206216"/>
                    <a:pt x="4829160" y="206275"/>
                  </a:cubicBezTo>
                  <a:cubicBezTo>
                    <a:pt x="4796178" y="205872"/>
                    <a:pt x="4770614" y="196471"/>
                    <a:pt x="4752472" y="178072"/>
                  </a:cubicBezTo>
                  <a:cubicBezTo>
                    <a:pt x="4734328" y="159673"/>
                    <a:pt x="4725130" y="134698"/>
                    <a:pt x="4724876" y="103147"/>
                  </a:cubicBezTo>
                  <a:cubicBezTo>
                    <a:pt x="4724974" y="83786"/>
                    <a:pt x="4729060" y="66360"/>
                    <a:pt x="4737134" y="50869"/>
                  </a:cubicBezTo>
                  <a:cubicBezTo>
                    <a:pt x="4745207" y="35379"/>
                    <a:pt x="4756679" y="23080"/>
                    <a:pt x="4771549" y="13974"/>
                  </a:cubicBezTo>
                  <a:cubicBezTo>
                    <a:pt x="4786419" y="4867"/>
                    <a:pt x="4804099" y="209"/>
                    <a:pt x="4824587" y="0"/>
                  </a:cubicBezTo>
                  <a:close/>
                  <a:moveTo>
                    <a:pt x="3466795" y="0"/>
                  </a:moveTo>
                  <a:cubicBezTo>
                    <a:pt x="3486799" y="119"/>
                    <a:pt x="3504619" y="4417"/>
                    <a:pt x="3520254" y="12892"/>
                  </a:cubicBezTo>
                  <a:cubicBezTo>
                    <a:pt x="3535890" y="21368"/>
                    <a:pt x="3548223" y="33306"/>
                    <a:pt x="3557253" y="48705"/>
                  </a:cubicBezTo>
                  <a:cubicBezTo>
                    <a:pt x="3566282" y="64104"/>
                    <a:pt x="3570890" y="82248"/>
                    <a:pt x="3571077" y="103137"/>
                  </a:cubicBezTo>
                  <a:cubicBezTo>
                    <a:pt x="3570890" y="123307"/>
                    <a:pt x="3566282" y="141112"/>
                    <a:pt x="3557253" y="156554"/>
                  </a:cubicBezTo>
                  <a:cubicBezTo>
                    <a:pt x="3548223" y="171995"/>
                    <a:pt x="3535890" y="184102"/>
                    <a:pt x="3520254" y="192874"/>
                  </a:cubicBezTo>
                  <a:cubicBezTo>
                    <a:pt x="3504619" y="201647"/>
                    <a:pt x="3486799" y="206114"/>
                    <a:pt x="3466795" y="206275"/>
                  </a:cubicBezTo>
                  <a:cubicBezTo>
                    <a:pt x="3446795" y="206156"/>
                    <a:pt x="3429001" y="201858"/>
                    <a:pt x="3413411" y="193382"/>
                  </a:cubicBezTo>
                  <a:cubicBezTo>
                    <a:pt x="3397822" y="184907"/>
                    <a:pt x="3385535" y="172969"/>
                    <a:pt x="3376551" y="157570"/>
                  </a:cubicBezTo>
                  <a:cubicBezTo>
                    <a:pt x="3367567" y="142171"/>
                    <a:pt x="3362984" y="124026"/>
                    <a:pt x="3362801" y="103137"/>
                  </a:cubicBezTo>
                  <a:cubicBezTo>
                    <a:pt x="3362947" y="83598"/>
                    <a:pt x="3367382" y="66089"/>
                    <a:pt x="3376106" y="50610"/>
                  </a:cubicBezTo>
                  <a:cubicBezTo>
                    <a:pt x="3384831" y="35132"/>
                    <a:pt x="3396969" y="22877"/>
                    <a:pt x="3412522" y="13845"/>
                  </a:cubicBezTo>
                  <a:cubicBezTo>
                    <a:pt x="3428074" y="4814"/>
                    <a:pt x="3446165" y="198"/>
                    <a:pt x="3466795" y="0"/>
                  </a:cubicBezTo>
                  <a:close/>
                  <a:moveTo>
                    <a:pt x="2609545" y="0"/>
                  </a:moveTo>
                  <a:cubicBezTo>
                    <a:pt x="2629549" y="119"/>
                    <a:pt x="2647369" y="4417"/>
                    <a:pt x="2663004" y="12892"/>
                  </a:cubicBezTo>
                  <a:cubicBezTo>
                    <a:pt x="2678640" y="21368"/>
                    <a:pt x="2690973" y="33306"/>
                    <a:pt x="2700003" y="48705"/>
                  </a:cubicBezTo>
                  <a:cubicBezTo>
                    <a:pt x="2709032" y="64104"/>
                    <a:pt x="2713640" y="82248"/>
                    <a:pt x="2713827" y="103137"/>
                  </a:cubicBezTo>
                  <a:cubicBezTo>
                    <a:pt x="2713640" y="123307"/>
                    <a:pt x="2709032" y="141112"/>
                    <a:pt x="2700003" y="156554"/>
                  </a:cubicBezTo>
                  <a:cubicBezTo>
                    <a:pt x="2690973" y="171995"/>
                    <a:pt x="2678640" y="184102"/>
                    <a:pt x="2663004" y="192874"/>
                  </a:cubicBezTo>
                  <a:cubicBezTo>
                    <a:pt x="2647369" y="201647"/>
                    <a:pt x="2629549" y="206114"/>
                    <a:pt x="2609545" y="206275"/>
                  </a:cubicBezTo>
                  <a:cubicBezTo>
                    <a:pt x="2589545" y="206156"/>
                    <a:pt x="2571751" y="201858"/>
                    <a:pt x="2556161" y="193382"/>
                  </a:cubicBezTo>
                  <a:cubicBezTo>
                    <a:pt x="2540572" y="184907"/>
                    <a:pt x="2528285" y="172969"/>
                    <a:pt x="2519301" y="157570"/>
                  </a:cubicBezTo>
                  <a:cubicBezTo>
                    <a:pt x="2510317" y="142171"/>
                    <a:pt x="2505734" y="124026"/>
                    <a:pt x="2505551" y="103137"/>
                  </a:cubicBezTo>
                  <a:cubicBezTo>
                    <a:pt x="2505697" y="83598"/>
                    <a:pt x="2510132" y="66089"/>
                    <a:pt x="2518856" y="50610"/>
                  </a:cubicBezTo>
                  <a:cubicBezTo>
                    <a:pt x="2527581" y="35132"/>
                    <a:pt x="2539719" y="22877"/>
                    <a:pt x="2555272" y="13845"/>
                  </a:cubicBezTo>
                  <a:cubicBezTo>
                    <a:pt x="2570824" y="4814"/>
                    <a:pt x="2588915" y="198"/>
                    <a:pt x="2609545" y="0"/>
                  </a:cubicBezTo>
                  <a:close/>
                  <a:moveTo>
                    <a:pt x="752170" y="0"/>
                  </a:moveTo>
                  <a:cubicBezTo>
                    <a:pt x="772174" y="119"/>
                    <a:pt x="789994" y="4417"/>
                    <a:pt x="805629" y="12892"/>
                  </a:cubicBezTo>
                  <a:cubicBezTo>
                    <a:pt x="821265" y="21368"/>
                    <a:pt x="833598" y="33306"/>
                    <a:pt x="842627" y="48705"/>
                  </a:cubicBezTo>
                  <a:cubicBezTo>
                    <a:pt x="851657" y="64104"/>
                    <a:pt x="856265" y="82248"/>
                    <a:pt x="856452" y="103137"/>
                  </a:cubicBezTo>
                  <a:cubicBezTo>
                    <a:pt x="856265" y="123307"/>
                    <a:pt x="851657" y="141112"/>
                    <a:pt x="842627" y="156554"/>
                  </a:cubicBezTo>
                  <a:cubicBezTo>
                    <a:pt x="833598" y="171995"/>
                    <a:pt x="821265" y="184102"/>
                    <a:pt x="805629" y="192874"/>
                  </a:cubicBezTo>
                  <a:cubicBezTo>
                    <a:pt x="789994" y="201647"/>
                    <a:pt x="772174" y="206114"/>
                    <a:pt x="752170" y="206275"/>
                  </a:cubicBezTo>
                  <a:cubicBezTo>
                    <a:pt x="732170" y="206156"/>
                    <a:pt x="714376" y="201858"/>
                    <a:pt x="698786" y="193382"/>
                  </a:cubicBezTo>
                  <a:cubicBezTo>
                    <a:pt x="683197" y="184907"/>
                    <a:pt x="670910" y="172969"/>
                    <a:pt x="661926" y="157570"/>
                  </a:cubicBezTo>
                  <a:cubicBezTo>
                    <a:pt x="652942" y="142171"/>
                    <a:pt x="648359" y="124026"/>
                    <a:pt x="648176" y="103137"/>
                  </a:cubicBezTo>
                  <a:cubicBezTo>
                    <a:pt x="648322" y="83598"/>
                    <a:pt x="652757" y="66089"/>
                    <a:pt x="661482" y="50610"/>
                  </a:cubicBezTo>
                  <a:cubicBezTo>
                    <a:pt x="670206" y="35132"/>
                    <a:pt x="682344" y="22877"/>
                    <a:pt x="697897" y="13845"/>
                  </a:cubicBezTo>
                  <a:cubicBezTo>
                    <a:pt x="713449" y="4814"/>
                    <a:pt x="731541" y="198"/>
                    <a:pt x="752170" y="0"/>
                  </a:cubicBezTo>
                  <a:close/>
                  <a:moveTo>
                    <a:pt x="569464" y="0"/>
                  </a:moveTo>
                  <a:cubicBezTo>
                    <a:pt x="582555" y="95"/>
                    <a:pt x="594306" y="1974"/>
                    <a:pt x="604718" y="5637"/>
                  </a:cubicBezTo>
                  <a:cubicBezTo>
                    <a:pt x="615130" y="9300"/>
                    <a:pt x="623667" y="14176"/>
                    <a:pt x="630329" y="20266"/>
                  </a:cubicBezTo>
                  <a:lnTo>
                    <a:pt x="614612" y="46258"/>
                  </a:lnTo>
                  <a:cubicBezTo>
                    <a:pt x="608730" y="42197"/>
                    <a:pt x="602206" y="38958"/>
                    <a:pt x="595038" y="36540"/>
                  </a:cubicBezTo>
                  <a:cubicBezTo>
                    <a:pt x="587871" y="34123"/>
                    <a:pt x="579346" y="32885"/>
                    <a:pt x="569464" y="32825"/>
                  </a:cubicBezTo>
                  <a:cubicBezTo>
                    <a:pt x="550497" y="33039"/>
                    <a:pt x="534995" y="39328"/>
                    <a:pt x="522958" y="51689"/>
                  </a:cubicBezTo>
                  <a:cubicBezTo>
                    <a:pt x="510921" y="64051"/>
                    <a:pt x="504706" y="81200"/>
                    <a:pt x="504313" y="103137"/>
                  </a:cubicBezTo>
                  <a:cubicBezTo>
                    <a:pt x="504640" y="124324"/>
                    <a:pt x="511057" y="141259"/>
                    <a:pt x="523565" y="153942"/>
                  </a:cubicBezTo>
                  <a:cubicBezTo>
                    <a:pt x="536073" y="166626"/>
                    <a:pt x="552706" y="173128"/>
                    <a:pt x="573464" y="173450"/>
                  </a:cubicBezTo>
                  <a:cubicBezTo>
                    <a:pt x="581959" y="173444"/>
                    <a:pt x="590258" y="172098"/>
                    <a:pt x="598360" y="169413"/>
                  </a:cubicBezTo>
                  <a:cubicBezTo>
                    <a:pt x="606462" y="166727"/>
                    <a:pt x="613975" y="162737"/>
                    <a:pt x="620899" y="157444"/>
                  </a:cubicBezTo>
                  <a:lnTo>
                    <a:pt x="634329" y="183726"/>
                  </a:lnTo>
                  <a:cubicBezTo>
                    <a:pt x="627786" y="190535"/>
                    <a:pt x="618797" y="195970"/>
                    <a:pt x="607361" y="200031"/>
                  </a:cubicBezTo>
                  <a:cubicBezTo>
                    <a:pt x="595925" y="204093"/>
                    <a:pt x="583579" y="206174"/>
                    <a:pt x="570321" y="206275"/>
                  </a:cubicBezTo>
                  <a:cubicBezTo>
                    <a:pt x="539271" y="205872"/>
                    <a:pt x="514440" y="196471"/>
                    <a:pt x="495829" y="178072"/>
                  </a:cubicBezTo>
                  <a:cubicBezTo>
                    <a:pt x="477218" y="159673"/>
                    <a:pt x="467676" y="134695"/>
                    <a:pt x="467201" y="103137"/>
                  </a:cubicBezTo>
                  <a:cubicBezTo>
                    <a:pt x="467241" y="83778"/>
                    <a:pt x="471189" y="66353"/>
                    <a:pt x="479045" y="50864"/>
                  </a:cubicBezTo>
                  <a:cubicBezTo>
                    <a:pt x="486901" y="35375"/>
                    <a:pt x="498424" y="23078"/>
                    <a:pt x="513615" y="13972"/>
                  </a:cubicBezTo>
                  <a:cubicBezTo>
                    <a:pt x="528805" y="4867"/>
                    <a:pt x="547421" y="209"/>
                    <a:pt x="569464" y="0"/>
                  </a:cubicBezTo>
                  <a:close/>
                  <a:moveTo>
                    <a:pt x="275920" y="0"/>
                  </a:moveTo>
                  <a:cubicBezTo>
                    <a:pt x="295924" y="119"/>
                    <a:pt x="313744" y="4417"/>
                    <a:pt x="329379" y="12892"/>
                  </a:cubicBezTo>
                  <a:cubicBezTo>
                    <a:pt x="345015" y="21368"/>
                    <a:pt x="357348" y="33306"/>
                    <a:pt x="366377" y="48705"/>
                  </a:cubicBezTo>
                  <a:cubicBezTo>
                    <a:pt x="375407" y="64104"/>
                    <a:pt x="380016" y="82248"/>
                    <a:pt x="380202" y="103137"/>
                  </a:cubicBezTo>
                  <a:cubicBezTo>
                    <a:pt x="380016" y="123307"/>
                    <a:pt x="375407" y="141112"/>
                    <a:pt x="366377" y="156554"/>
                  </a:cubicBezTo>
                  <a:cubicBezTo>
                    <a:pt x="357348" y="171995"/>
                    <a:pt x="345015" y="184102"/>
                    <a:pt x="329379" y="192874"/>
                  </a:cubicBezTo>
                  <a:cubicBezTo>
                    <a:pt x="313744" y="201647"/>
                    <a:pt x="295924" y="206114"/>
                    <a:pt x="275920" y="206275"/>
                  </a:cubicBezTo>
                  <a:cubicBezTo>
                    <a:pt x="255921" y="206156"/>
                    <a:pt x="238126" y="201858"/>
                    <a:pt x="222536" y="193382"/>
                  </a:cubicBezTo>
                  <a:cubicBezTo>
                    <a:pt x="206947" y="184907"/>
                    <a:pt x="194660" y="172969"/>
                    <a:pt x="185676" y="157570"/>
                  </a:cubicBezTo>
                  <a:cubicBezTo>
                    <a:pt x="176692" y="142171"/>
                    <a:pt x="172109" y="124026"/>
                    <a:pt x="171926" y="103137"/>
                  </a:cubicBezTo>
                  <a:cubicBezTo>
                    <a:pt x="172072" y="83598"/>
                    <a:pt x="176507" y="66089"/>
                    <a:pt x="185232" y="50610"/>
                  </a:cubicBezTo>
                  <a:cubicBezTo>
                    <a:pt x="193956" y="35132"/>
                    <a:pt x="206094" y="22877"/>
                    <a:pt x="221647" y="13845"/>
                  </a:cubicBezTo>
                  <a:cubicBezTo>
                    <a:pt x="237199" y="4814"/>
                    <a:pt x="255291" y="198"/>
                    <a:pt x="275920" y="0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17179554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2029B5-4D64-38F4-9909-D5A13AB95C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348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2029B5-4D64-38F4-9909-D5A13AB95C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Групувати 6">
            <a:extLst>
              <a:ext uri="{FF2B5EF4-FFF2-40B4-BE49-F238E27FC236}">
                <a16:creationId xmlns:a16="http://schemas.microsoft.com/office/drawing/2014/main" id="{B4536E5E-664F-089B-3747-62F320FC807B}"/>
              </a:ext>
            </a:extLst>
          </p:cNvPr>
          <p:cNvGrpSpPr/>
          <p:nvPr/>
        </p:nvGrpSpPr>
        <p:grpSpPr>
          <a:xfrm>
            <a:off x="5681577" y="1444661"/>
            <a:ext cx="5539853" cy="4493153"/>
            <a:chOff x="5857004" y="1347026"/>
            <a:chExt cx="5539853" cy="4493153"/>
          </a:xfrm>
        </p:grpSpPr>
        <p:grpSp>
          <p:nvGrpSpPr>
            <p:cNvPr id="35" name="Групувати 34">
              <a:extLst>
                <a:ext uri="{FF2B5EF4-FFF2-40B4-BE49-F238E27FC236}">
                  <a16:creationId xmlns:a16="http://schemas.microsoft.com/office/drawing/2014/main" id="{53244F92-CDBC-4E9A-7984-F1A59E4E19E2}"/>
                </a:ext>
              </a:extLst>
            </p:cNvPr>
            <p:cNvGrpSpPr/>
            <p:nvPr/>
          </p:nvGrpSpPr>
          <p:grpSpPr>
            <a:xfrm>
              <a:off x="7348618" y="3076479"/>
              <a:ext cx="2821518" cy="2763700"/>
              <a:chOff x="3887422" y="-893363"/>
              <a:chExt cx="465950" cy="456401"/>
            </a:xfrm>
            <a:solidFill>
              <a:schemeClr val="bg1"/>
            </a:solidFill>
          </p:grpSpPr>
          <p:sp>
            <p:nvSpPr>
              <p:cNvPr id="2" name="Freeform 220">
                <a:extLst>
                  <a:ext uri="{FF2B5EF4-FFF2-40B4-BE49-F238E27FC236}">
                    <a16:creationId xmlns:a16="http://schemas.microsoft.com/office/drawing/2014/main" id="{3B71EC5A-9A86-FAAD-54EC-EC2D65DB0602}"/>
                  </a:ext>
                </a:extLst>
              </p:cNvPr>
              <p:cNvSpPr/>
              <p:nvPr/>
            </p:nvSpPr>
            <p:spPr>
              <a:xfrm>
                <a:off x="4150007" y="-862261"/>
                <a:ext cx="203365" cy="394409"/>
              </a:xfrm>
              <a:custGeom>
                <a:avLst/>
                <a:gdLst/>
                <a:ahLst/>
                <a:cxnLst/>
                <a:rect l="0" t="0" r="0" b="0"/>
                <a:pathLst>
                  <a:path w="268693" h="529665">
                    <a:moveTo>
                      <a:pt x="249186" y="162356"/>
                    </a:moveTo>
                    <a:cubicBezTo>
                      <a:pt x="249490" y="162482"/>
                      <a:pt x="249770" y="162521"/>
                      <a:pt x="250049" y="162724"/>
                    </a:cubicBezTo>
                    <a:cubicBezTo>
                      <a:pt x="233972" y="106400"/>
                      <a:pt x="199834" y="59042"/>
                      <a:pt x="150126" y="24841"/>
                    </a:cubicBezTo>
                    <a:cubicBezTo>
                      <a:pt x="127165" y="9055"/>
                      <a:pt x="100622" y="0"/>
                      <a:pt x="77356" y="0"/>
                    </a:cubicBezTo>
                    <a:cubicBezTo>
                      <a:pt x="63970" y="0"/>
                      <a:pt x="51701" y="2844"/>
                      <a:pt x="41008" y="8661"/>
                    </a:cubicBezTo>
                    <a:cubicBezTo>
                      <a:pt x="13894" y="24498"/>
                      <a:pt x="0" y="46990"/>
                      <a:pt x="0" y="75565"/>
                    </a:cubicBezTo>
                    <a:cubicBezTo>
                      <a:pt x="0" y="122174"/>
                      <a:pt x="27051" y="149669"/>
                      <a:pt x="67932" y="191324"/>
                    </a:cubicBezTo>
                    <a:cubicBezTo>
                      <a:pt x="89205" y="213003"/>
                      <a:pt x="113068" y="237336"/>
                      <a:pt x="136474" y="268591"/>
                    </a:cubicBezTo>
                    <a:cubicBezTo>
                      <a:pt x="174879" y="319785"/>
                      <a:pt x="184366" y="391375"/>
                      <a:pt x="161239" y="455687"/>
                    </a:cubicBezTo>
                    <a:cubicBezTo>
                      <a:pt x="151143" y="483754"/>
                      <a:pt x="135737" y="508431"/>
                      <a:pt x="115798" y="528992"/>
                    </a:cubicBezTo>
                    <a:cubicBezTo>
                      <a:pt x="115519" y="529068"/>
                      <a:pt x="115468" y="529462"/>
                      <a:pt x="115214" y="529665"/>
                    </a:cubicBezTo>
                    <a:cubicBezTo>
                      <a:pt x="163931" y="502233"/>
                      <a:pt x="200685" y="463269"/>
                      <a:pt x="223342" y="414768"/>
                    </a:cubicBezTo>
                    <a:cubicBezTo>
                      <a:pt x="268693" y="317359"/>
                      <a:pt x="235026" y="249795"/>
                      <a:pt x="214922" y="209384"/>
                    </a:cubicBezTo>
                    <a:cubicBezTo>
                      <a:pt x="204610" y="188670"/>
                      <a:pt x="197193" y="173531"/>
                      <a:pt x="204711" y="162191"/>
                    </a:cubicBezTo>
                    <a:cubicBezTo>
                      <a:pt x="213411" y="149098"/>
                      <a:pt x="229451" y="148463"/>
                      <a:pt x="249186" y="162356"/>
                    </a:cubicBezTo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>
                  <a:solidFill>
                    <a:schemeClr val="bg1"/>
                  </a:solidFill>
                </a:endParaRPr>
              </a:p>
            </p:txBody>
          </p:sp>
          <p:sp>
            <p:nvSpPr>
              <p:cNvPr id="6" name="Freeform 221">
                <a:extLst>
                  <a:ext uri="{FF2B5EF4-FFF2-40B4-BE49-F238E27FC236}">
                    <a16:creationId xmlns:a16="http://schemas.microsoft.com/office/drawing/2014/main" id="{705D7B15-DA67-B078-8863-2D2DE4FDDF75}"/>
                  </a:ext>
                </a:extLst>
              </p:cNvPr>
              <p:cNvSpPr/>
              <p:nvPr/>
            </p:nvSpPr>
            <p:spPr>
              <a:xfrm>
                <a:off x="3887422" y="-840110"/>
                <a:ext cx="294469" cy="397248"/>
              </a:xfrm>
              <a:custGeom>
                <a:avLst/>
                <a:gdLst/>
                <a:ahLst/>
                <a:cxnLst/>
                <a:rect l="0" t="0" r="0" b="0"/>
                <a:pathLst>
                  <a:path w="389064" h="533476">
                    <a:moveTo>
                      <a:pt x="374561" y="363639"/>
                    </a:moveTo>
                    <a:cubicBezTo>
                      <a:pt x="345733" y="318936"/>
                      <a:pt x="304800" y="303162"/>
                      <a:pt x="261519" y="286563"/>
                    </a:cubicBezTo>
                    <a:cubicBezTo>
                      <a:pt x="219050" y="270142"/>
                      <a:pt x="175095" y="253251"/>
                      <a:pt x="137757" y="209398"/>
                    </a:cubicBezTo>
                    <a:cubicBezTo>
                      <a:pt x="101156" y="166739"/>
                      <a:pt x="85764" y="111430"/>
                      <a:pt x="94044" y="53988"/>
                    </a:cubicBezTo>
                    <a:cubicBezTo>
                      <a:pt x="96635" y="36322"/>
                      <a:pt x="101651" y="19495"/>
                      <a:pt x="108243" y="3988"/>
                    </a:cubicBezTo>
                    <a:cubicBezTo>
                      <a:pt x="108509" y="3214"/>
                      <a:pt x="108801" y="2451"/>
                      <a:pt x="108827" y="2439"/>
                    </a:cubicBezTo>
                    <a:cubicBezTo>
                      <a:pt x="109182" y="1486"/>
                      <a:pt x="109386" y="788"/>
                      <a:pt x="109703" y="0"/>
                    </a:cubicBezTo>
                    <a:cubicBezTo>
                      <a:pt x="104902" y="3988"/>
                      <a:pt x="100559" y="8408"/>
                      <a:pt x="96063" y="12675"/>
                    </a:cubicBezTo>
                    <a:cubicBezTo>
                      <a:pt x="96139" y="12599"/>
                      <a:pt x="96241" y="12535"/>
                      <a:pt x="96330" y="12459"/>
                    </a:cubicBezTo>
                    <a:cubicBezTo>
                      <a:pt x="96241" y="12535"/>
                      <a:pt x="96139" y="12612"/>
                      <a:pt x="96063" y="12688"/>
                    </a:cubicBezTo>
                    <a:cubicBezTo>
                      <a:pt x="35345" y="69977"/>
                      <a:pt x="0" y="149556"/>
                      <a:pt x="0" y="234925"/>
                    </a:cubicBezTo>
                    <a:cubicBezTo>
                      <a:pt x="0" y="369468"/>
                      <a:pt x="90031" y="490258"/>
                      <a:pt x="218974" y="528586"/>
                    </a:cubicBezTo>
                    <a:cubicBezTo>
                      <a:pt x="231445" y="531837"/>
                      <a:pt x="244221" y="533476"/>
                      <a:pt x="256972" y="533476"/>
                    </a:cubicBezTo>
                    <a:cubicBezTo>
                      <a:pt x="300482" y="533476"/>
                      <a:pt x="339344" y="514349"/>
                      <a:pt x="363881" y="480910"/>
                    </a:cubicBezTo>
                    <a:cubicBezTo>
                      <a:pt x="376135" y="464070"/>
                      <a:pt x="383044" y="444995"/>
                      <a:pt x="385800" y="426034"/>
                    </a:cubicBezTo>
                    <a:cubicBezTo>
                      <a:pt x="389064" y="403453"/>
                      <a:pt x="385838" y="381190"/>
                      <a:pt x="374561" y="363639"/>
                    </a:cubicBezTo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Freeform 222">
                <a:extLst>
                  <a:ext uri="{FF2B5EF4-FFF2-40B4-BE49-F238E27FC236}">
                    <a16:creationId xmlns:a16="http://schemas.microsoft.com/office/drawing/2014/main" id="{A19F4E50-FC2A-CBB6-9410-C48E89F659E2}"/>
                  </a:ext>
                </a:extLst>
              </p:cNvPr>
              <p:cNvSpPr/>
              <p:nvPr/>
            </p:nvSpPr>
            <p:spPr>
              <a:xfrm>
                <a:off x="3976625" y="-893363"/>
                <a:ext cx="289855" cy="456401"/>
              </a:xfrm>
              <a:custGeom>
                <a:avLst/>
                <a:gdLst/>
                <a:ahLst/>
                <a:cxnLst/>
                <a:rect l="0" t="0" r="0" b="0"/>
                <a:pathLst>
                  <a:path w="382967" h="612914">
                    <a:moveTo>
                      <a:pt x="342366" y="327609"/>
                    </a:moveTo>
                    <a:cubicBezTo>
                      <a:pt x="320078" y="297904"/>
                      <a:pt x="296850" y="274142"/>
                      <a:pt x="276352" y="253340"/>
                    </a:cubicBezTo>
                    <a:cubicBezTo>
                      <a:pt x="233743" y="209868"/>
                      <a:pt x="200215" y="175692"/>
                      <a:pt x="200215" y="117323"/>
                    </a:cubicBezTo>
                    <a:cubicBezTo>
                      <a:pt x="200215" y="57811"/>
                      <a:pt x="243726" y="25121"/>
                      <a:pt x="284543" y="15316"/>
                    </a:cubicBezTo>
                    <a:cubicBezTo>
                      <a:pt x="282499" y="14656"/>
                      <a:pt x="280162" y="14313"/>
                      <a:pt x="278054" y="13742"/>
                    </a:cubicBezTo>
                    <a:cubicBezTo>
                      <a:pt x="249555" y="5157"/>
                      <a:pt x="218605" y="0"/>
                      <a:pt x="188531" y="0"/>
                    </a:cubicBezTo>
                    <a:cubicBezTo>
                      <a:pt x="138582" y="0"/>
                      <a:pt x="99174" y="10275"/>
                      <a:pt x="60719" y="33389"/>
                    </a:cubicBezTo>
                    <a:cubicBezTo>
                      <a:pt x="32842" y="50127"/>
                      <a:pt x="10960" y="87922"/>
                      <a:pt x="4864" y="129718"/>
                    </a:cubicBezTo>
                    <a:cubicBezTo>
                      <a:pt x="686" y="158141"/>
                      <a:pt x="0" y="213157"/>
                      <a:pt x="41846" y="262065"/>
                    </a:cubicBezTo>
                    <a:cubicBezTo>
                      <a:pt x="74536" y="300393"/>
                      <a:pt x="114948" y="316002"/>
                      <a:pt x="153987" y="331038"/>
                    </a:cubicBezTo>
                    <a:cubicBezTo>
                      <a:pt x="199809" y="348652"/>
                      <a:pt x="247002" y="366953"/>
                      <a:pt x="280975" y="419442"/>
                    </a:cubicBezTo>
                    <a:cubicBezTo>
                      <a:pt x="304025" y="455091"/>
                      <a:pt x="303886" y="505104"/>
                      <a:pt x="282499" y="547801"/>
                    </a:cubicBezTo>
                    <a:cubicBezTo>
                      <a:pt x="281102" y="550659"/>
                      <a:pt x="279552" y="553415"/>
                      <a:pt x="277952" y="556132"/>
                    </a:cubicBezTo>
                    <a:cubicBezTo>
                      <a:pt x="277520" y="556932"/>
                      <a:pt x="277038" y="557745"/>
                      <a:pt x="276581" y="558545"/>
                    </a:cubicBezTo>
                    <a:cubicBezTo>
                      <a:pt x="259715" y="585304"/>
                      <a:pt x="231902" y="606069"/>
                      <a:pt x="204165" y="612914"/>
                    </a:cubicBezTo>
                    <a:cubicBezTo>
                      <a:pt x="219011" y="610793"/>
                      <a:pt x="233401" y="607555"/>
                      <a:pt x="247307" y="602856"/>
                    </a:cubicBezTo>
                    <a:cubicBezTo>
                      <a:pt x="248679" y="602462"/>
                      <a:pt x="250038" y="602043"/>
                      <a:pt x="251435" y="601649"/>
                    </a:cubicBezTo>
                    <a:cubicBezTo>
                      <a:pt x="253213" y="601001"/>
                      <a:pt x="254864" y="600100"/>
                      <a:pt x="256603" y="599427"/>
                    </a:cubicBezTo>
                    <a:cubicBezTo>
                      <a:pt x="259804" y="598157"/>
                      <a:pt x="262979" y="596823"/>
                      <a:pt x="266103" y="595375"/>
                    </a:cubicBezTo>
                    <a:cubicBezTo>
                      <a:pt x="268084" y="594448"/>
                      <a:pt x="270091" y="593559"/>
                      <a:pt x="272110" y="592505"/>
                    </a:cubicBezTo>
                    <a:cubicBezTo>
                      <a:pt x="276936" y="590092"/>
                      <a:pt x="281686" y="587336"/>
                      <a:pt x="286334" y="584453"/>
                    </a:cubicBezTo>
                    <a:cubicBezTo>
                      <a:pt x="287007" y="584022"/>
                      <a:pt x="287642" y="583590"/>
                      <a:pt x="288252" y="583183"/>
                    </a:cubicBezTo>
                    <a:cubicBezTo>
                      <a:pt x="293408" y="579894"/>
                      <a:pt x="298386" y="576198"/>
                      <a:pt x="303301" y="572274"/>
                    </a:cubicBezTo>
                    <a:cubicBezTo>
                      <a:pt x="303695" y="571944"/>
                      <a:pt x="304101" y="571601"/>
                      <a:pt x="304495" y="571296"/>
                    </a:cubicBezTo>
                    <a:cubicBezTo>
                      <a:pt x="308991" y="567575"/>
                      <a:pt x="313398" y="563587"/>
                      <a:pt x="317716" y="559282"/>
                    </a:cubicBezTo>
                    <a:cubicBezTo>
                      <a:pt x="318795" y="558139"/>
                      <a:pt x="319900" y="556932"/>
                      <a:pt x="321018" y="555789"/>
                    </a:cubicBezTo>
                    <a:cubicBezTo>
                      <a:pt x="323939" y="552703"/>
                      <a:pt x="326796" y="549477"/>
                      <a:pt x="329565" y="546087"/>
                    </a:cubicBezTo>
                    <a:cubicBezTo>
                      <a:pt x="331787" y="543470"/>
                      <a:pt x="333832" y="540753"/>
                      <a:pt x="335877" y="538022"/>
                    </a:cubicBezTo>
                    <a:cubicBezTo>
                      <a:pt x="338036" y="535114"/>
                      <a:pt x="340182" y="532091"/>
                      <a:pt x="342265" y="529005"/>
                    </a:cubicBezTo>
                    <a:cubicBezTo>
                      <a:pt x="343255" y="527494"/>
                      <a:pt x="344283" y="526046"/>
                      <a:pt x="345210" y="524535"/>
                    </a:cubicBezTo>
                    <a:cubicBezTo>
                      <a:pt x="345502" y="524141"/>
                      <a:pt x="345782" y="523709"/>
                      <a:pt x="346087" y="523239"/>
                    </a:cubicBezTo>
                    <a:lnTo>
                      <a:pt x="346036" y="523062"/>
                    </a:lnTo>
                    <a:cubicBezTo>
                      <a:pt x="352792" y="511949"/>
                      <a:pt x="358609" y="500176"/>
                      <a:pt x="363092" y="487616"/>
                    </a:cubicBezTo>
                    <a:cubicBezTo>
                      <a:pt x="382967" y="432472"/>
                      <a:pt x="374992" y="371144"/>
                      <a:pt x="342366" y="327609"/>
                    </a:cubicBezTo>
                  </a:path>
                </a:pathLst>
              </a:cu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" name="Полілінія: фігура 4">
              <a:extLst>
                <a:ext uri="{FF2B5EF4-FFF2-40B4-BE49-F238E27FC236}">
                  <a16:creationId xmlns:a16="http://schemas.microsoft.com/office/drawing/2014/main" id="{0F5F2327-7A67-6B22-A477-D2503295D92A}"/>
                </a:ext>
              </a:extLst>
            </p:cNvPr>
            <p:cNvSpPr/>
            <p:nvPr/>
          </p:nvSpPr>
          <p:spPr>
            <a:xfrm>
              <a:off x="5857004" y="1347026"/>
              <a:ext cx="5539853" cy="1173482"/>
            </a:xfrm>
            <a:custGeom>
              <a:avLst/>
              <a:gdLst/>
              <a:ahLst/>
              <a:cxnLst/>
              <a:rect l="l" t="t" r="r" b="b"/>
              <a:pathLst>
                <a:path w="5539853" h="1173482">
                  <a:moveTo>
                    <a:pt x="3832249" y="835837"/>
                  </a:moveTo>
                  <a:lnTo>
                    <a:pt x="3769461" y="987628"/>
                  </a:lnTo>
                  <a:lnTo>
                    <a:pt x="3894429" y="987628"/>
                  </a:lnTo>
                  <a:close/>
                  <a:moveTo>
                    <a:pt x="2934987" y="808939"/>
                  </a:moveTo>
                  <a:cubicBezTo>
                    <a:pt x="2927972" y="808952"/>
                    <a:pt x="2920195" y="809079"/>
                    <a:pt x="2911656" y="809320"/>
                  </a:cubicBezTo>
                  <a:cubicBezTo>
                    <a:pt x="2903117" y="809562"/>
                    <a:pt x="2893815" y="809841"/>
                    <a:pt x="2883750" y="810159"/>
                  </a:cubicBezTo>
                  <a:lnTo>
                    <a:pt x="2883750" y="937031"/>
                  </a:lnTo>
                  <a:lnTo>
                    <a:pt x="2932547" y="937031"/>
                  </a:lnTo>
                  <a:cubicBezTo>
                    <a:pt x="2954899" y="937031"/>
                    <a:pt x="2973935" y="931541"/>
                    <a:pt x="2989654" y="920562"/>
                  </a:cubicBezTo>
                  <a:cubicBezTo>
                    <a:pt x="3005373" y="909583"/>
                    <a:pt x="3013583" y="893114"/>
                    <a:pt x="3014281" y="871155"/>
                  </a:cubicBezTo>
                  <a:cubicBezTo>
                    <a:pt x="3014789" y="853886"/>
                    <a:pt x="3009198" y="839323"/>
                    <a:pt x="2997507" y="827466"/>
                  </a:cubicBezTo>
                  <a:cubicBezTo>
                    <a:pt x="2985816" y="815610"/>
                    <a:pt x="2964976" y="809434"/>
                    <a:pt x="2934987" y="808939"/>
                  </a:cubicBezTo>
                  <a:close/>
                  <a:moveTo>
                    <a:pt x="1087137" y="808939"/>
                  </a:moveTo>
                  <a:cubicBezTo>
                    <a:pt x="1080122" y="808952"/>
                    <a:pt x="1072345" y="809079"/>
                    <a:pt x="1063806" y="809320"/>
                  </a:cubicBezTo>
                  <a:cubicBezTo>
                    <a:pt x="1055267" y="809562"/>
                    <a:pt x="1045965" y="809841"/>
                    <a:pt x="1035901" y="810159"/>
                  </a:cubicBezTo>
                  <a:lnTo>
                    <a:pt x="1035901" y="937031"/>
                  </a:lnTo>
                  <a:lnTo>
                    <a:pt x="1084697" y="937031"/>
                  </a:lnTo>
                  <a:cubicBezTo>
                    <a:pt x="1107049" y="937031"/>
                    <a:pt x="1126085" y="931541"/>
                    <a:pt x="1141804" y="920562"/>
                  </a:cubicBezTo>
                  <a:cubicBezTo>
                    <a:pt x="1157523" y="909583"/>
                    <a:pt x="1165732" y="893114"/>
                    <a:pt x="1166431" y="871155"/>
                  </a:cubicBezTo>
                  <a:cubicBezTo>
                    <a:pt x="1166939" y="853886"/>
                    <a:pt x="1161348" y="839323"/>
                    <a:pt x="1149657" y="827466"/>
                  </a:cubicBezTo>
                  <a:cubicBezTo>
                    <a:pt x="1137966" y="815610"/>
                    <a:pt x="1117126" y="809434"/>
                    <a:pt x="1087137" y="808939"/>
                  </a:cubicBezTo>
                  <a:close/>
                  <a:moveTo>
                    <a:pt x="2046502" y="803452"/>
                  </a:moveTo>
                  <a:cubicBezTo>
                    <a:pt x="2004810" y="804176"/>
                    <a:pt x="1970816" y="818124"/>
                    <a:pt x="1944520" y="845296"/>
                  </a:cubicBezTo>
                  <a:cubicBezTo>
                    <a:pt x="1918224" y="872468"/>
                    <a:pt x="1904657" y="908520"/>
                    <a:pt x="1903818" y="953451"/>
                  </a:cubicBezTo>
                  <a:cubicBezTo>
                    <a:pt x="1904772" y="997049"/>
                    <a:pt x="1918567" y="1032720"/>
                    <a:pt x="1945206" y="1060464"/>
                  </a:cubicBezTo>
                  <a:cubicBezTo>
                    <a:pt x="1971845" y="1088208"/>
                    <a:pt x="2005610" y="1102537"/>
                    <a:pt x="2046502" y="1103452"/>
                  </a:cubicBezTo>
                  <a:cubicBezTo>
                    <a:pt x="2091688" y="1102461"/>
                    <a:pt x="2126775" y="1087979"/>
                    <a:pt x="2151763" y="1060007"/>
                  </a:cubicBezTo>
                  <a:cubicBezTo>
                    <a:pt x="2176751" y="1032034"/>
                    <a:pt x="2189429" y="996516"/>
                    <a:pt x="2189797" y="953451"/>
                  </a:cubicBezTo>
                  <a:cubicBezTo>
                    <a:pt x="2188857" y="908520"/>
                    <a:pt x="2175035" y="872468"/>
                    <a:pt x="2148333" y="845296"/>
                  </a:cubicBezTo>
                  <a:cubicBezTo>
                    <a:pt x="2121630" y="818124"/>
                    <a:pt x="2087686" y="804176"/>
                    <a:pt x="2046502" y="803452"/>
                  </a:cubicBezTo>
                  <a:close/>
                  <a:moveTo>
                    <a:pt x="655852" y="803452"/>
                  </a:moveTo>
                  <a:cubicBezTo>
                    <a:pt x="614160" y="804176"/>
                    <a:pt x="580166" y="818124"/>
                    <a:pt x="553870" y="845296"/>
                  </a:cubicBezTo>
                  <a:cubicBezTo>
                    <a:pt x="527574" y="872468"/>
                    <a:pt x="514007" y="908520"/>
                    <a:pt x="513169" y="953451"/>
                  </a:cubicBezTo>
                  <a:cubicBezTo>
                    <a:pt x="514121" y="997049"/>
                    <a:pt x="527917" y="1032720"/>
                    <a:pt x="554556" y="1060464"/>
                  </a:cubicBezTo>
                  <a:cubicBezTo>
                    <a:pt x="581195" y="1088208"/>
                    <a:pt x="614960" y="1102537"/>
                    <a:pt x="655852" y="1103452"/>
                  </a:cubicBezTo>
                  <a:cubicBezTo>
                    <a:pt x="701038" y="1102461"/>
                    <a:pt x="736125" y="1087979"/>
                    <a:pt x="761113" y="1060007"/>
                  </a:cubicBezTo>
                  <a:cubicBezTo>
                    <a:pt x="786101" y="1032034"/>
                    <a:pt x="798779" y="996516"/>
                    <a:pt x="799147" y="953451"/>
                  </a:cubicBezTo>
                  <a:cubicBezTo>
                    <a:pt x="798207" y="908520"/>
                    <a:pt x="784386" y="872468"/>
                    <a:pt x="757683" y="845296"/>
                  </a:cubicBezTo>
                  <a:cubicBezTo>
                    <a:pt x="730980" y="818124"/>
                    <a:pt x="697036" y="804176"/>
                    <a:pt x="655852" y="803452"/>
                  </a:cubicBezTo>
                  <a:close/>
                  <a:moveTo>
                    <a:pt x="5095912" y="740740"/>
                  </a:moveTo>
                  <a:lnTo>
                    <a:pt x="5181257" y="740740"/>
                  </a:lnTo>
                  <a:lnTo>
                    <a:pt x="5287285" y="919064"/>
                  </a:lnTo>
                  <a:lnTo>
                    <a:pt x="5392101" y="740740"/>
                  </a:lnTo>
                  <a:lnTo>
                    <a:pt x="5473179" y="740740"/>
                  </a:lnTo>
                  <a:lnTo>
                    <a:pt x="5321388" y="989056"/>
                  </a:lnTo>
                  <a:lnTo>
                    <a:pt x="5321388" y="1166774"/>
                  </a:lnTo>
                  <a:lnTo>
                    <a:pt x="5246484" y="1166774"/>
                  </a:lnTo>
                  <a:lnTo>
                    <a:pt x="5246484" y="989056"/>
                  </a:lnTo>
                  <a:close/>
                  <a:moveTo>
                    <a:pt x="4737011" y="740740"/>
                  </a:moveTo>
                  <a:lnTo>
                    <a:pt x="5088673" y="740740"/>
                  </a:lnTo>
                  <a:lnTo>
                    <a:pt x="5088673" y="810768"/>
                  </a:lnTo>
                  <a:lnTo>
                    <a:pt x="4950295" y="810768"/>
                  </a:lnTo>
                  <a:lnTo>
                    <a:pt x="4950295" y="1166774"/>
                  </a:lnTo>
                  <a:lnTo>
                    <a:pt x="4875389" y="1166774"/>
                  </a:lnTo>
                  <a:lnTo>
                    <a:pt x="4875389" y="810768"/>
                  </a:lnTo>
                  <a:lnTo>
                    <a:pt x="4737011" y="810768"/>
                  </a:lnTo>
                  <a:close/>
                  <a:moveTo>
                    <a:pt x="4437621" y="740740"/>
                  </a:moveTo>
                  <a:lnTo>
                    <a:pt x="4684433" y="740740"/>
                  </a:lnTo>
                  <a:lnTo>
                    <a:pt x="4684433" y="810768"/>
                  </a:lnTo>
                  <a:lnTo>
                    <a:pt x="4512525" y="810768"/>
                  </a:lnTo>
                  <a:lnTo>
                    <a:pt x="4512525" y="916305"/>
                  </a:lnTo>
                  <a:lnTo>
                    <a:pt x="4666145" y="916305"/>
                  </a:lnTo>
                  <a:lnTo>
                    <a:pt x="4666145" y="986332"/>
                  </a:lnTo>
                  <a:lnTo>
                    <a:pt x="4512525" y="986332"/>
                  </a:lnTo>
                  <a:lnTo>
                    <a:pt x="4512525" y="1096746"/>
                  </a:lnTo>
                  <a:lnTo>
                    <a:pt x="4690529" y="1096746"/>
                  </a:lnTo>
                  <a:lnTo>
                    <a:pt x="4690529" y="1166774"/>
                  </a:lnTo>
                  <a:lnTo>
                    <a:pt x="4437621" y="1166774"/>
                  </a:lnTo>
                  <a:close/>
                  <a:moveTo>
                    <a:pt x="4113771" y="740740"/>
                  </a:moveTo>
                  <a:lnTo>
                    <a:pt x="4357535" y="740740"/>
                  </a:lnTo>
                  <a:lnTo>
                    <a:pt x="4357535" y="810768"/>
                  </a:lnTo>
                  <a:lnTo>
                    <a:pt x="4188675" y="810768"/>
                  </a:lnTo>
                  <a:lnTo>
                    <a:pt x="4188675" y="930935"/>
                  </a:lnTo>
                  <a:lnTo>
                    <a:pt x="4339247" y="930935"/>
                  </a:lnTo>
                  <a:lnTo>
                    <a:pt x="4339247" y="1000963"/>
                  </a:lnTo>
                  <a:lnTo>
                    <a:pt x="4188675" y="1000963"/>
                  </a:lnTo>
                  <a:lnTo>
                    <a:pt x="4188675" y="1166774"/>
                  </a:lnTo>
                  <a:lnTo>
                    <a:pt x="4113771" y="1166774"/>
                  </a:lnTo>
                  <a:close/>
                  <a:moveTo>
                    <a:pt x="2345550" y="740740"/>
                  </a:moveTo>
                  <a:lnTo>
                    <a:pt x="2420455" y="740740"/>
                  </a:lnTo>
                  <a:lnTo>
                    <a:pt x="2420455" y="970174"/>
                  </a:lnTo>
                  <a:cubicBezTo>
                    <a:pt x="2420290" y="1010606"/>
                    <a:pt x="2428852" y="1042784"/>
                    <a:pt x="2446144" y="1066709"/>
                  </a:cubicBezTo>
                  <a:cubicBezTo>
                    <a:pt x="2463435" y="1090634"/>
                    <a:pt x="2490445" y="1102881"/>
                    <a:pt x="2527175" y="1103452"/>
                  </a:cubicBezTo>
                  <a:cubicBezTo>
                    <a:pt x="2559420" y="1103274"/>
                    <a:pt x="2583356" y="1092219"/>
                    <a:pt x="2598983" y="1070284"/>
                  </a:cubicBezTo>
                  <a:cubicBezTo>
                    <a:pt x="2614609" y="1048350"/>
                    <a:pt x="2622384" y="1016603"/>
                    <a:pt x="2622308" y="975042"/>
                  </a:cubicBezTo>
                  <a:lnTo>
                    <a:pt x="2622308" y="740740"/>
                  </a:lnTo>
                  <a:lnTo>
                    <a:pt x="2696603" y="740740"/>
                  </a:lnTo>
                  <a:lnTo>
                    <a:pt x="2696603" y="990257"/>
                  </a:lnTo>
                  <a:cubicBezTo>
                    <a:pt x="2696172" y="1033522"/>
                    <a:pt x="2688170" y="1068651"/>
                    <a:pt x="2672599" y="1095646"/>
                  </a:cubicBezTo>
                  <a:cubicBezTo>
                    <a:pt x="2657027" y="1122640"/>
                    <a:pt x="2636476" y="1142398"/>
                    <a:pt x="2610943" y="1154921"/>
                  </a:cubicBezTo>
                  <a:cubicBezTo>
                    <a:pt x="2585411" y="1167443"/>
                    <a:pt x="2557489" y="1173630"/>
                    <a:pt x="2527175" y="1173480"/>
                  </a:cubicBezTo>
                  <a:cubicBezTo>
                    <a:pt x="2473184" y="1173466"/>
                    <a:pt x="2429649" y="1157814"/>
                    <a:pt x="2396571" y="1126524"/>
                  </a:cubicBezTo>
                  <a:cubicBezTo>
                    <a:pt x="2363493" y="1095234"/>
                    <a:pt x="2346486" y="1048392"/>
                    <a:pt x="2345550" y="985997"/>
                  </a:cubicBezTo>
                  <a:close/>
                  <a:moveTo>
                    <a:pt x="1438313" y="740740"/>
                  </a:moveTo>
                  <a:lnTo>
                    <a:pt x="1523657" y="740740"/>
                  </a:lnTo>
                  <a:lnTo>
                    <a:pt x="1629685" y="919064"/>
                  </a:lnTo>
                  <a:lnTo>
                    <a:pt x="1734502" y="740740"/>
                  </a:lnTo>
                  <a:lnTo>
                    <a:pt x="1815579" y="740740"/>
                  </a:lnTo>
                  <a:lnTo>
                    <a:pt x="1663789" y="989056"/>
                  </a:lnTo>
                  <a:lnTo>
                    <a:pt x="1663789" y="1166774"/>
                  </a:lnTo>
                  <a:lnTo>
                    <a:pt x="1588884" y="1166774"/>
                  </a:lnTo>
                  <a:lnTo>
                    <a:pt x="1588884" y="989056"/>
                  </a:lnTo>
                  <a:close/>
                  <a:moveTo>
                    <a:pt x="132321" y="740740"/>
                  </a:moveTo>
                  <a:lnTo>
                    <a:pt x="376085" y="740740"/>
                  </a:lnTo>
                  <a:lnTo>
                    <a:pt x="376085" y="810768"/>
                  </a:lnTo>
                  <a:lnTo>
                    <a:pt x="207226" y="810768"/>
                  </a:lnTo>
                  <a:lnTo>
                    <a:pt x="207226" y="930935"/>
                  </a:lnTo>
                  <a:lnTo>
                    <a:pt x="357797" y="930935"/>
                  </a:lnTo>
                  <a:lnTo>
                    <a:pt x="357797" y="1000963"/>
                  </a:lnTo>
                  <a:lnTo>
                    <a:pt x="207226" y="1000963"/>
                  </a:lnTo>
                  <a:lnTo>
                    <a:pt x="207226" y="1166774"/>
                  </a:lnTo>
                  <a:lnTo>
                    <a:pt x="132321" y="1166774"/>
                  </a:lnTo>
                  <a:close/>
                  <a:moveTo>
                    <a:pt x="3801161" y="738911"/>
                  </a:moveTo>
                  <a:lnTo>
                    <a:pt x="3866997" y="738911"/>
                  </a:lnTo>
                  <a:lnTo>
                    <a:pt x="4047439" y="1166774"/>
                  </a:lnTo>
                  <a:lnTo>
                    <a:pt x="3967581" y="1166774"/>
                  </a:lnTo>
                  <a:lnTo>
                    <a:pt x="3923080" y="1057656"/>
                  </a:lnTo>
                  <a:lnTo>
                    <a:pt x="3740810" y="1057656"/>
                  </a:lnTo>
                  <a:lnTo>
                    <a:pt x="3696309" y="1166774"/>
                  </a:lnTo>
                  <a:lnTo>
                    <a:pt x="3620719" y="1166774"/>
                  </a:lnTo>
                  <a:close/>
                  <a:moveTo>
                    <a:pt x="2938647" y="738911"/>
                  </a:moveTo>
                  <a:cubicBezTo>
                    <a:pt x="2996039" y="739784"/>
                    <a:pt x="3036395" y="752500"/>
                    <a:pt x="3059714" y="777059"/>
                  </a:cubicBezTo>
                  <a:cubicBezTo>
                    <a:pt x="3083034" y="801617"/>
                    <a:pt x="3094280" y="832779"/>
                    <a:pt x="3093453" y="870545"/>
                  </a:cubicBezTo>
                  <a:cubicBezTo>
                    <a:pt x="3093092" y="894864"/>
                    <a:pt x="3088603" y="915338"/>
                    <a:pt x="3079987" y="931968"/>
                  </a:cubicBezTo>
                  <a:cubicBezTo>
                    <a:pt x="3071370" y="948599"/>
                    <a:pt x="3060791" y="961839"/>
                    <a:pt x="3048249" y="971691"/>
                  </a:cubicBezTo>
                  <a:cubicBezTo>
                    <a:pt x="3035707" y="981543"/>
                    <a:pt x="3023367" y="988461"/>
                    <a:pt x="3011231" y="992444"/>
                  </a:cubicBezTo>
                  <a:lnTo>
                    <a:pt x="3144659" y="1166774"/>
                  </a:lnTo>
                  <a:lnTo>
                    <a:pt x="3053867" y="1166774"/>
                  </a:lnTo>
                  <a:lnTo>
                    <a:pt x="2936207" y="1007059"/>
                  </a:lnTo>
                  <a:lnTo>
                    <a:pt x="2883750" y="1007059"/>
                  </a:lnTo>
                  <a:lnTo>
                    <a:pt x="2883750" y="1166774"/>
                  </a:lnTo>
                  <a:lnTo>
                    <a:pt x="2808846" y="1166774"/>
                  </a:lnTo>
                  <a:lnTo>
                    <a:pt x="2808846" y="740129"/>
                  </a:lnTo>
                  <a:cubicBezTo>
                    <a:pt x="2817699" y="740114"/>
                    <a:pt x="2831531" y="740008"/>
                    <a:pt x="2850343" y="739813"/>
                  </a:cubicBezTo>
                  <a:cubicBezTo>
                    <a:pt x="2869153" y="739618"/>
                    <a:pt x="2887323" y="739422"/>
                    <a:pt x="2904851" y="739227"/>
                  </a:cubicBezTo>
                  <a:cubicBezTo>
                    <a:pt x="2922378" y="739031"/>
                    <a:pt x="2933643" y="738926"/>
                    <a:pt x="2938647" y="738911"/>
                  </a:cubicBezTo>
                  <a:close/>
                  <a:moveTo>
                    <a:pt x="1090796" y="738911"/>
                  </a:moveTo>
                  <a:cubicBezTo>
                    <a:pt x="1148189" y="739784"/>
                    <a:pt x="1188545" y="752500"/>
                    <a:pt x="1211864" y="777059"/>
                  </a:cubicBezTo>
                  <a:cubicBezTo>
                    <a:pt x="1235184" y="801617"/>
                    <a:pt x="1246430" y="832779"/>
                    <a:pt x="1245603" y="870545"/>
                  </a:cubicBezTo>
                  <a:cubicBezTo>
                    <a:pt x="1245242" y="894864"/>
                    <a:pt x="1240753" y="915338"/>
                    <a:pt x="1232137" y="931968"/>
                  </a:cubicBezTo>
                  <a:cubicBezTo>
                    <a:pt x="1223520" y="948599"/>
                    <a:pt x="1212941" y="961839"/>
                    <a:pt x="1200399" y="971691"/>
                  </a:cubicBezTo>
                  <a:cubicBezTo>
                    <a:pt x="1187857" y="981543"/>
                    <a:pt x="1175518" y="988461"/>
                    <a:pt x="1163381" y="992444"/>
                  </a:cubicBezTo>
                  <a:lnTo>
                    <a:pt x="1296809" y="1166774"/>
                  </a:lnTo>
                  <a:lnTo>
                    <a:pt x="1206017" y="1166774"/>
                  </a:lnTo>
                  <a:lnTo>
                    <a:pt x="1088357" y="1007059"/>
                  </a:lnTo>
                  <a:lnTo>
                    <a:pt x="1035901" y="1007059"/>
                  </a:lnTo>
                  <a:lnTo>
                    <a:pt x="1035901" y="1166774"/>
                  </a:lnTo>
                  <a:lnTo>
                    <a:pt x="960996" y="1166774"/>
                  </a:lnTo>
                  <a:lnTo>
                    <a:pt x="960996" y="740129"/>
                  </a:lnTo>
                  <a:cubicBezTo>
                    <a:pt x="969849" y="740114"/>
                    <a:pt x="983682" y="740008"/>
                    <a:pt x="1002493" y="739813"/>
                  </a:cubicBezTo>
                  <a:cubicBezTo>
                    <a:pt x="1021304" y="739618"/>
                    <a:pt x="1039473" y="739422"/>
                    <a:pt x="1057001" y="739227"/>
                  </a:cubicBezTo>
                  <a:cubicBezTo>
                    <a:pt x="1074528" y="739031"/>
                    <a:pt x="1085793" y="738926"/>
                    <a:pt x="1090796" y="738911"/>
                  </a:cubicBezTo>
                  <a:close/>
                  <a:moveTo>
                    <a:pt x="3453153" y="733425"/>
                  </a:moveTo>
                  <a:cubicBezTo>
                    <a:pt x="3479585" y="733577"/>
                    <a:pt x="3503263" y="737687"/>
                    <a:pt x="3524184" y="745755"/>
                  </a:cubicBezTo>
                  <a:cubicBezTo>
                    <a:pt x="3545106" y="753824"/>
                    <a:pt x="3562063" y="764937"/>
                    <a:pt x="3575054" y="779095"/>
                  </a:cubicBezTo>
                  <a:lnTo>
                    <a:pt x="3534859" y="835158"/>
                  </a:lnTo>
                  <a:cubicBezTo>
                    <a:pt x="3524785" y="825034"/>
                    <a:pt x="3513865" y="817234"/>
                    <a:pt x="3502101" y="811760"/>
                  </a:cubicBezTo>
                  <a:cubicBezTo>
                    <a:pt x="3490337" y="806285"/>
                    <a:pt x="3476055" y="803516"/>
                    <a:pt x="3459253" y="803452"/>
                  </a:cubicBezTo>
                  <a:cubicBezTo>
                    <a:pt x="3440483" y="803656"/>
                    <a:pt x="3425867" y="807974"/>
                    <a:pt x="3415409" y="816409"/>
                  </a:cubicBezTo>
                  <a:cubicBezTo>
                    <a:pt x="3404949" y="824844"/>
                    <a:pt x="3399637" y="836175"/>
                    <a:pt x="3399472" y="850402"/>
                  </a:cubicBezTo>
                  <a:cubicBezTo>
                    <a:pt x="3400479" y="871760"/>
                    <a:pt x="3410543" y="888077"/>
                    <a:pt x="3429667" y="899354"/>
                  </a:cubicBezTo>
                  <a:cubicBezTo>
                    <a:pt x="3448789" y="910632"/>
                    <a:pt x="3470932" y="921347"/>
                    <a:pt x="3496094" y="931500"/>
                  </a:cubicBezTo>
                  <a:cubicBezTo>
                    <a:pt x="3521255" y="941653"/>
                    <a:pt x="3543398" y="955722"/>
                    <a:pt x="3562521" y="973707"/>
                  </a:cubicBezTo>
                  <a:cubicBezTo>
                    <a:pt x="3581644" y="991691"/>
                    <a:pt x="3591709" y="1018070"/>
                    <a:pt x="3592715" y="1052842"/>
                  </a:cubicBezTo>
                  <a:cubicBezTo>
                    <a:pt x="3591766" y="1089335"/>
                    <a:pt x="3577983" y="1118431"/>
                    <a:pt x="3551365" y="1140132"/>
                  </a:cubicBezTo>
                  <a:cubicBezTo>
                    <a:pt x="3524749" y="1161832"/>
                    <a:pt x="3490994" y="1172948"/>
                    <a:pt x="3450103" y="1173480"/>
                  </a:cubicBezTo>
                  <a:cubicBezTo>
                    <a:pt x="3431482" y="1173453"/>
                    <a:pt x="3412824" y="1170867"/>
                    <a:pt x="3394128" y="1165721"/>
                  </a:cubicBezTo>
                  <a:cubicBezTo>
                    <a:pt x="3375432" y="1160575"/>
                    <a:pt x="3358635" y="1153028"/>
                    <a:pt x="3343736" y="1143078"/>
                  </a:cubicBezTo>
                  <a:cubicBezTo>
                    <a:pt x="3328838" y="1133128"/>
                    <a:pt x="3317775" y="1120934"/>
                    <a:pt x="3310547" y="1106496"/>
                  </a:cubicBezTo>
                  <a:lnTo>
                    <a:pt x="3353187" y="1055281"/>
                  </a:lnTo>
                  <a:cubicBezTo>
                    <a:pt x="3366141" y="1071427"/>
                    <a:pt x="3381501" y="1083495"/>
                    <a:pt x="3399265" y="1091485"/>
                  </a:cubicBezTo>
                  <a:cubicBezTo>
                    <a:pt x="3417031" y="1099476"/>
                    <a:pt x="3434383" y="1103465"/>
                    <a:pt x="3451323" y="1103452"/>
                  </a:cubicBezTo>
                  <a:cubicBezTo>
                    <a:pt x="3469395" y="1103388"/>
                    <a:pt x="3484187" y="1099095"/>
                    <a:pt x="3495701" y="1090571"/>
                  </a:cubicBezTo>
                  <a:cubicBezTo>
                    <a:pt x="3507215" y="1082047"/>
                    <a:pt x="3513162" y="1069674"/>
                    <a:pt x="3513543" y="1053452"/>
                  </a:cubicBezTo>
                  <a:cubicBezTo>
                    <a:pt x="3512537" y="1033104"/>
                    <a:pt x="3502472" y="1017244"/>
                    <a:pt x="3483349" y="1005872"/>
                  </a:cubicBezTo>
                  <a:cubicBezTo>
                    <a:pt x="3464227" y="994499"/>
                    <a:pt x="3442083" y="983479"/>
                    <a:pt x="3416922" y="972811"/>
                  </a:cubicBezTo>
                  <a:cubicBezTo>
                    <a:pt x="3391760" y="962144"/>
                    <a:pt x="3369617" y="947694"/>
                    <a:pt x="3350495" y="929461"/>
                  </a:cubicBezTo>
                  <a:cubicBezTo>
                    <a:pt x="3331371" y="911229"/>
                    <a:pt x="3321307" y="885079"/>
                    <a:pt x="3320300" y="851012"/>
                  </a:cubicBezTo>
                  <a:cubicBezTo>
                    <a:pt x="3320653" y="818112"/>
                    <a:pt x="3332431" y="790514"/>
                    <a:pt x="3355634" y="768218"/>
                  </a:cubicBezTo>
                  <a:cubicBezTo>
                    <a:pt x="3378837" y="745922"/>
                    <a:pt x="3411343" y="734324"/>
                    <a:pt x="3453153" y="733425"/>
                  </a:cubicBezTo>
                  <a:close/>
                  <a:moveTo>
                    <a:pt x="2046502" y="733425"/>
                  </a:moveTo>
                  <a:cubicBezTo>
                    <a:pt x="2089177" y="733679"/>
                    <a:pt x="2127191" y="742848"/>
                    <a:pt x="2160548" y="760929"/>
                  </a:cubicBezTo>
                  <a:cubicBezTo>
                    <a:pt x="2193903" y="779011"/>
                    <a:pt x="2220213" y="804477"/>
                    <a:pt x="2239477" y="837329"/>
                  </a:cubicBezTo>
                  <a:cubicBezTo>
                    <a:pt x="2258741" y="870180"/>
                    <a:pt x="2268571" y="908888"/>
                    <a:pt x="2268969" y="953451"/>
                  </a:cubicBezTo>
                  <a:cubicBezTo>
                    <a:pt x="2268571" y="996480"/>
                    <a:pt x="2258741" y="1034465"/>
                    <a:pt x="2239477" y="1067407"/>
                  </a:cubicBezTo>
                  <a:cubicBezTo>
                    <a:pt x="2220213" y="1100348"/>
                    <a:pt x="2193903" y="1126176"/>
                    <a:pt x="2160548" y="1144891"/>
                  </a:cubicBezTo>
                  <a:cubicBezTo>
                    <a:pt x="2127191" y="1163605"/>
                    <a:pt x="2089177" y="1173135"/>
                    <a:pt x="2046502" y="1173480"/>
                  </a:cubicBezTo>
                  <a:cubicBezTo>
                    <a:pt x="2003835" y="1173225"/>
                    <a:pt x="1965873" y="1164057"/>
                    <a:pt x="1932615" y="1145975"/>
                  </a:cubicBezTo>
                  <a:cubicBezTo>
                    <a:pt x="1899357" y="1127893"/>
                    <a:pt x="1873146" y="1102426"/>
                    <a:pt x="1853980" y="1069575"/>
                  </a:cubicBezTo>
                  <a:cubicBezTo>
                    <a:pt x="1834815" y="1036723"/>
                    <a:pt x="1825037" y="998015"/>
                    <a:pt x="1824647" y="953451"/>
                  </a:cubicBezTo>
                  <a:cubicBezTo>
                    <a:pt x="1824958" y="911767"/>
                    <a:pt x="1834420" y="874414"/>
                    <a:pt x="1853032" y="841394"/>
                  </a:cubicBezTo>
                  <a:cubicBezTo>
                    <a:pt x="1871644" y="808373"/>
                    <a:pt x="1897539" y="782229"/>
                    <a:pt x="1930718" y="762962"/>
                  </a:cubicBezTo>
                  <a:cubicBezTo>
                    <a:pt x="1963897" y="743694"/>
                    <a:pt x="2002491" y="733849"/>
                    <a:pt x="2046502" y="733425"/>
                  </a:cubicBezTo>
                  <a:close/>
                  <a:moveTo>
                    <a:pt x="655852" y="733425"/>
                  </a:moveTo>
                  <a:cubicBezTo>
                    <a:pt x="698527" y="733679"/>
                    <a:pt x="736542" y="742848"/>
                    <a:pt x="769897" y="760929"/>
                  </a:cubicBezTo>
                  <a:cubicBezTo>
                    <a:pt x="803253" y="779011"/>
                    <a:pt x="829563" y="804477"/>
                    <a:pt x="848827" y="837329"/>
                  </a:cubicBezTo>
                  <a:cubicBezTo>
                    <a:pt x="868090" y="870180"/>
                    <a:pt x="877921" y="908888"/>
                    <a:pt x="878319" y="953451"/>
                  </a:cubicBezTo>
                  <a:cubicBezTo>
                    <a:pt x="877921" y="996480"/>
                    <a:pt x="868090" y="1034465"/>
                    <a:pt x="848827" y="1067407"/>
                  </a:cubicBezTo>
                  <a:cubicBezTo>
                    <a:pt x="829563" y="1100348"/>
                    <a:pt x="803253" y="1126176"/>
                    <a:pt x="769897" y="1144891"/>
                  </a:cubicBezTo>
                  <a:cubicBezTo>
                    <a:pt x="736541" y="1163605"/>
                    <a:pt x="698527" y="1173135"/>
                    <a:pt x="655852" y="1173480"/>
                  </a:cubicBezTo>
                  <a:cubicBezTo>
                    <a:pt x="613185" y="1173225"/>
                    <a:pt x="575223" y="1164057"/>
                    <a:pt x="541965" y="1145975"/>
                  </a:cubicBezTo>
                  <a:cubicBezTo>
                    <a:pt x="508708" y="1127893"/>
                    <a:pt x="482496" y="1102426"/>
                    <a:pt x="463331" y="1069575"/>
                  </a:cubicBezTo>
                  <a:cubicBezTo>
                    <a:pt x="444165" y="1036723"/>
                    <a:pt x="434387" y="998015"/>
                    <a:pt x="433997" y="953451"/>
                  </a:cubicBezTo>
                  <a:cubicBezTo>
                    <a:pt x="434308" y="911767"/>
                    <a:pt x="443770" y="874414"/>
                    <a:pt x="462382" y="841394"/>
                  </a:cubicBezTo>
                  <a:cubicBezTo>
                    <a:pt x="480994" y="808373"/>
                    <a:pt x="506890" y="782229"/>
                    <a:pt x="540068" y="762962"/>
                  </a:cubicBezTo>
                  <a:cubicBezTo>
                    <a:pt x="573247" y="743694"/>
                    <a:pt x="611842" y="733849"/>
                    <a:pt x="655852" y="733425"/>
                  </a:cubicBezTo>
                  <a:close/>
                  <a:moveTo>
                    <a:pt x="4516137" y="75514"/>
                  </a:moveTo>
                  <a:cubicBezTo>
                    <a:pt x="4509122" y="75526"/>
                    <a:pt x="4501345" y="75654"/>
                    <a:pt x="4492805" y="75895"/>
                  </a:cubicBezTo>
                  <a:cubicBezTo>
                    <a:pt x="4484267" y="76136"/>
                    <a:pt x="4474965" y="76416"/>
                    <a:pt x="4464900" y="76734"/>
                  </a:cubicBezTo>
                  <a:lnTo>
                    <a:pt x="4464900" y="203606"/>
                  </a:lnTo>
                  <a:lnTo>
                    <a:pt x="4513697" y="203606"/>
                  </a:lnTo>
                  <a:cubicBezTo>
                    <a:pt x="4536049" y="203606"/>
                    <a:pt x="4555085" y="198116"/>
                    <a:pt x="4570803" y="187137"/>
                  </a:cubicBezTo>
                  <a:cubicBezTo>
                    <a:pt x="4586523" y="176158"/>
                    <a:pt x="4594733" y="159689"/>
                    <a:pt x="4595431" y="137730"/>
                  </a:cubicBezTo>
                  <a:cubicBezTo>
                    <a:pt x="4595939" y="120460"/>
                    <a:pt x="4590347" y="105898"/>
                    <a:pt x="4578657" y="94041"/>
                  </a:cubicBezTo>
                  <a:cubicBezTo>
                    <a:pt x="4566966" y="82185"/>
                    <a:pt x="4546126" y="76009"/>
                    <a:pt x="4516137" y="75514"/>
                  </a:cubicBezTo>
                  <a:close/>
                  <a:moveTo>
                    <a:pt x="2430162" y="75514"/>
                  </a:moveTo>
                  <a:cubicBezTo>
                    <a:pt x="2423147" y="75526"/>
                    <a:pt x="2415370" y="75654"/>
                    <a:pt x="2406831" y="75895"/>
                  </a:cubicBezTo>
                  <a:cubicBezTo>
                    <a:pt x="2398292" y="76136"/>
                    <a:pt x="2388990" y="76416"/>
                    <a:pt x="2378926" y="76734"/>
                  </a:cubicBezTo>
                  <a:lnTo>
                    <a:pt x="2378926" y="203606"/>
                  </a:lnTo>
                  <a:lnTo>
                    <a:pt x="2427722" y="203606"/>
                  </a:lnTo>
                  <a:cubicBezTo>
                    <a:pt x="2450074" y="203606"/>
                    <a:pt x="2469110" y="198116"/>
                    <a:pt x="2484829" y="187137"/>
                  </a:cubicBezTo>
                  <a:cubicBezTo>
                    <a:pt x="2500548" y="176158"/>
                    <a:pt x="2508757" y="159689"/>
                    <a:pt x="2509456" y="137730"/>
                  </a:cubicBezTo>
                  <a:cubicBezTo>
                    <a:pt x="2509965" y="120460"/>
                    <a:pt x="2504373" y="105898"/>
                    <a:pt x="2492682" y="94041"/>
                  </a:cubicBezTo>
                  <a:cubicBezTo>
                    <a:pt x="2480991" y="82185"/>
                    <a:pt x="2460151" y="76009"/>
                    <a:pt x="2430162" y="75514"/>
                  </a:cubicBezTo>
                  <a:close/>
                  <a:moveTo>
                    <a:pt x="1998877" y="70027"/>
                  </a:moveTo>
                  <a:cubicBezTo>
                    <a:pt x="1957185" y="70751"/>
                    <a:pt x="1923191" y="84699"/>
                    <a:pt x="1896895" y="111871"/>
                  </a:cubicBezTo>
                  <a:cubicBezTo>
                    <a:pt x="1870599" y="139043"/>
                    <a:pt x="1857032" y="175095"/>
                    <a:pt x="1856194" y="220026"/>
                  </a:cubicBezTo>
                  <a:cubicBezTo>
                    <a:pt x="1857146" y="263624"/>
                    <a:pt x="1870942" y="299295"/>
                    <a:pt x="1897581" y="327039"/>
                  </a:cubicBezTo>
                  <a:cubicBezTo>
                    <a:pt x="1924220" y="354783"/>
                    <a:pt x="1957985" y="369112"/>
                    <a:pt x="1998877" y="370027"/>
                  </a:cubicBezTo>
                  <a:cubicBezTo>
                    <a:pt x="2044063" y="369036"/>
                    <a:pt x="2079150" y="354554"/>
                    <a:pt x="2104138" y="326581"/>
                  </a:cubicBezTo>
                  <a:cubicBezTo>
                    <a:pt x="2129126" y="298609"/>
                    <a:pt x="2141804" y="263090"/>
                    <a:pt x="2142172" y="220026"/>
                  </a:cubicBezTo>
                  <a:cubicBezTo>
                    <a:pt x="2141232" y="175095"/>
                    <a:pt x="2127410" y="139043"/>
                    <a:pt x="2100708" y="111871"/>
                  </a:cubicBezTo>
                  <a:cubicBezTo>
                    <a:pt x="2074005" y="84699"/>
                    <a:pt x="2040061" y="70751"/>
                    <a:pt x="1998877" y="70027"/>
                  </a:cubicBezTo>
                  <a:close/>
                  <a:moveTo>
                    <a:pt x="5162587" y="7315"/>
                  </a:moveTo>
                  <a:lnTo>
                    <a:pt x="5247931" y="7315"/>
                  </a:lnTo>
                  <a:lnTo>
                    <a:pt x="5353961" y="185639"/>
                  </a:lnTo>
                  <a:lnTo>
                    <a:pt x="5458777" y="7315"/>
                  </a:lnTo>
                  <a:lnTo>
                    <a:pt x="5539853" y="7315"/>
                  </a:lnTo>
                  <a:lnTo>
                    <a:pt x="5388063" y="255631"/>
                  </a:lnTo>
                  <a:lnTo>
                    <a:pt x="5388063" y="433349"/>
                  </a:lnTo>
                  <a:lnTo>
                    <a:pt x="5313159" y="433349"/>
                  </a:lnTo>
                  <a:lnTo>
                    <a:pt x="5313159" y="255631"/>
                  </a:lnTo>
                  <a:close/>
                  <a:moveTo>
                    <a:pt x="4037571" y="7315"/>
                  </a:moveTo>
                  <a:lnTo>
                    <a:pt x="4284383" y="7315"/>
                  </a:lnTo>
                  <a:lnTo>
                    <a:pt x="4284383" y="77343"/>
                  </a:lnTo>
                  <a:lnTo>
                    <a:pt x="4112475" y="77343"/>
                  </a:lnTo>
                  <a:lnTo>
                    <a:pt x="4112475" y="182880"/>
                  </a:lnTo>
                  <a:lnTo>
                    <a:pt x="4266095" y="182880"/>
                  </a:lnTo>
                  <a:lnTo>
                    <a:pt x="4266095" y="252907"/>
                  </a:lnTo>
                  <a:lnTo>
                    <a:pt x="4112475" y="252907"/>
                  </a:lnTo>
                  <a:lnTo>
                    <a:pt x="4112475" y="363321"/>
                  </a:lnTo>
                  <a:lnTo>
                    <a:pt x="4290479" y="363321"/>
                  </a:lnTo>
                  <a:lnTo>
                    <a:pt x="4290479" y="433349"/>
                  </a:lnTo>
                  <a:lnTo>
                    <a:pt x="4037571" y="433349"/>
                  </a:lnTo>
                  <a:close/>
                  <a:moveTo>
                    <a:pt x="3551796" y="7315"/>
                  </a:moveTo>
                  <a:lnTo>
                    <a:pt x="3611472" y="7315"/>
                  </a:lnTo>
                  <a:lnTo>
                    <a:pt x="3846233" y="303712"/>
                  </a:lnTo>
                  <a:lnTo>
                    <a:pt x="3846233" y="7315"/>
                  </a:lnTo>
                  <a:lnTo>
                    <a:pt x="3916261" y="7315"/>
                  </a:lnTo>
                  <a:lnTo>
                    <a:pt x="3916261" y="433349"/>
                  </a:lnTo>
                  <a:lnTo>
                    <a:pt x="3856585" y="433349"/>
                  </a:lnTo>
                  <a:lnTo>
                    <a:pt x="3621823" y="138167"/>
                  </a:lnTo>
                  <a:lnTo>
                    <a:pt x="3621823" y="433349"/>
                  </a:lnTo>
                  <a:lnTo>
                    <a:pt x="3551796" y="433349"/>
                  </a:lnTo>
                  <a:close/>
                  <a:moveTo>
                    <a:pt x="3199371" y="7315"/>
                  </a:moveTo>
                  <a:lnTo>
                    <a:pt x="3446183" y="7315"/>
                  </a:lnTo>
                  <a:lnTo>
                    <a:pt x="3446183" y="77343"/>
                  </a:lnTo>
                  <a:lnTo>
                    <a:pt x="3274275" y="77343"/>
                  </a:lnTo>
                  <a:lnTo>
                    <a:pt x="3274275" y="182880"/>
                  </a:lnTo>
                  <a:lnTo>
                    <a:pt x="3427895" y="182880"/>
                  </a:lnTo>
                  <a:lnTo>
                    <a:pt x="3427895" y="252907"/>
                  </a:lnTo>
                  <a:lnTo>
                    <a:pt x="3274275" y="252907"/>
                  </a:lnTo>
                  <a:lnTo>
                    <a:pt x="3274275" y="363321"/>
                  </a:lnTo>
                  <a:lnTo>
                    <a:pt x="3452279" y="363321"/>
                  </a:lnTo>
                  <a:lnTo>
                    <a:pt x="3452279" y="433349"/>
                  </a:lnTo>
                  <a:lnTo>
                    <a:pt x="3199371" y="433349"/>
                  </a:lnTo>
                  <a:close/>
                  <a:moveTo>
                    <a:pt x="2704071" y="7315"/>
                  </a:moveTo>
                  <a:lnTo>
                    <a:pt x="2950883" y="7315"/>
                  </a:lnTo>
                  <a:lnTo>
                    <a:pt x="2950883" y="77343"/>
                  </a:lnTo>
                  <a:lnTo>
                    <a:pt x="2778975" y="77343"/>
                  </a:lnTo>
                  <a:lnTo>
                    <a:pt x="2778975" y="182880"/>
                  </a:lnTo>
                  <a:lnTo>
                    <a:pt x="2932595" y="182880"/>
                  </a:lnTo>
                  <a:lnTo>
                    <a:pt x="2932595" y="252907"/>
                  </a:lnTo>
                  <a:lnTo>
                    <a:pt x="2778975" y="252907"/>
                  </a:lnTo>
                  <a:lnTo>
                    <a:pt x="2778975" y="363321"/>
                  </a:lnTo>
                  <a:lnTo>
                    <a:pt x="2956979" y="363321"/>
                  </a:lnTo>
                  <a:lnTo>
                    <a:pt x="2956979" y="433349"/>
                  </a:lnTo>
                  <a:lnTo>
                    <a:pt x="2704071" y="433349"/>
                  </a:lnTo>
                  <a:close/>
                  <a:moveTo>
                    <a:pt x="1412786" y="7315"/>
                  </a:moveTo>
                  <a:lnTo>
                    <a:pt x="1764449" y="7315"/>
                  </a:lnTo>
                  <a:lnTo>
                    <a:pt x="1764449" y="77343"/>
                  </a:lnTo>
                  <a:lnTo>
                    <a:pt x="1626070" y="77343"/>
                  </a:lnTo>
                  <a:lnTo>
                    <a:pt x="1626070" y="433349"/>
                  </a:lnTo>
                  <a:lnTo>
                    <a:pt x="1551165" y="433349"/>
                  </a:lnTo>
                  <a:lnTo>
                    <a:pt x="1551165" y="77343"/>
                  </a:lnTo>
                  <a:lnTo>
                    <a:pt x="1412786" y="77343"/>
                  </a:lnTo>
                  <a:close/>
                  <a:moveTo>
                    <a:pt x="656196" y="7315"/>
                  </a:moveTo>
                  <a:lnTo>
                    <a:pt x="903008" y="7315"/>
                  </a:lnTo>
                  <a:lnTo>
                    <a:pt x="903008" y="77343"/>
                  </a:lnTo>
                  <a:lnTo>
                    <a:pt x="731101" y="77343"/>
                  </a:lnTo>
                  <a:lnTo>
                    <a:pt x="731101" y="182880"/>
                  </a:lnTo>
                  <a:lnTo>
                    <a:pt x="884720" y="182880"/>
                  </a:lnTo>
                  <a:lnTo>
                    <a:pt x="884720" y="252907"/>
                  </a:lnTo>
                  <a:lnTo>
                    <a:pt x="731101" y="252907"/>
                  </a:lnTo>
                  <a:lnTo>
                    <a:pt x="731101" y="363321"/>
                  </a:lnTo>
                  <a:lnTo>
                    <a:pt x="909104" y="363321"/>
                  </a:lnTo>
                  <a:lnTo>
                    <a:pt x="909104" y="433349"/>
                  </a:lnTo>
                  <a:lnTo>
                    <a:pt x="656196" y="433349"/>
                  </a:lnTo>
                  <a:close/>
                  <a:moveTo>
                    <a:pt x="0" y="7315"/>
                  </a:moveTo>
                  <a:lnTo>
                    <a:pt x="84125" y="7315"/>
                  </a:lnTo>
                  <a:lnTo>
                    <a:pt x="170078" y="311016"/>
                  </a:lnTo>
                  <a:lnTo>
                    <a:pt x="265176" y="7315"/>
                  </a:lnTo>
                  <a:lnTo>
                    <a:pt x="339547" y="7315"/>
                  </a:lnTo>
                  <a:lnTo>
                    <a:pt x="437083" y="311624"/>
                  </a:lnTo>
                  <a:lnTo>
                    <a:pt x="522427" y="7315"/>
                  </a:lnTo>
                  <a:lnTo>
                    <a:pt x="594360" y="7315"/>
                  </a:lnTo>
                  <a:lnTo>
                    <a:pt x="472440" y="433349"/>
                  </a:lnTo>
                  <a:lnTo>
                    <a:pt x="402336" y="433349"/>
                  </a:lnTo>
                  <a:lnTo>
                    <a:pt x="299313" y="125386"/>
                  </a:lnTo>
                  <a:lnTo>
                    <a:pt x="198120" y="433349"/>
                  </a:lnTo>
                  <a:lnTo>
                    <a:pt x="127406" y="433349"/>
                  </a:lnTo>
                  <a:close/>
                  <a:moveTo>
                    <a:pt x="4519796" y="5486"/>
                  </a:moveTo>
                  <a:cubicBezTo>
                    <a:pt x="4577189" y="6359"/>
                    <a:pt x="4617544" y="19075"/>
                    <a:pt x="4640863" y="43634"/>
                  </a:cubicBezTo>
                  <a:cubicBezTo>
                    <a:pt x="4664184" y="68192"/>
                    <a:pt x="4675429" y="99354"/>
                    <a:pt x="4674603" y="137120"/>
                  </a:cubicBezTo>
                  <a:cubicBezTo>
                    <a:pt x="4674242" y="161439"/>
                    <a:pt x="4669753" y="181913"/>
                    <a:pt x="4661137" y="198543"/>
                  </a:cubicBezTo>
                  <a:cubicBezTo>
                    <a:pt x="4652520" y="215173"/>
                    <a:pt x="4641941" y="228414"/>
                    <a:pt x="4629399" y="238266"/>
                  </a:cubicBezTo>
                  <a:cubicBezTo>
                    <a:pt x="4616857" y="248118"/>
                    <a:pt x="4604517" y="255035"/>
                    <a:pt x="4592381" y="259019"/>
                  </a:cubicBezTo>
                  <a:lnTo>
                    <a:pt x="4725809" y="433349"/>
                  </a:lnTo>
                  <a:lnTo>
                    <a:pt x="4635017" y="433349"/>
                  </a:lnTo>
                  <a:lnTo>
                    <a:pt x="4517356" y="273634"/>
                  </a:lnTo>
                  <a:lnTo>
                    <a:pt x="4464900" y="273634"/>
                  </a:lnTo>
                  <a:lnTo>
                    <a:pt x="4464900" y="433349"/>
                  </a:lnTo>
                  <a:lnTo>
                    <a:pt x="4389996" y="433349"/>
                  </a:lnTo>
                  <a:lnTo>
                    <a:pt x="4389996" y="6704"/>
                  </a:lnTo>
                  <a:cubicBezTo>
                    <a:pt x="4398849" y="6689"/>
                    <a:pt x="4412681" y="6583"/>
                    <a:pt x="4431492" y="6388"/>
                  </a:cubicBezTo>
                  <a:cubicBezTo>
                    <a:pt x="4450303" y="6193"/>
                    <a:pt x="4468473" y="5997"/>
                    <a:pt x="4486001" y="5802"/>
                  </a:cubicBezTo>
                  <a:cubicBezTo>
                    <a:pt x="4503528" y="5606"/>
                    <a:pt x="4514793" y="5501"/>
                    <a:pt x="4519796" y="5486"/>
                  </a:cubicBezTo>
                  <a:close/>
                  <a:moveTo>
                    <a:pt x="2433822" y="5486"/>
                  </a:moveTo>
                  <a:cubicBezTo>
                    <a:pt x="2491214" y="6359"/>
                    <a:pt x="2531570" y="19075"/>
                    <a:pt x="2554889" y="43634"/>
                  </a:cubicBezTo>
                  <a:cubicBezTo>
                    <a:pt x="2578209" y="68192"/>
                    <a:pt x="2589455" y="99354"/>
                    <a:pt x="2588628" y="137120"/>
                  </a:cubicBezTo>
                  <a:cubicBezTo>
                    <a:pt x="2588267" y="161439"/>
                    <a:pt x="2583778" y="181913"/>
                    <a:pt x="2575162" y="198543"/>
                  </a:cubicBezTo>
                  <a:cubicBezTo>
                    <a:pt x="2566545" y="215173"/>
                    <a:pt x="2555966" y="228414"/>
                    <a:pt x="2543424" y="238266"/>
                  </a:cubicBezTo>
                  <a:cubicBezTo>
                    <a:pt x="2530882" y="248118"/>
                    <a:pt x="2518543" y="255035"/>
                    <a:pt x="2506406" y="259019"/>
                  </a:cubicBezTo>
                  <a:lnTo>
                    <a:pt x="2639834" y="433349"/>
                  </a:lnTo>
                  <a:lnTo>
                    <a:pt x="2549042" y="433349"/>
                  </a:lnTo>
                  <a:lnTo>
                    <a:pt x="2431382" y="273634"/>
                  </a:lnTo>
                  <a:lnTo>
                    <a:pt x="2378926" y="273634"/>
                  </a:lnTo>
                  <a:lnTo>
                    <a:pt x="2378926" y="433349"/>
                  </a:lnTo>
                  <a:lnTo>
                    <a:pt x="2304021" y="433349"/>
                  </a:lnTo>
                  <a:lnTo>
                    <a:pt x="2304021" y="6704"/>
                  </a:lnTo>
                  <a:cubicBezTo>
                    <a:pt x="2312875" y="6689"/>
                    <a:pt x="2326707" y="6583"/>
                    <a:pt x="2345518" y="6388"/>
                  </a:cubicBezTo>
                  <a:cubicBezTo>
                    <a:pt x="2364329" y="6193"/>
                    <a:pt x="2382498" y="5997"/>
                    <a:pt x="2400025" y="5802"/>
                  </a:cubicBezTo>
                  <a:cubicBezTo>
                    <a:pt x="2417553" y="5606"/>
                    <a:pt x="2428818" y="5501"/>
                    <a:pt x="2433822" y="5486"/>
                  </a:cubicBezTo>
                  <a:close/>
                  <a:moveTo>
                    <a:pt x="4952013" y="0"/>
                  </a:moveTo>
                  <a:cubicBezTo>
                    <a:pt x="4982237" y="88"/>
                    <a:pt x="5008381" y="3869"/>
                    <a:pt x="5030441" y="11341"/>
                  </a:cubicBezTo>
                  <a:cubicBezTo>
                    <a:pt x="5052502" y="18813"/>
                    <a:pt x="5072077" y="29444"/>
                    <a:pt x="5089165" y="43234"/>
                  </a:cubicBezTo>
                  <a:lnTo>
                    <a:pt x="5057501" y="102965"/>
                  </a:lnTo>
                  <a:cubicBezTo>
                    <a:pt x="5046477" y="92787"/>
                    <a:pt x="5032403" y="84781"/>
                    <a:pt x="5015279" y="78948"/>
                  </a:cubicBezTo>
                  <a:cubicBezTo>
                    <a:pt x="4998154" y="73115"/>
                    <a:pt x="4980115" y="70142"/>
                    <a:pt x="4961161" y="70027"/>
                  </a:cubicBezTo>
                  <a:cubicBezTo>
                    <a:pt x="4919199" y="70333"/>
                    <a:pt x="4885127" y="83446"/>
                    <a:pt x="4858943" y="109366"/>
                  </a:cubicBezTo>
                  <a:cubicBezTo>
                    <a:pt x="4832760" y="135286"/>
                    <a:pt x="4819269" y="172180"/>
                    <a:pt x="4818469" y="220047"/>
                  </a:cubicBezTo>
                  <a:cubicBezTo>
                    <a:pt x="4819079" y="266022"/>
                    <a:pt x="4832341" y="302369"/>
                    <a:pt x="4858257" y="329088"/>
                  </a:cubicBezTo>
                  <a:cubicBezTo>
                    <a:pt x="4884174" y="355806"/>
                    <a:pt x="4919085" y="369453"/>
                    <a:pt x="4962990" y="370027"/>
                  </a:cubicBezTo>
                  <a:cubicBezTo>
                    <a:pt x="4980089" y="369760"/>
                    <a:pt x="4996960" y="366786"/>
                    <a:pt x="5013603" y="361104"/>
                  </a:cubicBezTo>
                  <a:cubicBezTo>
                    <a:pt x="5030245" y="355423"/>
                    <a:pt x="5042848" y="348636"/>
                    <a:pt x="5051411" y="340743"/>
                  </a:cubicBezTo>
                  <a:lnTo>
                    <a:pt x="5051411" y="273634"/>
                  </a:lnTo>
                  <a:lnTo>
                    <a:pt x="4948355" y="273634"/>
                  </a:lnTo>
                  <a:lnTo>
                    <a:pt x="4948355" y="203606"/>
                  </a:lnTo>
                  <a:lnTo>
                    <a:pt x="5121439" y="203606"/>
                  </a:lnTo>
                  <a:lnTo>
                    <a:pt x="5121439" y="380378"/>
                  </a:lnTo>
                  <a:cubicBezTo>
                    <a:pt x="5101585" y="399382"/>
                    <a:pt x="5076885" y="414048"/>
                    <a:pt x="5047341" y="424374"/>
                  </a:cubicBezTo>
                  <a:cubicBezTo>
                    <a:pt x="5017797" y="434701"/>
                    <a:pt x="4989274" y="439928"/>
                    <a:pt x="4961769" y="440055"/>
                  </a:cubicBezTo>
                  <a:cubicBezTo>
                    <a:pt x="4891407" y="439194"/>
                    <a:pt x="4836872" y="419138"/>
                    <a:pt x="4798167" y="379887"/>
                  </a:cubicBezTo>
                  <a:cubicBezTo>
                    <a:pt x="4759463" y="340637"/>
                    <a:pt x="4739839" y="287357"/>
                    <a:pt x="4739297" y="220047"/>
                  </a:cubicBezTo>
                  <a:cubicBezTo>
                    <a:pt x="4739506" y="178743"/>
                    <a:pt x="4748223" y="141568"/>
                    <a:pt x="4765447" y="108522"/>
                  </a:cubicBezTo>
                  <a:cubicBezTo>
                    <a:pt x="4782669" y="75475"/>
                    <a:pt x="4807143" y="49238"/>
                    <a:pt x="4838866" y="29811"/>
                  </a:cubicBezTo>
                  <a:cubicBezTo>
                    <a:pt x="4870589" y="10383"/>
                    <a:pt x="4908305" y="446"/>
                    <a:pt x="4952013" y="0"/>
                  </a:cubicBezTo>
                  <a:close/>
                  <a:moveTo>
                    <a:pt x="1998877" y="0"/>
                  </a:moveTo>
                  <a:cubicBezTo>
                    <a:pt x="2041552" y="254"/>
                    <a:pt x="2079566" y="9423"/>
                    <a:pt x="2112922" y="27504"/>
                  </a:cubicBezTo>
                  <a:cubicBezTo>
                    <a:pt x="2146278" y="45586"/>
                    <a:pt x="2172588" y="71052"/>
                    <a:pt x="2191852" y="103904"/>
                  </a:cubicBezTo>
                  <a:cubicBezTo>
                    <a:pt x="2211115" y="136755"/>
                    <a:pt x="2220946" y="175462"/>
                    <a:pt x="2221344" y="220026"/>
                  </a:cubicBezTo>
                  <a:cubicBezTo>
                    <a:pt x="2220946" y="263054"/>
                    <a:pt x="2211115" y="301039"/>
                    <a:pt x="2191852" y="333981"/>
                  </a:cubicBezTo>
                  <a:cubicBezTo>
                    <a:pt x="2172588" y="366923"/>
                    <a:pt x="2146278" y="392751"/>
                    <a:pt x="2112922" y="411466"/>
                  </a:cubicBezTo>
                  <a:cubicBezTo>
                    <a:pt x="2079566" y="430180"/>
                    <a:pt x="2041552" y="439709"/>
                    <a:pt x="1998877" y="440055"/>
                  </a:cubicBezTo>
                  <a:cubicBezTo>
                    <a:pt x="1956210" y="439800"/>
                    <a:pt x="1918248" y="430631"/>
                    <a:pt x="1884990" y="412550"/>
                  </a:cubicBezTo>
                  <a:cubicBezTo>
                    <a:pt x="1851733" y="394468"/>
                    <a:pt x="1825521" y="369001"/>
                    <a:pt x="1806355" y="336149"/>
                  </a:cubicBezTo>
                  <a:cubicBezTo>
                    <a:pt x="1787190" y="303298"/>
                    <a:pt x="1777412" y="264590"/>
                    <a:pt x="1777022" y="220026"/>
                  </a:cubicBezTo>
                  <a:cubicBezTo>
                    <a:pt x="1777333" y="178342"/>
                    <a:pt x="1786795" y="140989"/>
                    <a:pt x="1805407" y="107969"/>
                  </a:cubicBezTo>
                  <a:cubicBezTo>
                    <a:pt x="1824019" y="74948"/>
                    <a:pt x="1849914" y="48804"/>
                    <a:pt x="1883093" y="29537"/>
                  </a:cubicBezTo>
                  <a:cubicBezTo>
                    <a:pt x="1916272" y="10269"/>
                    <a:pt x="1954866" y="424"/>
                    <a:pt x="1998877" y="0"/>
                  </a:cubicBezTo>
                  <a:close/>
                  <a:moveTo>
                    <a:pt x="1243353" y="0"/>
                  </a:moveTo>
                  <a:cubicBezTo>
                    <a:pt x="1269785" y="152"/>
                    <a:pt x="1293462" y="4262"/>
                    <a:pt x="1314384" y="12330"/>
                  </a:cubicBezTo>
                  <a:cubicBezTo>
                    <a:pt x="1335307" y="20399"/>
                    <a:pt x="1352263" y="31512"/>
                    <a:pt x="1365254" y="45670"/>
                  </a:cubicBezTo>
                  <a:lnTo>
                    <a:pt x="1325059" y="101733"/>
                  </a:lnTo>
                  <a:cubicBezTo>
                    <a:pt x="1314985" y="91609"/>
                    <a:pt x="1304066" y="83809"/>
                    <a:pt x="1292301" y="78334"/>
                  </a:cubicBezTo>
                  <a:cubicBezTo>
                    <a:pt x="1280537" y="72860"/>
                    <a:pt x="1266254" y="70091"/>
                    <a:pt x="1249453" y="70027"/>
                  </a:cubicBezTo>
                  <a:cubicBezTo>
                    <a:pt x="1230682" y="70231"/>
                    <a:pt x="1216068" y="74549"/>
                    <a:pt x="1205609" y="82984"/>
                  </a:cubicBezTo>
                  <a:cubicBezTo>
                    <a:pt x="1195149" y="91418"/>
                    <a:pt x="1189837" y="102750"/>
                    <a:pt x="1189672" y="116977"/>
                  </a:cubicBezTo>
                  <a:cubicBezTo>
                    <a:pt x="1190679" y="138335"/>
                    <a:pt x="1200744" y="154652"/>
                    <a:pt x="1219867" y="165929"/>
                  </a:cubicBezTo>
                  <a:cubicBezTo>
                    <a:pt x="1238990" y="177207"/>
                    <a:pt x="1261132" y="187922"/>
                    <a:pt x="1286294" y="198075"/>
                  </a:cubicBezTo>
                  <a:cubicBezTo>
                    <a:pt x="1311456" y="208228"/>
                    <a:pt x="1333598" y="222297"/>
                    <a:pt x="1352721" y="240282"/>
                  </a:cubicBezTo>
                  <a:cubicBezTo>
                    <a:pt x="1371844" y="258266"/>
                    <a:pt x="1381909" y="284645"/>
                    <a:pt x="1382915" y="319417"/>
                  </a:cubicBezTo>
                  <a:cubicBezTo>
                    <a:pt x="1381966" y="355910"/>
                    <a:pt x="1368183" y="385006"/>
                    <a:pt x="1341566" y="406707"/>
                  </a:cubicBezTo>
                  <a:cubicBezTo>
                    <a:pt x="1314949" y="428407"/>
                    <a:pt x="1281195" y="439523"/>
                    <a:pt x="1240303" y="440055"/>
                  </a:cubicBezTo>
                  <a:cubicBezTo>
                    <a:pt x="1221682" y="440028"/>
                    <a:pt x="1203024" y="437442"/>
                    <a:pt x="1184328" y="432296"/>
                  </a:cubicBezTo>
                  <a:cubicBezTo>
                    <a:pt x="1165632" y="427150"/>
                    <a:pt x="1148835" y="419602"/>
                    <a:pt x="1133937" y="409653"/>
                  </a:cubicBezTo>
                  <a:cubicBezTo>
                    <a:pt x="1119038" y="399703"/>
                    <a:pt x="1107975" y="387509"/>
                    <a:pt x="1100747" y="373071"/>
                  </a:cubicBezTo>
                  <a:lnTo>
                    <a:pt x="1143387" y="321856"/>
                  </a:lnTo>
                  <a:cubicBezTo>
                    <a:pt x="1156342" y="338002"/>
                    <a:pt x="1171701" y="350070"/>
                    <a:pt x="1189466" y="358060"/>
                  </a:cubicBezTo>
                  <a:cubicBezTo>
                    <a:pt x="1207231" y="366051"/>
                    <a:pt x="1224583" y="370039"/>
                    <a:pt x="1241523" y="370027"/>
                  </a:cubicBezTo>
                  <a:cubicBezTo>
                    <a:pt x="1259595" y="369963"/>
                    <a:pt x="1274387" y="365670"/>
                    <a:pt x="1285901" y="357146"/>
                  </a:cubicBezTo>
                  <a:cubicBezTo>
                    <a:pt x="1297415" y="348622"/>
                    <a:pt x="1303362" y="336249"/>
                    <a:pt x="1303743" y="320027"/>
                  </a:cubicBezTo>
                  <a:cubicBezTo>
                    <a:pt x="1302737" y="299679"/>
                    <a:pt x="1292672" y="283819"/>
                    <a:pt x="1273549" y="272446"/>
                  </a:cubicBezTo>
                  <a:cubicBezTo>
                    <a:pt x="1254426" y="261074"/>
                    <a:pt x="1232284" y="250054"/>
                    <a:pt x="1207122" y="239386"/>
                  </a:cubicBezTo>
                  <a:cubicBezTo>
                    <a:pt x="1181960" y="228718"/>
                    <a:pt x="1159818" y="214269"/>
                    <a:pt x="1140695" y="196036"/>
                  </a:cubicBezTo>
                  <a:cubicBezTo>
                    <a:pt x="1121572" y="177804"/>
                    <a:pt x="1111507" y="151654"/>
                    <a:pt x="1110500" y="117587"/>
                  </a:cubicBezTo>
                  <a:cubicBezTo>
                    <a:pt x="1110854" y="84687"/>
                    <a:pt x="1122632" y="57089"/>
                    <a:pt x="1145834" y="34793"/>
                  </a:cubicBezTo>
                  <a:cubicBezTo>
                    <a:pt x="1169037" y="12497"/>
                    <a:pt x="1201543" y="899"/>
                    <a:pt x="124335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</p:spTree>
    <p:extLst>
      <p:ext uri="{BB962C8B-B14F-4D97-AF65-F5344CB8AC3E}">
        <p14:creationId xmlns:p14="http://schemas.microsoft.com/office/powerpoint/2010/main" val="4125120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11B0B0D-912A-DDC2-EAA1-F9CCEF312D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78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лілінія: фігура 2">
            <a:extLst>
              <a:ext uri="{FF2B5EF4-FFF2-40B4-BE49-F238E27FC236}">
                <a16:creationId xmlns:a16="http://schemas.microsoft.com/office/drawing/2014/main" id="{2BE174A3-1E51-964C-116D-6CEC518FB66E}"/>
              </a:ext>
            </a:extLst>
          </p:cNvPr>
          <p:cNvSpPr/>
          <p:nvPr/>
        </p:nvSpPr>
        <p:spPr>
          <a:xfrm>
            <a:off x="5522702" y="1581539"/>
            <a:ext cx="5881363" cy="1976952"/>
          </a:xfrm>
          <a:custGeom>
            <a:avLst/>
            <a:gdLst/>
            <a:ahLst/>
            <a:cxnLst/>
            <a:rect l="l" t="t" r="r" b="b"/>
            <a:pathLst>
              <a:path w="5881363" h="1976952">
                <a:moveTo>
                  <a:pt x="5017581" y="1688001"/>
                </a:moveTo>
                <a:cubicBezTo>
                  <a:pt x="5012255" y="1688011"/>
                  <a:pt x="5005412" y="1688106"/>
                  <a:pt x="4997055" y="1688287"/>
                </a:cubicBezTo>
                <a:cubicBezTo>
                  <a:pt x="4988697" y="1688469"/>
                  <a:pt x="4980597" y="1688678"/>
                  <a:pt x="4972755" y="1688917"/>
                </a:cubicBezTo>
                <a:lnTo>
                  <a:pt x="4972755" y="1807845"/>
                </a:lnTo>
                <a:lnTo>
                  <a:pt x="5019869" y="1807845"/>
                </a:lnTo>
                <a:cubicBezTo>
                  <a:pt x="5039109" y="1807683"/>
                  <a:pt x="5055861" y="1802289"/>
                  <a:pt x="5070127" y="1791664"/>
                </a:cubicBezTo>
                <a:cubicBezTo>
                  <a:pt x="5084393" y="1781038"/>
                  <a:pt x="5091883" y="1766153"/>
                  <a:pt x="5092599" y="1747008"/>
                </a:cubicBezTo>
                <a:cubicBezTo>
                  <a:pt x="5093017" y="1730141"/>
                  <a:pt x="5087605" y="1716190"/>
                  <a:pt x="5076360" y="1705155"/>
                </a:cubicBezTo>
                <a:cubicBezTo>
                  <a:pt x="5065115" y="1694119"/>
                  <a:pt x="5045521" y="1688401"/>
                  <a:pt x="5017581" y="1688001"/>
                </a:cubicBezTo>
                <a:close/>
                <a:moveTo>
                  <a:pt x="2874456" y="1688001"/>
                </a:moveTo>
                <a:cubicBezTo>
                  <a:pt x="2869129" y="1688011"/>
                  <a:pt x="2862287" y="1688106"/>
                  <a:pt x="2853930" y="1688287"/>
                </a:cubicBezTo>
                <a:cubicBezTo>
                  <a:pt x="2845572" y="1688469"/>
                  <a:pt x="2837472" y="1688678"/>
                  <a:pt x="2829630" y="1688917"/>
                </a:cubicBezTo>
                <a:lnTo>
                  <a:pt x="2829630" y="1807845"/>
                </a:lnTo>
                <a:lnTo>
                  <a:pt x="2876743" y="1807845"/>
                </a:lnTo>
                <a:cubicBezTo>
                  <a:pt x="2895983" y="1807683"/>
                  <a:pt x="2912737" y="1802289"/>
                  <a:pt x="2927002" y="1791664"/>
                </a:cubicBezTo>
                <a:cubicBezTo>
                  <a:pt x="2941268" y="1781038"/>
                  <a:pt x="2948758" y="1766153"/>
                  <a:pt x="2949473" y="1747008"/>
                </a:cubicBezTo>
                <a:cubicBezTo>
                  <a:pt x="2949892" y="1730141"/>
                  <a:pt x="2944479" y="1716190"/>
                  <a:pt x="2933235" y="1705155"/>
                </a:cubicBezTo>
                <a:cubicBezTo>
                  <a:pt x="2921989" y="1694119"/>
                  <a:pt x="2902397" y="1688401"/>
                  <a:pt x="2874456" y="1688001"/>
                </a:cubicBezTo>
                <a:close/>
                <a:moveTo>
                  <a:pt x="1354116" y="1688001"/>
                </a:moveTo>
                <a:cubicBezTo>
                  <a:pt x="1347436" y="1688011"/>
                  <a:pt x="1339641" y="1688107"/>
                  <a:pt x="1330731" y="1688288"/>
                </a:cubicBezTo>
                <a:cubicBezTo>
                  <a:pt x="1321820" y="1688470"/>
                  <a:pt x="1313454" y="1688680"/>
                  <a:pt x="1305630" y="1688920"/>
                </a:cubicBezTo>
                <a:lnTo>
                  <a:pt x="1305630" y="1812865"/>
                </a:lnTo>
                <a:cubicBezTo>
                  <a:pt x="1313377" y="1813563"/>
                  <a:pt x="1321096" y="1814118"/>
                  <a:pt x="1328786" y="1814529"/>
                </a:cubicBezTo>
                <a:cubicBezTo>
                  <a:pt x="1336477" y="1814940"/>
                  <a:pt x="1344310" y="1815150"/>
                  <a:pt x="1352286" y="1815160"/>
                </a:cubicBezTo>
                <a:cubicBezTo>
                  <a:pt x="1376043" y="1814988"/>
                  <a:pt x="1394511" y="1809250"/>
                  <a:pt x="1407690" y="1797945"/>
                </a:cubicBezTo>
                <a:cubicBezTo>
                  <a:pt x="1420870" y="1786641"/>
                  <a:pt x="1427559" y="1770804"/>
                  <a:pt x="1427759" y="1750433"/>
                </a:cubicBezTo>
                <a:cubicBezTo>
                  <a:pt x="1427864" y="1731162"/>
                  <a:pt x="1421937" y="1715994"/>
                  <a:pt x="1409978" y="1704929"/>
                </a:cubicBezTo>
                <a:cubicBezTo>
                  <a:pt x="1398018" y="1693864"/>
                  <a:pt x="1379398" y="1688221"/>
                  <a:pt x="1354116" y="1688001"/>
                </a:cubicBezTo>
                <a:close/>
                <a:moveTo>
                  <a:pt x="693231" y="1688001"/>
                </a:moveTo>
                <a:cubicBezTo>
                  <a:pt x="687905" y="1688011"/>
                  <a:pt x="681062" y="1688106"/>
                  <a:pt x="672705" y="1688287"/>
                </a:cubicBezTo>
                <a:cubicBezTo>
                  <a:pt x="664348" y="1688469"/>
                  <a:pt x="656248" y="1688678"/>
                  <a:pt x="648405" y="1688917"/>
                </a:cubicBezTo>
                <a:lnTo>
                  <a:pt x="648405" y="1807845"/>
                </a:lnTo>
                <a:lnTo>
                  <a:pt x="695519" y="1807845"/>
                </a:lnTo>
                <a:cubicBezTo>
                  <a:pt x="714759" y="1807683"/>
                  <a:pt x="731512" y="1802289"/>
                  <a:pt x="745777" y="1791664"/>
                </a:cubicBezTo>
                <a:cubicBezTo>
                  <a:pt x="760043" y="1781038"/>
                  <a:pt x="767534" y="1766153"/>
                  <a:pt x="768248" y="1747008"/>
                </a:cubicBezTo>
                <a:cubicBezTo>
                  <a:pt x="768668" y="1730141"/>
                  <a:pt x="763255" y="1716190"/>
                  <a:pt x="752010" y="1705155"/>
                </a:cubicBezTo>
                <a:cubicBezTo>
                  <a:pt x="740765" y="1694119"/>
                  <a:pt x="721172" y="1688401"/>
                  <a:pt x="693231" y="1688001"/>
                </a:cubicBezTo>
                <a:close/>
                <a:moveTo>
                  <a:pt x="1033395" y="1684344"/>
                </a:moveTo>
                <a:cubicBezTo>
                  <a:pt x="997897" y="1685020"/>
                  <a:pt x="968858" y="1697043"/>
                  <a:pt x="946278" y="1720413"/>
                </a:cubicBezTo>
                <a:cubicBezTo>
                  <a:pt x="923699" y="1743782"/>
                  <a:pt x="912038" y="1774441"/>
                  <a:pt x="911295" y="1812387"/>
                </a:cubicBezTo>
                <a:cubicBezTo>
                  <a:pt x="911532" y="1836859"/>
                  <a:pt x="917002" y="1858697"/>
                  <a:pt x="927707" y="1877901"/>
                </a:cubicBezTo>
                <a:cubicBezTo>
                  <a:pt x="938411" y="1897105"/>
                  <a:pt x="952926" y="1912269"/>
                  <a:pt x="971252" y="1923394"/>
                </a:cubicBezTo>
                <a:cubicBezTo>
                  <a:pt x="989579" y="1934519"/>
                  <a:pt x="1010293" y="1940198"/>
                  <a:pt x="1033395" y="1940433"/>
                </a:cubicBezTo>
                <a:cubicBezTo>
                  <a:pt x="1057937" y="1940190"/>
                  <a:pt x="1079329" y="1934477"/>
                  <a:pt x="1097570" y="1923292"/>
                </a:cubicBezTo>
                <a:cubicBezTo>
                  <a:pt x="1115812" y="1912108"/>
                  <a:pt x="1129989" y="1896910"/>
                  <a:pt x="1140100" y="1877697"/>
                </a:cubicBezTo>
                <a:cubicBezTo>
                  <a:pt x="1150212" y="1858485"/>
                  <a:pt x="1155344" y="1836715"/>
                  <a:pt x="1155497" y="1812387"/>
                </a:cubicBezTo>
                <a:cubicBezTo>
                  <a:pt x="1155260" y="1787340"/>
                  <a:pt x="1149789" y="1765232"/>
                  <a:pt x="1139084" y="1746062"/>
                </a:cubicBezTo>
                <a:cubicBezTo>
                  <a:pt x="1128380" y="1726892"/>
                  <a:pt x="1113864" y="1711863"/>
                  <a:pt x="1095538" y="1700976"/>
                </a:cubicBezTo>
                <a:cubicBezTo>
                  <a:pt x="1077212" y="1690088"/>
                  <a:pt x="1056498" y="1684544"/>
                  <a:pt x="1033395" y="1684344"/>
                </a:cubicBezTo>
                <a:close/>
                <a:moveTo>
                  <a:pt x="5614415" y="1652397"/>
                </a:moveTo>
                <a:lnTo>
                  <a:pt x="5659221" y="1652397"/>
                </a:lnTo>
                <a:lnTo>
                  <a:pt x="5748801" y="1798675"/>
                </a:lnTo>
                <a:lnTo>
                  <a:pt x="5838843" y="1652397"/>
                </a:lnTo>
                <a:lnTo>
                  <a:pt x="5881363" y="1652397"/>
                </a:lnTo>
                <a:lnTo>
                  <a:pt x="5766606" y="1835245"/>
                </a:lnTo>
                <a:lnTo>
                  <a:pt x="5766606" y="1972380"/>
                </a:lnTo>
                <a:lnTo>
                  <a:pt x="5727801" y="1972380"/>
                </a:lnTo>
                <a:lnTo>
                  <a:pt x="5727801" y="1835245"/>
                </a:lnTo>
                <a:close/>
                <a:moveTo>
                  <a:pt x="5338191" y="1652397"/>
                </a:moveTo>
                <a:lnTo>
                  <a:pt x="5601023" y="1652397"/>
                </a:lnTo>
                <a:lnTo>
                  <a:pt x="5601023" y="1688916"/>
                </a:lnTo>
                <a:lnTo>
                  <a:pt x="5489009" y="1688916"/>
                </a:lnTo>
                <a:lnTo>
                  <a:pt x="5489009" y="1972380"/>
                </a:lnTo>
                <a:lnTo>
                  <a:pt x="5450205" y="1972380"/>
                </a:lnTo>
                <a:lnTo>
                  <a:pt x="5450205" y="1688916"/>
                </a:lnTo>
                <a:lnTo>
                  <a:pt x="5338191" y="1688916"/>
                </a:lnTo>
                <a:close/>
                <a:moveTo>
                  <a:pt x="5238369" y="1652397"/>
                </a:moveTo>
                <a:lnTo>
                  <a:pt x="5277173" y="1652397"/>
                </a:lnTo>
                <a:lnTo>
                  <a:pt x="5277173" y="1972380"/>
                </a:lnTo>
                <a:lnTo>
                  <a:pt x="5238369" y="1972380"/>
                </a:lnTo>
                <a:close/>
                <a:moveTo>
                  <a:pt x="4586478" y="1652397"/>
                </a:moveTo>
                <a:lnTo>
                  <a:pt x="4625283" y="1652397"/>
                </a:lnTo>
                <a:lnTo>
                  <a:pt x="4625283" y="1828419"/>
                </a:lnTo>
                <a:cubicBezTo>
                  <a:pt x="4625445" y="1863471"/>
                  <a:pt x="4633581" y="1890750"/>
                  <a:pt x="4649693" y="1910258"/>
                </a:cubicBezTo>
                <a:cubicBezTo>
                  <a:pt x="4665805" y="1929765"/>
                  <a:pt x="4688920" y="1939671"/>
                  <a:pt x="4719039" y="1939976"/>
                </a:cubicBezTo>
                <a:cubicBezTo>
                  <a:pt x="4745593" y="1939985"/>
                  <a:pt x="4766345" y="1930936"/>
                  <a:pt x="4781294" y="1912829"/>
                </a:cubicBezTo>
                <a:cubicBezTo>
                  <a:pt x="4796244" y="1894722"/>
                  <a:pt x="4803847" y="1867500"/>
                  <a:pt x="4804105" y="1831162"/>
                </a:cubicBezTo>
                <a:lnTo>
                  <a:pt x="4804105" y="1652397"/>
                </a:lnTo>
                <a:lnTo>
                  <a:pt x="4842909" y="1652397"/>
                </a:lnTo>
                <a:lnTo>
                  <a:pt x="4842909" y="1838934"/>
                </a:lnTo>
                <a:cubicBezTo>
                  <a:pt x="4842591" y="1871434"/>
                  <a:pt x="4836731" y="1897817"/>
                  <a:pt x="4825328" y="1918083"/>
                </a:cubicBezTo>
                <a:cubicBezTo>
                  <a:pt x="4813926" y="1938349"/>
                  <a:pt x="4798889" y="1953179"/>
                  <a:pt x="4780221" y="1962573"/>
                </a:cubicBezTo>
                <a:cubicBezTo>
                  <a:pt x="4761551" y="1971968"/>
                  <a:pt x="4741157" y="1976608"/>
                  <a:pt x="4719039" y="1976494"/>
                </a:cubicBezTo>
                <a:cubicBezTo>
                  <a:pt x="4679901" y="1976487"/>
                  <a:pt x="4648202" y="1964743"/>
                  <a:pt x="4623945" y="1941261"/>
                </a:cubicBezTo>
                <a:cubicBezTo>
                  <a:pt x="4599688" y="1917780"/>
                  <a:pt x="4587199" y="1882604"/>
                  <a:pt x="4586478" y="1835734"/>
                </a:cubicBezTo>
                <a:close/>
                <a:moveTo>
                  <a:pt x="4029075" y="1652397"/>
                </a:moveTo>
                <a:lnTo>
                  <a:pt x="4209611" y="1652397"/>
                </a:lnTo>
                <a:lnTo>
                  <a:pt x="4209611" y="1688916"/>
                </a:lnTo>
                <a:lnTo>
                  <a:pt x="4067879" y="1688916"/>
                </a:lnTo>
                <a:lnTo>
                  <a:pt x="4067879" y="1792300"/>
                </a:lnTo>
                <a:lnTo>
                  <a:pt x="4195895" y="1792300"/>
                </a:lnTo>
                <a:lnTo>
                  <a:pt x="4195895" y="1828819"/>
                </a:lnTo>
                <a:lnTo>
                  <a:pt x="4067879" y="1828819"/>
                </a:lnTo>
                <a:lnTo>
                  <a:pt x="4067879" y="1935861"/>
                </a:lnTo>
                <a:lnTo>
                  <a:pt x="4214183" y="1935861"/>
                </a:lnTo>
                <a:lnTo>
                  <a:pt x="4214183" y="1972380"/>
                </a:lnTo>
                <a:lnTo>
                  <a:pt x="4029075" y="1972380"/>
                </a:lnTo>
                <a:close/>
                <a:moveTo>
                  <a:pt x="3366516" y="1652397"/>
                </a:moveTo>
                <a:lnTo>
                  <a:pt x="3411321" y="1652397"/>
                </a:lnTo>
                <a:lnTo>
                  <a:pt x="3500902" y="1798675"/>
                </a:lnTo>
                <a:lnTo>
                  <a:pt x="3590944" y="1652397"/>
                </a:lnTo>
                <a:lnTo>
                  <a:pt x="3633463" y="1652397"/>
                </a:lnTo>
                <a:lnTo>
                  <a:pt x="3518706" y="1835245"/>
                </a:lnTo>
                <a:lnTo>
                  <a:pt x="3518706" y="1972380"/>
                </a:lnTo>
                <a:lnTo>
                  <a:pt x="3479901" y="1972380"/>
                </a:lnTo>
                <a:lnTo>
                  <a:pt x="3479901" y="1835245"/>
                </a:lnTo>
                <a:close/>
                <a:moveTo>
                  <a:pt x="2524125" y="1652397"/>
                </a:moveTo>
                <a:lnTo>
                  <a:pt x="2704662" y="1652397"/>
                </a:lnTo>
                <a:lnTo>
                  <a:pt x="2704662" y="1688916"/>
                </a:lnTo>
                <a:lnTo>
                  <a:pt x="2562930" y="1688916"/>
                </a:lnTo>
                <a:lnTo>
                  <a:pt x="2562930" y="1792300"/>
                </a:lnTo>
                <a:lnTo>
                  <a:pt x="2690946" y="1792300"/>
                </a:lnTo>
                <a:lnTo>
                  <a:pt x="2690946" y="1828819"/>
                </a:lnTo>
                <a:lnTo>
                  <a:pt x="2562930" y="1828819"/>
                </a:lnTo>
                <a:lnTo>
                  <a:pt x="2562930" y="1935861"/>
                </a:lnTo>
                <a:lnTo>
                  <a:pt x="2709234" y="1935861"/>
                </a:lnTo>
                <a:lnTo>
                  <a:pt x="2709234" y="1972380"/>
                </a:lnTo>
                <a:lnTo>
                  <a:pt x="2524125" y="1972380"/>
                </a:lnTo>
                <a:close/>
                <a:moveTo>
                  <a:pt x="2162175" y="1652397"/>
                </a:moveTo>
                <a:lnTo>
                  <a:pt x="2193216" y="1652397"/>
                </a:lnTo>
                <a:lnTo>
                  <a:pt x="2393061" y="1904726"/>
                </a:lnTo>
                <a:lnTo>
                  <a:pt x="2393061" y="1652397"/>
                </a:lnTo>
                <a:lnTo>
                  <a:pt x="2429580" y="1652397"/>
                </a:lnTo>
                <a:lnTo>
                  <a:pt x="2429580" y="1972380"/>
                </a:lnTo>
                <a:lnTo>
                  <a:pt x="2398539" y="1972380"/>
                </a:lnTo>
                <a:lnTo>
                  <a:pt x="2198694" y="1720966"/>
                </a:lnTo>
                <a:lnTo>
                  <a:pt x="2198694" y="1972380"/>
                </a:lnTo>
                <a:lnTo>
                  <a:pt x="2162175" y="1972380"/>
                </a:lnTo>
                <a:close/>
                <a:moveTo>
                  <a:pt x="1895475" y="1652397"/>
                </a:moveTo>
                <a:lnTo>
                  <a:pt x="2076012" y="1652397"/>
                </a:lnTo>
                <a:lnTo>
                  <a:pt x="2076012" y="1688916"/>
                </a:lnTo>
                <a:lnTo>
                  <a:pt x="1934280" y="1688916"/>
                </a:lnTo>
                <a:lnTo>
                  <a:pt x="1934280" y="1792300"/>
                </a:lnTo>
                <a:lnTo>
                  <a:pt x="2062296" y="1792300"/>
                </a:lnTo>
                <a:lnTo>
                  <a:pt x="2062296" y="1828819"/>
                </a:lnTo>
                <a:lnTo>
                  <a:pt x="1934280" y="1828819"/>
                </a:lnTo>
                <a:lnTo>
                  <a:pt x="1934280" y="1935861"/>
                </a:lnTo>
                <a:lnTo>
                  <a:pt x="2080584" y="1935861"/>
                </a:lnTo>
                <a:lnTo>
                  <a:pt x="2080584" y="1972380"/>
                </a:lnTo>
                <a:lnTo>
                  <a:pt x="1895475" y="1972380"/>
                </a:lnTo>
                <a:close/>
                <a:moveTo>
                  <a:pt x="1543050" y="1652397"/>
                </a:moveTo>
                <a:lnTo>
                  <a:pt x="1723587" y="1652397"/>
                </a:lnTo>
                <a:lnTo>
                  <a:pt x="1723587" y="1688916"/>
                </a:lnTo>
                <a:lnTo>
                  <a:pt x="1581855" y="1688916"/>
                </a:lnTo>
                <a:lnTo>
                  <a:pt x="1581855" y="1792300"/>
                </a:lnTo>
                <a:lnTo>
                  <a:pt x="1709871" y="1792300"/>
                </a:lnTo>
                <a:lnTo>
                  <a:pt x="1709871" y="1828819"/>
                </a:lnTo>
                <a:lnTo>
                  <a:pt x="1581855" y="1828819"/>
                </a:lnTo>
                <a:lnTo>
                  <a:pt x="1581855" y="1935861"/>
                </a:lnTo>
                <a:lnTo>
                  <a:pt x="1728159" y="1935861"/>
                </a:lnTo>
                <a:lnTo>
                  <a:pt x="1728159" y="1972380"/>
                </a:lnTo>
                <a:lnTo>
                  <a:pt x="1543050" y="1972380"/>
                </a:lnTo>
                <a:close/>
                <a:moveTo>
                  <a:pt x="262128" y="1652397"/>
                </a:moveTo>
                <a:lnTo>
                  <a:pt x="300933" y="1652397"/>
                </a:lnTo>
                <a:lnTo>
                  <a:pt x="300933" y="1828419"/>
                </a:lnTo>
                <a:cubicBezTo>
                  <a:pt x="301095" y="1863471"/>
                  <a:pt x="309232" y="1890750"/>
                  <a:pt x="325344" y="1910258"/>
                </a:cubicBezTo>
                <a:cubicBezTo>
                  <a:pt x="341455" y="1929765"/>
                  <a:pt x="364571" y="1939671"/>
                  <a:pt x="394689" y="1939976"/>
                </a:cubicBezTo>
                <a:cubicBezTo>
                  <a:pt x="421243" y="1939985"/>
                  <a:pt x="441996" y="1930936"/>
                  <a:pt x="456945" y="1912829"/>
                </a:cubicBezTo>
                <a:cubicBezTo>
                  <a:pt x="471894" y="1894722"/>
                  <a:pt x="479498" y="1867500"/>
                  <a:pt x="479755" y="1831162"/>
                </a:cubicBezTo>
                <a:lnTo>
                  <a:pt x="479755" y="1652397"/>
                </a:lnTo>
                <a:lnTo>
                  <a:pt x="518560" y="1652397"/>
                </a:lnTo>
                <a:lnTo>
                  <a:pt x="518560" y="1838934"/>
                </a:lnTo>
                <a:cubicBezTo>
                  <a:pt x="518242" y="1871434"/>
                  <a:pt x="512381" y="1897817"/>
                  <a:pt x="500979" y="1918083"/>
                </a:cubicBezTo>
                <a:cubicBezTo>
                  <a:pt x="489576" y="1938349"/>
                  <a:pt x="474540" y="1953179"/>
                  <a:pt x="455870" y="1962573"/>
                </a:cubicBezTo>
                <a:cubicBezTo>
                  <a:pt x="437201" y="1971968"/>
                  <a:pt x="416807" y="1976608"/>
                  <a:pt x="394689" y="1976494"/>
                </a:cubicBezTo>
                <a:cubicBezTo>
                  <a:pt x="355550" y="1976487"/>
                  <a:pt x="323853" y="1964743"/>
                  <a:pt x="299596" y="1941261"/>
                </a:cubicBezTo>
                <a:cubicBezTo>
                  <a:pt x="275338" y="1917780"/>
                  <a:pt x="262849" y="1882604"/>
                  <a:pt x="262128" y="1835734"/>
                </a:cubicBezTo>
                <a:close/>
                <a:moveTo>
                  <a:pt x="0" y="1652397"/>
                </a:moveTo>
                <a:lnTo>
                  <a:pt x="180537" y="1652397"/>
                </a:lnTo>
                <a:lnTo>
                  <a:pt x="180537" y="1688916"/>
                </a:lnTo>
                <a:lnTo>
                  <a:pt x="38805" y="1688916"/>
                </a:lnTo>
                <a:lnTo>
                  <a:pt x="38805" y="1792300"/>
                </a:lnTo>
                <a:lnTo>
                  <a:pt x="166821" y="1792300"/>
                </a:lnTo>
                <a:lnTo>
                  <a:pt x="166821" y="1828819"/>
                </a:lnTo>
                <a:lnTo>
                  <a:pt x="38805" y="1828819"/>
                </a:lnTo>
                <a:lnTo>
                  <a:pt x="38805" y="1935861"/>
                </a:lnTo>
                <a:lnTo>
                  <a:pt x="185109" y="1935861"/>
                </a:lnTo>
                <a:lnTo>
                  <a:pt x="185109" y="1972380"/>
                </a:lnTo>
                <a:lnTo>
                  <a:pt x="0" y="1972380"/>
                </a:lnTo>
                <a:close/>
                <a:moveTo>
                  <a:pt x="5019869" y="1651482"/>
                </a:moveTo>
                <a:cubicBezTo>
                  <a:pt x="5062823" y="1652213"/>
                  <a:pt x="5092710" y="1661597"/>
                  <a:pt x="5109531" y="1679634"/>
                </a:cubicBezTo>
                <a:cubicBezTo>
                  <a:pt x="5126352" y="1697670"/>
                  <a:pt x="5134405" y="1719976"/>
                  <a:pt x="5133689" y="1746551"/>
                </a:cubicBezTo>
                <a:cubicBezTo>
                  <a:pt x="5132996" y="1771565"/>
                  <a:pt x="5125821" y="1791740"/>
                  <a:pt x="5112167" y="1807079"/>
                </a:cubicBezTo>
                <a:cubicBezTo>
                  <a:pt x="5098512" y="1822417"/>
                  <a:pt x="5082535" y="1832411"/>
                  <a:pt x="5064238" y="1837060"/>
                </a:cubicBezTo>
                <a:lnTo>
                  <a:pt x="5170722" y="1972380"/>
                </a:lnTo>
                <a:lnTo>
                  <a:pt x="5123188" y="1972380"/>
                </a:lnTo>
                <a:lnTo>
                  <a:pt x="5024900" y="1844364"/>
                </a:lnTo>
                <a:lnTo>
                  <a:pt x="4972755" y="1844364"/>
                </a:lnTo>
                <a:lnTo>
                  <a:pt x="4972755" y="1972380"/>
                </a:lnTo>
                <a:lnTo>
                  <a:pt x="4933950" y="1972380"/>
                </a:lnTo>
                <a:lnTo>
                  <a:pt x="4933950" y="1652395"/>
                </a:lnTo>
                <a:cubicBezTo>
                  <a:pt x="4940446" y="1652384"/>
                  <a:pt x="4949831" y="1652305"/>
                  <a:pt x="4962105" y="1652158"/>
                </a:cubicBezTo>
                <a:cubicBezTo>
                  <a:pt x="4974379" y="1652012"/>
                  <a:pt x="4986171" y="1651866"/>
                  <a:pt x="4997484" y="1651719"/>
                </a:cubicBezTo>
                <a:cubicBezTo>
                  <a:pt x="5008796" y="1651573"/>
                  <a:pt x="5016257" y="1651494"/>
                  <a:pt x="5019869" y="1651482"/>
                </a:cubicBezTo>
                <a:close/>
                <a:moveTo>
                  <a:pt x="2876743" y="1651482"/>
                </a:moveTo>
                <a:cubicBezTo>
                  <a:pt x="2919697" y="1652213"/>
                  <a:pt x="2949585" y="1661597"/>
                  <a:pt x="2966406" y="1679634"/>
                </a:cubicBezTo>
                <a:cubicBezTo>
                  <a:pt x="2983227" y="1697670"/>
                  <a:pt x="2991280" y="1719976"/>
                  <a:pt x="2990564" y="1746551"/>
                </a:cubicBezTo>
                <a:cubicBezTo>
                  <a:pt x="2989871" y="1771565"/>
                  <a:pt x="2982697" y="1791740"/>
                  <a:pt x="2969042" y="1807079"/>
                </a:cubicBezTo>
                <a:cubicBezTo>
                  <a:pt x="2955387" y="1822417"/>
                  <a:pt x="2939410" y="1832411"/>
                  <a:pt x="2921113" y="1837060"/>
                </a:cubicBezTo>
                <a:lnTo>
                  <a:pt x="3027597" y="1972380"/>
                </a:lnTo>
                <a:lnTo>
                  <a:pt x="2980063" y="1972380"/>
                </a:lnTo>
                <a:lnTo>
                  <a:pt x="2881775" y="1844364"/>
                </a:lnTo>
                <a:lnTo>
                  <a:pt x="2829630" y="1844364"/>
                </a:lnTo>
                <a:lnTo>
                  <a:pt x="2829630" y="1972380"/>
                </a:lnTo>
                <a:lnTo>
                  <a:pt x="2790825" y="1972380"/>
                </a:lnTo>
                <a:lnTo>
                  <a:pt x="2790825" y="1652395"/>
                </a:lnTo>
                <a:cubicBezTo>
                  <a:pt x="2797321" y="1652384"/>
                  <a:pt x="2806706" y="1652305"/>
                  <a:pt x="2818980" y="1652158"/>
                </a:cubicBezTo>
                <a:cubicBezTo>
                  <a:pt x="2831254" y="1652012"/>
                  <a:pt x="2843047" y="1651866"/>
                  <a:pt x="2854359" y="1651719"/>
                </a:cubicBezTo>
                <a:cubicBezTo>
                  <a:pt x="2865671" y="1651573"/>
                  <a:pt x="2873133" y="1651494"/>
                  <a:pt x="2876743" y="1651482"/>
                </a:cubicBezTo>
                <a:close/>
                <a:moveTo>
                  <a:pt x="1350456" y="1651482"/>
                </a:moveTo>
                <a:cubicBezTo>
                  <a:pt x="1380710" y="1651783"/>
                  <a:pt x="1404491" y="1656668"/>
                  <a:pt x="1421798" y="1666136"/>
                </a:cubicBezTo>
                <a:cubicBezTo>
                  <a:pt x="1439106" y="1675604"/>
                  <a:pt x="1451333" y="1687852"/>
                  <a:pt x="1458479" y="1702881"/>
                </a:cubicBezTo>
                <a:cubicBezTo>
                  <a:pt x="1465625" y="1717909"/>
                  <a:pt x="1469082" y="1733912"/>
                  <a:pt x="1468850" y="1750892"/>
                </a:cubicBezTo>
                <a:cubicBezTo>
                  <a:pt x="1468876" y="1768611"/>
                  <a:pt x="1464715" y="1785074"/>
                  <a:pt x="1456366" y="1800281"/>
                </a:cubicBezTo>
                <a:cubicBezTo>
                  <a:pt x="1448016" y="1815487"/>
                  <a:pt x="1435322" y="1827787"/>
                  <a:pt x="1418283" y="1837178"/>
                </a:cubicBezTo>
                <a:cubicBezTo>
                  <a:pt x="1401244" y="1846570"/>
                  <a:pt x="1379702" y="1851404"/>
                  <a:pt x="1353658" y="1851679"/>
                </a:cubicBezTo>
                <a:cubicBezTo>
                  <a:pt x="1347055" y="1851688"/>
                  <a:pt x="1339450" y="1851555"/>
                  <a:pt x="1330845" y="1851279"/>
                </a:cubicBezTo>
                <a:cubicBezTo>
                  <a:pt x="1322240" y="1851004"/>
                  <a:pt x="1313835" y="1850528"/>
                  <a:pt x="1305630" y="1849853"/>
                </a:cubicBezTo>
                <a:lnTo>
                  <a:pt x="1305630" y="1972380"/>
                </a:lnTo>
                <a:lnTo>
                  <a:pt x="1266825" y="1972380"/>
                </a:lnTo>
                <a:lnTo>
                  <a:pt x="1266825" y="1652395"/>
                </a:lnTo>
                <a:cubicBezTo>
                  <a:pt x="1273090" y="1652384"/>
                  <a:pt x="1281464" y="1652305"/>
                  <a:pt x="1291948" y="1652158"/>
                </a:cubicBezTo>
                <a:cubicBezTo>
                  <a:pt x="1302432" y="1652012"/>
                  <a:pt x="1313044" y="1651866"/>
                  <a:pt x="1323786" y="1651719"/>
                </a:cubicBezTo>
                <a:cubicBezTo>
                  <a:pt x="1334528" y="1651573"/>
                  <a:pt x="1343418" y="1651494"/>
                  <a:pt x="1350456" y="1651482"/>
                </a:cubicBezTo>
                <a:close/>
                <a:moveTo>
                  <a:pt x="695519" y="1651482"/>
                </a:moveTo>
                <a:cubicBezTo>
                  <a:pt x="738472" y="1652213"/>
                  <a:pt x="768360" y="1661597"/>
                  <a:pt x="785181" y="1679634"/>
                </a:cubicBezTo>
                <a:cubicBezTo>
                  <a:pt x="802003" y="1697670"/>
                  <a:pt x="810055" y="1719976"/>
                  <a:pt x="809339" y="1746551"/>
                </a:cubicBezTo>
                <a:cubicBezTo>
                  <a:pt x="808646" y="1771565"/>
                  <a:pt x="801472" y="1791740"/>
                  <a:pt x="787817" y="1807079"/>
                </a:cubicBezTo>
                <a:cubicBezTo>
                  <a:pt x="774162" y="1822417"/>
                  <a:pt x="758186" y="1832411"/>
                  <a:pt x="739888" y="1837060"/>
                </a:cubicBezTo>
                <a:lnTo>
                  <a:pt x="846372" y="1972380"/>
                </a:lnTo>
                <a:lnTo>
                  <a:pt x="798838" y="1972380"/>
                </a:lnTo>
                <a:lnTo>
                  <a:pt x="700550" y="1844364"/>
                </a:lnTo>
                <a:lnTo>
                  <a:pt x="648405" y="1844364"/>
                </a:lnTo>
                <a:lnTo>
                  <a:pt x="648405" y="1972380"/>
                </a:lnTo>
                <a:lnTo>
                  <a:pt x="609600" y="1972380"/>
                </a:lnTo>
                <a:lnTo>
                  <a:pt x="609600" y="1652395"/>
                </a:lnTo>
                <a:cubicBezTo>
                  <a:pt x="616096" y="1652384"/>
                  <a:pt x="625482" y="1652305"/>
                  <a:pt x="637755" y="1652158"/>
                </a:cubicBezTo>
                <a:cubicBezTo>
                  <a:pt x="650029" y="1652012"/>
                  <a:pt x="661822" y="1651866"/>
                  <a:pt x="673134" y="1651719"/>
                </a:cubicBezTo>
                <a:cubicBezTo>
                  <a:pt x="684446" y="1651573"/>
                  <a:pt x="691908" y="1651494"/>
                  <a:pt x="695519" y="1651482"/>
                </a:cubicBezTo>
                <a:close/>
                <a:moveTo>
                  <a:pt x="4430134" y="1647825"/>
                </a:moveTo>
                <a:cubicBezTo>
                  <a:pt x="4450765" y="1647891"/>
                  <a:pt x="4469282" y="1650611"/>
                  <a:pt x="4485684" y="1655984"/>
                </a:cubicBezTo>
                <a:cubicBezTo>
                  <a:pt x="4502086" y="1661358"/>
                  <a:pt x="4516031" y="1668985"/>
                  <a:pt x="4527518" y="1678866"/>
                </a:cubicBezTo>
                <a:lnTo>
                  <a:pt x="4509687" y="1708122"/>
                </a:lnTo>
                <a:cubicBezTo>
                  <a:pt x="4499276" y="1700329"/>
                  <a:pt x="4487637" y="1694422"/>
                  <a:pt x="4474769" y="1690402"/>
                </a:cubicBezTo>
                <a:cubicBezTo>
                  <a:pt x="4461900" y="1686382"/>
                  <a:pt x="4447175" y="1684363"/>
                  <a:pt x="4430591" y="1684344"/>
                </a:cubicBezTo>
                <a:cubicBezTo>
                  <a:pt x="4395235" y="1684934"/>
                  <a:pt x="4366736" y="1696786"/>
                  <a:pt x="4345095" y="1719898"/>
                </a:cubicBezTo>
                <a:cubicBezTo>
                  <a:pt x="4323455" y="1743011"/>
                  <a:pt x="4312329" y="1773841"/>
                  <a:pt x="4311719" y="1812387"/>
                </a:cubicBezTo>
                <a:cubicBezTo>
                  <a:pt x="4312291" y="1851135"/>
                  <a:pt x="4323835" y="1882022"/>
                  <a:pt x="4346353" y="1905049"/>
                </a:cubicBezTo>
                <a:cubicBezTo>
                  <a:pt x="4368869" y="1928076"/>
                  <a:pt x="4398931" y="1939871"/>
                  <a:pt x="4436535" y="1940433"/>
                </a:cubicBezTo>
                <a:cubicBezTo>
                  <a:pt x="4451975" y="1940366"/>
                  <a:pt x="4466701" y="1937870"/>
                  <a:pt x="4480712" y="1932944"/>
                </a:cubicBezTo>
                <a:cubicBezTo>
                  <a:pt x="4494723" y="1928019"/>
                  <a:pt x="4507277" y="1921064"/>
                  <a:pt x="4518374" y="1912080"/>
                </a:cubicBezTo>
                <a:lnTo>
                  <a:pt x="4533919" y="1941346"/>
                </a:lnTo>
                <a:cubicBezTo>
                  <a:pt x="4522793" y="1952415"/>
                  <a:pt x="4508239" y="1961089"/>
                  <a:pt x="4490256" y="1967365"/>
                </a:cubicBezTo>
                <a:cubicBezTo>
                  <a:pt x="4472273" y="1973642"/>
                  <a:pt x="4453147" y="1976837"/>
                  <a:pt x="4432877" y="1976952"/>
                </a:cubicBezTo>
                <a:cubicBezTo>
                  <a:pt x="4384112" y="1976326"/>
                  <a:pt x="4345069" y="1961360"/>
                  <a:pt x="4315749" y="1932054"/>
                </a:cubicBezTo>
                <a:cubicBezTo>
                  <a:pt x="4286428" y="1902749"/>
                  <a:pt x="4271389" y="1862860"/>
                  <a:pt x="4270629" y="1812387"/>
                </a:cubicBezTo>
                <a:cubicBezTo>
                  <a:pt x="4270743" y="1781419"/>
                  <a:pt x="4277111" y="1753580"/>
                  <a:pt x="4289731" y="1728870"/>
                </a:cubicBezTo>
                <a:cubicBezTo>
                  <a:pt x="4302351" y="1704161"/>
                  <a:pt x="4320535" y="1684559"/>
                  <a:pt x="4344280" y="1670063"/>
                </a:cubicBezTo>
                <a:cubicBezTo>
                  <a:pt x="4368025" y="1655567"/>
                  <a:pt x="4396644" y="1648154"/>
                  <a:pt x="4430134" y="1647825"/>
                </a:cubicBezTo>
                <a:close/>
                <a:moveTo>
                  <a:pt x="3860491" y="1647825"/>
                </a:moveTo>
                <a:cubicBezTo>
                  <a:pt x="3879236" y="1647958"/>
                  <a:pt x="3896289" y="1651001"/>
                  <a:pt x="3911651" y="1656954"/>
                </a:cubicBezTo>
                <a:cubicBezTo>
                  <a:pt x="3927014" y="1662908"/>
                  <a:pt x="3939370" y="1670972"/>
                  <a:pt x="3948721" y="1681148"/>
                </a:cubicBezTo>
                <a:lnTo>
                  <a:pt x="3927719" y="1710409"/>
                </a:lnTo>
                <a:cubicBezTo>
                  <a:pt x="3919358" y="1701920"/>
                  <a:pt x="3909909" y="1695461"/>
                  <a:pt x="3899370" y="1691031"/>
                </a:cubicBezTo>
                <a:cubicBezTo>
                  <a:pt x="3888832" y="1686601"/>
                  <a:pt x="3876635" y="1684372"/>
                  <a:pt x="3862778" y="1684344"/>
                </a:cubicBezTo>
                <a:cubicBezTo>
                  <a:pt x="3844767" y="1684534"/>
                  <a:pt x="3830701" y="1688840"/>
                  <a:pt x="3820581" y="1697262"/>
                </a:cubicBezTo>
                <a:cubicBezTo>
                  <a:pt x="3810459" y="1705683"/>
                  <a:pt x="3805313" y="1717078"/>
                  <a:pt x="3805142" y="1731445"/>
                </a:cubicBezTo>
                <a:cubicBezTo>
                  <a:pt x="3805559" y="1746937"/>
                  <a:pt x="3810979" y="1759067"/>
                  <a:pt x="3821403" y="1767835"/>
                </a:cubicBezTo>
                <a:cubicBezTo>
                  <a:pt x="3831828" y="1776603"/>
                  <a:pt x="3844754" y="1783992"/>
                  <a:pt x="3860182" y="1790001"/>
                </a:cubicBezTo>
                <a:cubicBezTo>
                  <a:pt x="3875609" y="1796011"/>
                  <a:pt x="3891037" y="1802624"/>
                  <a:pt x="3906465" y="1809841"/>
                </a:cubicBezTo>
                <a:cubicBezTo>
                  <a:pt x="3921893" y="1817058"/>
                  <a:pt x="3934819" y="1826861"/>
                  <a:pt x="3945243" y="1839251"/>
                </a:cubicBezTo>
                <a:cubicBezTo>
                  <a:pt x="3955667" y="1851641"/>
                  <a:pt x="3961087" y="1868601"/>
                  <a:pt x="3961504" y="1890129"/>
                </a:cubicBezTo>
                <a:cubicBezTo>
                  <a:pt x="3960793" y="1916753"/>
                  <a:pt x="3950685" y="1937797"/>
                  <a:pt x="3931181" y="1953260"/>
                </a:cubicBezTo>
                <a:cubicBezTo>
                  <a:pt x="3911678" y="1968723"/>
                  <a:pt x="3887047" y="1976621"/>
                  <a:pt x="3857289" y="1976952"/>
                </a:cubicBezTo>
                <a:cubicBezTo>
                  <a:pt x="3836869" y="1976838"/>
                  <a:pt x="3817115" y="1972615"/>
                  <a:pt x="3798028" y="1964282"/>
                </a:cubicBezTo>
                <a:cubicBezTo>
                  <a:pt x="3778941" y="1955948"/>
                  <a:pt x="3765025" y="1944188"/>
                  <a:pt x="3756279" y="1929000"/>
                </a:cubicBezTo>
                <a:lnTo>
                  <a:pt x="3778661" y="1902476"/>
                </a:lnTo>
                <a:cubicBezTo>
                  <a:pt x="3788459" y="1914862"/>
                  <a:pt x="3800606" y="1924275"/>
                  <a:pt x="3815103" y="1930715"/>
                </a:cubicBezTo>
                <a:cubicBezTo>
                  <a:pt x="3829599" y="1937155"/>
                  <a:pt x="3843813" y="1940395"/>
                  <a:pt x="3857747" y="1940433"/>
                </a:cubicBezTo>
                <a:cubicBezTo>
                  <a:pt x="3874967" y="1940385"/>
                  <a:pt x="3889585" y="1936136"/>
                  <a:pt x="3901602" y="1927685"/>
                </a:cubicBezTo>
                <a:cubicBezTo>
                  <a:pt x="3913619" y="1919235"/>
                  <a:pt x="3919889" y="1906868"/>
                  <a:pt x="3920413" y="1890587"/>
                </a:cubicBezTo>
                <a:cubicBezTo>
                  <a:pt x="3919997" y="1875259"/>
                  <a:pt x="3914576" y="1863128"/>
                  <a:pt x="3904152" y="1854192"/>
                </a:cubicBezTo>
                <a:cubicBezTo>
                  <a:pt x="3893727" y="1845257"/>
                  <a:pt x="3880802" y="1837640"/>
                  <a:pt x="3865374" y="1831342"/>
                </a:cubicBezTo>
                <a:cubicBezTo>
                  <a:pt x="3849946" y="1825044"/>
                  <a:pt x="3834519" y="1818188"/>
                  <a:pt x="3819091" y="1810774"/>
                </a:cubicBezTo>
                <a:cubicBezTo>
                  <a:pt x="3803663" y="1803360"/>
                  <a:pt x="3790737" y="1793512"/>
                  <a:pt x="3780313" y="1781229"/>
                </a:cubicBezTo>
                <a:cubicBezTo>
                  <a:pt x="3769889" y="1768945"/>
                  <a:pt x="3764468" y="1752351"/>
                  <a:pt x="3764051" y="1731445"/>
                </a:cubicBezTo>
                <a:cubicBezTo>
                  <a:pt x="3764267" y="1707753"/>
                  <a:pt x="3772738" y="1688043"/>
                  <a:pt x="3789461" y="1672314"/>
                </a:cubicBezTo>
                <a:cubicBezTo>
                  <a:pt x="3806184" y="1656585"/>
                  <a:pt x="3829860" y="1648422"/>
                  <a:pt x="3860491" y="1647825"/>
                </a:cubicBezTo>
                <a:close/>
                <a:moveTo>
                  <a:pt x="3208680" y="1647825"/>
                </a:moveTo>
                <a:cubicBezTo>
                  <a:pt x="3230251" y="1647834"/>
                  <a:pt x="3249191" y="1650440"/>
                  <a:pt x="3265500" y="1655642"/>
                </a:cubicBezTo>
                <a:cubicBezTo>
                  <a:pt x="3281809" y="1660844"/>
                  <a:pt x="3296399" y="1668585"/>
                  <a:pt x="3309270" y="1678866"/>
                </a:cubicBezTo>
                <a:lnTo>
                  <a:pt x="3292371" y="1709958"/>
                </a:lnTo>
                <a:cubicBezTo>
                  <a:pt x="3282786" y="1701487"/>
                  <a:pt x="3271086" y="1695102"/>
                  <a:pt x="3257271" y="1690804"/>
                </a:cubicBezTo>
                <a:cubicBezTo>
                  <a:pt x="3243456" y="1686507"/>
                  <a:pt x="3228784" y="1684353"/>
                  <a:pt x="3213253" y="1684344"/>
                </a:cubicBezTo>
                <a:cubicBezTo>
                  <a:pt x="3177010" y="1684849"/>
                  <a:pt x="3147970" y="1696531"/>
                  <a:pt x="3126133" y="1719392"/>
                </a:cubicBezTo>
                <a:cubicBezTo>
                  <a:pt x="3104295" y="1742252"/>
                  <a:pt x="3093091" y="1773259"/>
                  <a:pt x="3092519" y="1812412"/>
                </a:cubicBezTo>
                <a:cubicBezTo>
                  <a:pt x="3093063" y="1851739"/>
                  <a:pt x="3104324" y="1882788"/>
                  <a:pt x="3126305" y="1905559"/>
                </a:cubicBezTo>
                <a:cubicBezTo>
                  <a:pt x="3148285" y="1928330"/>
                  <a:pt x="3177725" y="1939955"/>
                  <a:pt x="3214625" y="1940433"/>
                </a:cubicBezTo>
                <a:cubicBezTo>
                  <a:pt x="3230203" y="1940280"/>
                  <a:pt x="3245581" y="1937612"/>
                  <a:pt x="3260758" y="1932427"/>
                </a:cubicBezTo>
                <a:cubicBezTo>
                  <a:pt x="3275936" y="1927242"/>
                  <a:pt x="3287998" y="1920456"/>
                  <a:pt x="3296945" y="1912069"/>
                </a:cubicBezTo>
                <a:lnTo>
                  <a:pt x="3296945" y="1846192"/>
                </a:lnTo>
                <a:lnTo>
                  <a:pt x="3210509" y="1846192"/>
                </a:lnTo>
                <a:lnTo>
                  <a:pt x="3210509" y="1809674"/>
                </a:lnTo>
                <a:lnTo>
                  <a:pt x="3333464" y="1809674"/>
                </a:lnTo>
                <a:lnTo>
                  <a:pt x="3333464" y="1932656"/>
                </a:lnTo>
                <a:cubicBezTo>
                  <a:pt x="3318579" y="1946891"/>
                  <a:pt x="3300056" y="1957813"/>
                  <a:pt x="3277894" y="1965423"/>
                </a:cubicBezTo>
                <a:cubicBezTo>
                  <a:pt x="3255733" y="1973033"/>
                  <a:pt x="3234339" y="1976876"/>
                  <a:pt x="3213711" y="1976952"/>
                </a:cubicBezTo>
                <a:cubicBezTo>
                  <a:pt x="3163331" y="1976324"/>
                  <a:pt x="3123822" y="1961358"/>
                  <a:pt x="3095183" y="1932053"/>
                </a:cubicBezTo>
                <a:cubicBezTo>
                  <a:pt x="3066545" y="1902748"/>
                  <a:pt x="3051959" y="1862868"/>
                  <a:pt x="3051429" y="1812412"/>
                </a:cubicBezTo>
                <a:cubicBezTo>
                  <a:pt x="3051600" y="1781438"/>
                  <a:pt x="3058109" y="1753595"/>
                  <a:pt x="3070957" y="1728882"/>
                </a:cubicBezTo>
                <a:cubicBezTo>
                  <a:pt x="3083805" y="1704169"/>
                  <a:pt x="3101963" y="1684564"/>
                  <a:pt x="3125431" y="1670066"/>
                </a:cubicBezTo>
                <a:cubicBezTo>
                  <a:pt x="3148899" y="1655568"/>
                  <a:pt x="3176649" y="1648154"/>
                  <a:pt x="3208680" y="1647825"/>
                </a:cubicBezTo>
                <a:close/>
                <a:moveTo>
                  <a:pt x="1033395" y="1647825"/>
                </a:moveTo>
                <a:cubicBezTo>
                  <a:pt x="1064635" y="1648053"/>
                  <a:pt x="1092491" y="1655059"/>
                  <a:pt x="1116963" y="1668843"/>
                </a:cubicBezTo>
                <a:cubicBezTo>
                  <a:pt x="1141436" y="1682628"/>
                  <a:pt x="1160750" y="1701824"/>
                  <a:pt x="1174908" y="1726432"/>
                </a:cubicBezTo>
                <a:cubicBezTo>
                  <a:pt x="1189065" y="1751039"/>
                  <a:pt x="1196292" y="1779691"/>
                  <a:pt x="1196587" y="1812387"/>
                </a:cubicBezTo>
                <a:cubicBezTo>
                  <a:pt x="1196292" y="1844364"/>
                  <a:pt x="1189065" y="1872677"/>
                  <a:pt x="1174908" y="1897327"/>
                </a:cubicBezTo>
                <a:cubicBezTo>
                  <a:pt x="1160750" y="1921978"/>
                  <a:pt x="1141436" y="1941343"/>
                  <a:pt x="1116963" y="1955425"/>
                </a:cubicBezTo>
                <a:cubicBezTo>
                  <a:pt x="1092491" y="1969506"/>
                  <a:pt x="1064635" y="1976681"/>
                  <a:pt x="1033395" y="1976952"/>
                </a:cubicBezTo>
                <a:cubicBezTo>
                  <a:pt x="1002155" y="1976724"/>
                  <a:pt x="974299" y="1969717"/>
                  <a:pt x="949827" y="1955933"/>
                </a:cubicBezTo>
                <a:cubicBezTo>
                  <a:pt x="925355" y="1942148"/>
                  <a:pt x="906040" y="1922951"/>
                  <a:pt x="891883" y="1898344"/>
                </a:cubicBezTo>
                <a:cubicBezTo>
                  <a:pt x="877726" y="1873736"/>
                  <a:pt x="870499" y="1845084"/>
                  <a:pt x="870204" y="1812387"/>
                </a:cubicBezTo>
                <a:cubicBezTo>
                  <a:pt x="870457" y="1781131"/>
                  <a:pt x="877514" y="1753156"/>
                  <a:pt x="891375" y="1728464"/>
                </a:cubicBezTo>
                <a:cubicBezTo>
                  <a:pt x="905236" y="1703772"/>
                  <a:pt x="924381" y="1684237"/>
                  <a:pt x="948811" y="1669860"/>
                </a:cubicBezTo>
                <a:cubicBezTo>
                  <a:pt x="973241" y="1655482"/>
                  <a:pt x="1001435" y="1648137"/>
                  <a:pt x="1033395" y="1647825"/>
                </a:cubicBezTo>
                <a:close/>
                <a:moveTo>
                  <a:pt x="2620080" y="1274083"/>
                </a:moveTo>
                <a:lnTo>
                  <a:pt x="2620080" y="1382953"/>
                </a:lnTo>
                <a:cubicBezTo>
                  <a:pt x="2625597" y="1383429"/>
                  <a:pt x="2632859" y="1383848"/>
                  <a:pt x="2641864" y="1384211"/>
                </a:cubicBezTo>
                <a:cubicBezTo>
                  <a:pt x="2650869" y="1384573"/>
                  <a:pt x="2660074" y="1384763"/>
                  <a:pt x="2669480" y="1384782"/>
                </a:cubicBezTo>
                <a:cubicBezTo>
                  <a:pt x="2693218" y="1384801"/>
                  <a:pt x="2711609" y="1379960"/>
                  <a:pt x="2724655" y="1370259"/>
                </a:cubicBezTo>
                <a:cubicBezTo>
                  <a:pt x="2737701" y="1360557"/>
                  <a:pt x="2744314" y="1345881"/>
                  <a:pt x="2744495" y="1326230"/>
                </a:cubicBezTo>
                <a:cubicBezTo>
                  <a:pt x="2744352" y="1309248"/>
                  <a:pt x="2738006" y="1296326"/>
                  <a:pt x="2725456" y="1287463"/>
                </a:cubicBezTo>
                <a:cubicBezTo>
                  <a:pt x="2712906" y="1278600"/>
                  <a:pt x="2695010" y="1274140"/>
                  <a:pt x="2671769" y="1274083"/>
                </a:cubicBezTo>
                <a:close/>
                <a:moveTo>
                  <a:pt x="2217231" y="1135551"/>
                </a:moveTo>
                <a:cubicBezTo>
                  <a:pt x="2211904" y="1135561"/>
                  <a:pt x="2205062" y="1135656"/>
                  <a:pt x="2196705" y="1135837"/>
                </a:cubicBezTo>
                <a:cubicBezTo>
                  <a:pt x="2188348" y="1136019"/>
                  <a:pt x="2180247" y="1136228"/>
                  <a:pt x="2172405" y="1136467"/>
                </a:cubicBezTo>
                <a:lnTo>
                  <a:pt x="2172405" y="1255395"/>
                </a:lnTo>
                <a:lnTo>
                  <a:pt x="2219518" y="1255395"/>
                </a:lnTo>
                <a:cubicBezTo>
                  <a:pt x="2238758" y="1255233"/>
                  <a:pt x="2255512" y="1249839"/>
                  <a:pt x="2269777" y="1239214"/>
                </a:cubicBezTo>
                <a:cubicBezTo>
                  <a:pt x="2284043" y="1228588"/>
                  <a:pt x="2291533" y="1213703"/>
                  <a:pt x="2292248" y="1194558"/>
                </a:cubicBezTo>
                <a:cubicBezTo>
                  <a:pt x="2292667" y="1177691"/>
                  <a:pt x="2287254" y="1163740"/>
                  <a:pt x="2276010" y="1152705"/>
                </a:cubicBezTo>
                <a:cubicBezTo>
                  <a:pt x="2264765" y="1141669"/>
                  <a:pt x="2245172" y="1135951"/>
                  <a:pt x="2217231" y="1135551"/>
                </a:cubicBezTo>
                <a:close/>
                <a:moveTo>
                  <a:pt x="2668108" y="1135094"/>
                </a:moveTo>
                <a:lnTo>
                  <a:pt x="2642036" y="1135608"/>
                </a:lnTo>
                <a:cubicBezTo>
                  <a:pt x="2633345" y="1135923"/>
                  <a:pt x="2626026" y="1136209"/>
                  <a:pt x="2620080" y="1136466"/>
                </a:cubicBezTo>
                <a:lnTo>
                  <a:pt x="2620080" y="1239850"/>
                </a:lnTo>
                <a:lnTo>
                  <a:pt x="2671312" y="1239850"/>
                </a:lnTo>
                <a:cubicBezTo>
                  <a:pt x="2688694" y="1239793"/>
                  <a:pt x="2703218" y="1235218"/>
                  <a:pt x="2714882" y="1226126"/>
                </a:cubicBezTo>
                <a:cubicBezTo>
                  <a:pt x="2726547" y="1217035"/>
                  <a:pt x="2732608" y="1203769"/>
                  <a:pt x="2733065" y="1186328"/>
                </a:cubicBezTo>
                <a:cubicBezTo>
                  <a:pt x="2733018" y="1169584"/>
                  <a:pt x="2727509" y="1156870"/>
                  <a:pt x="2716540" y="1148188"/>
                </a:cubicBezTo>
                <a:cubicBezTo>
                  <a:pt x="2711055" y="1143847"/>
                  <a:pt x="2704277" y="1140586"/>
                  <a:pt x="2696205" y="1138403"/>
                </a:cubicBezTo>
                <a:close/>
                <a:moveTo>
                  <a:pt x="4862445" y="1131894"/>
                </a:moveTo>
                <a:cubicBezTo>
                  <a:pt x="4826946" y="1132570"/>
                  <a:pt x="4797907" y="1144593"/>
                  <a:pt x="4775328" y="1167963"/>
                </a:cubicBezTo>
                <a:cubicBezTo>
                  <a:pt x="4752749" y="1191332"/>
                  <a:pt x="4741087" y="1221991"/>
                  <a:pt x="4740345" y="1259937"/>
                </a:cubicBezTo>
                <a:cubicBezTo>
                  <a:pt x="4740581" y="1284409"/>
                  <a:pt x="4746052" y="1306247"/>
                  <a:pt x="4756757" y="1325451"/>
                </a:cubicBezTo>
                <a:cubicBezTo>
                  <a:pt x="4767461" y="1344655"/>
                  <a:pt x="4781976" y="1359819"/>
                  <a:pt x="4800301" y="1370944"/>
                </a:cubicBezTo>
                <a:cubicBezTo>
                  <a:pt x="4818629" y="1382069"/>
                  <a:pt x="4839343" y="1387748"/>
                  <a:pt x="4862445" y="1387983"/>
                </a:cubicBezTo>
                <a:cubicBezTo>
                  <a:pt x="4886987" y="1387740"/>
                  <a:pt x="4908379" y="1382027"/>
                  <a:pt x="4926620" y="1370842"/>
                </a:cubicBezTo>
                <a:cubicBezTo>
                  <a:pt x="4944862" y="1359658"/>
                  <a:pt x="4959038" y="1344460"/>
                  <a:pt x="4969150" y="1325247"/>
                </a:cubicBezTo>
                <a:cubicBezTo>
                  <a:pt x="4979261" y="1306035"/>
                  <a:pt x="4984394" y="1284265"/>
                  <a:pt x="4984547" y="1259937"/>
                </a:cubicBezTo>
                <a:cubicBezTo>
                  <a:pt x="4984309" y="1234890"/>
                  <a:pt x="4978839" y="1212782"/>
                  <a:pt x="4968134" y="1193612"/>
                </a:cubicBezTo>
                <a:cubicBezTo>
                  <a:pt x="4957429" y="1174442"/>
                  <a:pt x="4942914" y="1159413"/>
                  <a:pt x="4924587" y="1148526"/>
                </a:cubicBezTo>
                <a:cubicBezTo>
                  <a:pt x="4906261" y="1137638"/>
                  <a:pt x="4885547" y="1132094"/>
                  <a:pt x="4862445" y="1131894"/>
                </a:cubicBezTo>
                <a:close/>
                <a:moveTo>
                  <a:pt x="3776595" y="1131894"/>
                </a:moveTo>
                <a:cubicBezTo>
                  <a:pt x="3741097" y="1132570"/>
                  <a:pt x="3712058" y="1144593"/>
                  <a:pt x="3689478" y="1167963"/>
                </a:cubicBezTo>
                <a:cubicBezTo>
                  <a:pt x="3666899" y="1191332"/>
                  <a:pt x="3655237" y="1221991"/>
                  <a:pt x="3654495" y="1259937"/>
                </a:cubicBezTo>
                <a:cubicBezTo>
                  <a:pt x="3654731" y="1284409"/>
                  <a:pt x="3660203" y="1306247"/>
                  <a:pt x="3670907" y="1325451"/>
                </a:cubicBezTo>
                <a:cubicBezTo>
                  <a:pt x="3681611" y="1344655"/>
                  <a:pt x="3696126" y="1359819"/>
                  <a:pt x="3714452" y="1370944"/>
                </a:cubicBezTo>
                <a:cubicBezTo>
                  <a:pt x="3732778" y="1382069"/>
                  <a:pt x="3753492" y="1387748"/>
                  <a:pt x="3776595" y="1387983"/>
                </a:cubicBezTo>
                <a:cubicBezTo>
                  <a:pt x="3801137" y="1387740"/>
                  <a:pt x="3822529" y="1382027"/>
                  <a:pt x="3840770" y="1370842"/>
                </a:cubicBezTo>
                <a:cubicBezTo>
                  <a:pt x="3859012" y="1359658"/>
                  <a:pt x="3873188" y="1344460"/>
                  <a:pt x="3883300" y="1325247"/>
                </a:cubicBezTo>
                <a:cubicBezTo>
                  <a:pt x="3893412" y="1306035"/>
                  <a:pt x="3898544" y="1284265"/>
                  <a:pt x="3898697" y="1259937"/>
                </a:cubicBezTo>
                <a:cubicBezTo>
                  <a:pt x="3898459" y="1234890"/>
                  <a:pt x="3892989" y="1212782"/>
                  <a:pt x="3882284" y="1193612"/>
                </a:cubicBezTo>
                <a:cubicBezTo>
                  <a:pt x="3871579" y="1174442"/>
                  <a:pt x="3857064" y="1159413"/>
                  <a:pt x="3838738" y="1148526"/>
                </a:cubicBezTo>
                <a:cubicBezTo>
                  <a:pt x="3820411" y="1137638"/>
                  <a:pt x="3799697" y="1132094"/>
                  <a:pt x="3776595" y="1131894"/>
                </a:cubicBezTo>
                <a:close/>
                <a:moveTo>
                  <a:pt x="1261995" y="1131894"/>
                </a:moveTo>
                <a:cubicBezTo>
                  <a:pt x="1226497" y="1132570"/>
                  <a:pt x="1197458" y="1144593"/>
                  <a:pt x="1174878" y="1167963"/>
                </a:cubicBezTo>
                <a:cubicBezTo>
                  <a:pt x="1152299" y="1191332"/>
                  <a:pt x="1140638" y="1221991"/>
                  <a:pt x="1139895" y="1259937"/>
                </a:cubicBezTo>
                <a:cubicBezTo>
                  <a:pt x="1140132" y="1284409"/>
                  <a:pt x="1145602" y="1306247"/>
                  <a:pt x="1156307" y="1325451"/>
                </a:cubicBezTo>
                <a:cubicBezTo>
                  <a:pt x="1167011" y="1344655"/>
                  <a:pt x="1181526" y="1359819"/>
                  <a:pt x="1199852" y="1370944"/>
                </a:cubicBezTo>
                <a:cubicBezTo>
                  <a:pt x="1218179" y="1382069"/>
                  <a:pt x="1238893" y="1387748"/>
                  <a:pt x="1261995" y="1387983"/>
                </a:cubicBezTo>
                <a:cubicBezTo>
                  <a:pt x="1286537" y="1387740"/>
                  <a:pt x="1307929" y="1382027"/>
                  <a:pt x="1326170" y="1370842"/>
                </a:cubicBezTo>
                <a:cubicBezTo>
                  <a:pt x="1344412" y="1359658"/>
                  <a:pt x="1358589" y="1344460"/>
                  <a:pt x="1368700" y="1325247"/>
                </a:cubicBezTo>
                <a:cubicBezTo>
                  <a:pt x="1378812" y="1306035"/>
                  <a:pt x="1383944" y="1284265"/>
                  <a:pt x="1384097" y="1259937"/>
                </a:cubicBezTo>
                <a:cubicBezTo>
                  <a:pt x="1383860" y="1234890"/>
                  <a:pt x="1378389" y="1212782"/>
                  <a:pt x="1367684" y="1193612"/>
                </a:cubicBezTo>
                <a:cubicBezTo>
                  <a:pt x="1356980" y="1174442"/>
                  <a:pt x="1342464" y="1159413"/>
                  <a:pt x="1324138" y="1148526"/>
                </a:cubicBezTo>
                <a:cubicBezTo>
                  <a:pt x="1305812" y="1137638"/>
                  <a:pt x="1285097" y="1132094"/>
                  <a:pt x="1261995" y="1131894"/>
                </a:cubicBezTo>
                <a:close/>
                <a:moveTo>
                  <a:pt x="4423791" y="1099947"/>
                </a:moveTo>
                <a:lnTo>
                  <a:pt x="4686623" y="1099947"/>
                </a:lnTo>
                <a:lnTo>
                  <a:pt x="4686623" y="1136466"/>
                </a:lnTo>
                <a:lnTo>
                  <a:pt x="4574609" y="1136466"/>
                </a:lnTo>
                <a:lnTo>
                  <a:pt x="4574609" y="1419930"/>
                </a:lnTo>
                <a:lnTo>
                  <a:pt x="4535805" y="1419930"/>
                </a:lnTo>
                <a:lnTo>
                  <a:pt x="4535805" y="1136466"/>
                </a:lnTo>
                <a:lnTo>
                  <a:pt x="4423791" y="1136466"/>
                </a:lnTo>
                <a:close/>
                <a:moveTo>
                  <a:pt x="4010025" y="1099947"/>
                </a:moveTo>
                <a:lnTo>
                  <a:pt x="4041066" y="1099947"/>
                </a:lnTo>
                <a:lnTo>
                  <a:pt x="4240911" y="1352276"/>
                </a:lnTo>
                <a:lnTo>
                  <a:pt x="4240911" y="1099947"/>
                </a:lnTo>
                <a:lnTo>
                  <a:pt x="4277429" y="1099947"/>
                </a:lnTo>
                <a:lnTo>
                  <a:pt x="4277429" y="1419930"/>
                </a:lnTo>
                <a:lnTo>
                  <a:pt x="4246389" y="1419930"/>
                </a:lnTo>
                <a:lnTo>
                  <a:pt x="4046543" y="1168516"/>
                </a:lnTo>
                <a:lnTo>
                  <a:pt x="4046543" y="1419930"/>
                </a:lnTo>
                <a:lnTo>
                  <a:pt x="4010025" y="1419930"/>
                </a:lnTo>
                <a:close/>
                <a:moveTo>
                  <a:pt x="3495293" y="1099947"/>
                </a:moveTo>
                <a:lnTo>
                  <a:pt x="3534099" y="1099947"/>
                </a:lnTo>
                <a:lnTo>
                  <a:pt x="3534099" y="1419930"/>
                </a:lnTo>
                <a:lnTo>
                  <a:pt x="3495293" y="1419930"/>
                </a:lnTo>
                <a:close/>
                <a:moveTo>
                  <a:pt x="3166491" y="1099947"/>
                </a:moveTo>
                <a:lnTo>
                  <a:pt x="3429323" y="1099947"/>
                </a:lnTo>
                <a:lnTo>
                  <a:pt x="3429323" y="1136466"/>
                </a:lnTo>
                <a:lnTo>
                  <a:pt x="3317309" y="1136466"/>
                </a:lnTo>
                <a:lnTo>
                  <a:pt x="3317309" y="1419930"/>
                </a:lnTo>
                <a:lnTo>
                  <a:pt x="3278505" y="1419930"/>
                </a:lnTo>
                <a:lnTo>
                  <a:pt x="3278505" y="1136466"/>
                </a:lnTo>
                <a:lnTo>
                  <a:pt x="3166491" y="1136466"/>
                </a:lnTo>
                <a:close/>
                <a:moveTo>
                  <a:pt x="2862453" y="1099947"/>
                </a:moveTo>
                <a:lnTo>
                  <a:pt x="2901257" y="1099947"/>
                </a:lnTo>
                <a:lnTo>
                  <a:pt x="2901257" y="1275969"/>
                </a:lnTo>
                <a:cubicBezTo>
                  <a:pt x="2901420" y="1311021"/>
                  <a:pt x="2909557" y="1338300"/>
                  <a:pt x="2925668" y="1357808"/>
                </a:cubicBezTo>
                <a:cubicBezTo>
                  <a:pt x="2941780" y="1377315"/>
                  <a:pt x="2964895" y="1387221"/>
                  <a:pt x="2995013" y="1387526"/>
                </a:cubicBezTo>
                <a:cubicBezTo>
                  <a:pt x="3021568" y="1387535"/>
                  <a:pt x="3042320" y="1378486"/>
                  <a:pt x="3057270" y="1360379"/>
                </a:cubicBezTo>
                <a:cubicBezTo>
                  <a:pt x="3072219" y="1342272"/>
                  <a:pt x="3079823" y="1315050"/>
                  <a:pt x="3080080" y="1278712"/>
                </a:cubicBezTo>
                <a:lnTo>
                  <a:pt x="3080080" y="1099947"/>
                </a:lnTo>
                <a:lnTo>
                  <a:pt x="3118885" y="1099947"/>
                </a:lnTo>
                <a:lnTo>
                  <a:pt x="3118885" y="1286484"/>
                </a:lnTo>
                <a:cubicBezTo>
                  <a:pt x="3118567" y="1318984"/>
                  <a:pt x="3112706" y="1345367"/>
                  <a:pt x="3101303" y="1365633"/>
                </a:cubicBezTo>
                <a:cubicBezTo>
                  <a:pt x="3089901" y="1385899"/>
                  <a:pt x="3074865" y="1400729"/>
                  <a:pt x="3056195" y="1410123"/>
                </a:cubicBezTo>
                <a:cubicBezTo>
                  <a:pt x="3037525" y="1419518"/>
                  <a:pt x="3017132" y="1424158"/>
                  <a:pt x="2995013" y="1424044"/>
                </a:cubicBezTo>
                <a:cubicBezTo>
                  <a:pt x="2955875" y="1424037"/>
                  <a:pt x="2924177" y="1412293"/>
                  <a:pt x="2899920" y="1388811"/>
                </a:cubicBezTo>
                <a:cubicBezTo>
                  <a:pt x="2875663" y="1365330"/>
                  <a:pt x="2863174" y="1330154"/>
                  <a:pt x="2862453" y="1283284"/>
                </a:cubicBezTo>
                <a:close/>
                <a:moveTo>
                  <a:pt x="2438019" y="1099947"/>
                </a:moveTo>
                <a:lnTo>
                  <a:pt x="2476824" y="1099947"/>
                </a:lnTo>
                <a:lnTo>
                  <a:pt x="2476824" y="1419930"/>
                </a:lnTo>
                <a:lnTo>
                  <a:pt x="2438019" y="1419930"/>
                </a:lnTo>
                <a:close/>
                <a:moveTo>
                  <a:pt x="1813941" y="1099947"/>
                </a:moveTo>
                <a:lnTo>
                  <a:pt x="2076774" y="1099947"/>
                </a:lnTo>
                <a:lnTo>
                  <a:pt x="2076774" y="1136466"/>
                </a:lnTo>
                <a:lnTo>
                  <a:pt x="1964760" y="1136466"/>
                </a:lnTo>
                <a:lnTo>
                  <a:pt x="1964760" y="1419930"/>
                </a:lnTo>
                <a:lnTo>
                  <a:pt x="1925955" y="1419930"/>
                </a:lnTo>
                <a:lnTo>
                  <a:pt x="1925955" y="1136466"/>
                </a:lnTo>
                <a:lnTo>
                  <a:pt x="1813941" y="1136466"/>
                </a:lnTo>
                <a:close/>
                <a:moveTo>
                  <a:pt x="1495425" y="1099947"/>
                </a:moveTo>
                <a:lnTo>
                  <a:pt x="1526466" y="1099947"/>
                </a:lnTo>
                <a:lnTo>
                  <a:pt x="1726311" y="1352276"/>
                </a:lnTo>
                <a:lnTo>
                  <a:pt x="1726311" y="1099947"/>
                </a:lnTo>
                <a:lnTo>
                  <a:pt x="1762830" y="1099947"/>
                </a:lnTo>
                <a:lnTo>
                  <a:pt x="1762830" y="1419930"/>
                </a:lnTo>
                <a:lnTo>
                  <a:pt x="1731789" y="1419930"/>
                </a:lnTo>
                <a:lnTo>
                  <a:pt x="1531944" y="1168516"/>
                </a:lnTo>
                <a:lnTo>
                  <a:pt x="1531944" y="1419930"/>
                </a:lnTo>
                <a:lnTo>
                  <a:pt x="1495425" y="1419930"/>
                </a:lnTo>
                <a:close/>
                <a:moveTo>
                  <a:pt x="2219518" y="1099032"/>
                </a:moveTo>
                <a:cubicBezTo>
                  <a:pt x="2262472" y="1099763"/>
                  <a:pt x="2292360" y="1109147"/>
                  <a:pt x="2309181" y="1127184"/>
                </a:cubicBezTo>
                <a:cubicBezTo>
                  <a:pt x="2326003" y="1145220"/>
                  <a:pt x="2334055" y="1167526"/>
                  <a:pt x="2333339" y="1194101"/>
                </a:cubicBezTo>
                <a:cubicBezTo>
                  <a:pt x="2332646" y="1219115"/>
                  <a:pt x="2325472" y="1239290"/>
                  <a:pt x="2311817" y="1254629"/>
                </a:cubicBezTo>
                <a:cubicBezTo>
                  <a:pt x="2298162" y="1269967"/>
                  <a:pt x="2282185" y="1279961"/>
                  <a:pt x="2263888" y="1284610"/>
                </a:cubicBezTo>
                <a:lnTo>
                  <a:pt x="2370372" y="1419930"/>
                </a:lnTo>
                <a:lnTo>
                  <a:pt x="2322838" y="1419930"/>
                </a:lnTo>
                <a:lnTo>
                  <a:pt x="2224550" y="1291914"/>
                </a:lnTo>
                <a:lnTo>
                  <a:pt x="2172405" y="1291914"/>
                </a:lnTo>
                <a:lnTo>
                  <a:pt x="2172405" y="1419930"/>
                </a:lnTo>
                <a:lnTo>
                  <a:pt x="2133600" y="1419930"/>
                </a:lnTo>
                <a:lnTo>
                  <a:pt x="2133600" y="1099945"/>
                </a:lnTo>
                <a:cubicBezTo>
                  <a:pt x="2140096" y="1099934"/>
                  <a:pt x="2149481" y="1099855"/>
                  <a:pt x="2161755" y="1099709"/>
                </a:cubicBezTo>
                <a:cubicBezTo>
                  <a:pt x="2174029" y="1099562"/>
                  <a:pt x="2185822" y="1099416"/>
                  <a:pt x="2197134" y="1099269"/>
                </a:cubicBezTo>
                <a:cubicBezTo>
                  <a:pt x="2208446" y="1099122"/>
                  <a:pt x="2215907" y="1099044"/>
                  <a:pt x="2219518" y="1099032"/>
                </a:cubicBezTo>
                <a:close/>
                <a:moveTo>
                  <a:pt x="2669025" y="1098575"/>
                </a:moveTo>
                <a:cubicBezTo>
                  <a:pt x="2706720" y="1099096"/>
                  <a:pt x="2733407" y="1106727"/>
                  <a:pt x="2749085" y="1121468"/>
                </a:cubicBezTo>
                <a:cubicBezTo>
                  <a:pt x="2764763" y="1136208"/>
                  <a:pt x="2772358" y="1154931"/>
                  <a:pt x="2771870" y="1177637"/>
                </a:cubicBezTo>
                <a:cubicBezTo>
                  <a:pt x="2771500" y="1197708"/>
                  <a:pt x="2766191" y="1213831"/>
                  <a:pt x="2755944" y="1226007"/>
                </a:cubicBezTo>
                <a:cubicBezTo>
                  <a:pt x="2745697" y="1238183"/>
                  <a:pt x="2732733" y="1246753"/>
                  <a:pt x="2717050" y="1251717"/>
                </a:cubicBezTo>
                <a:lnTo>
                  <a:pt x="2717050" y="1252630"/>
                </a:lnTo>
                <a:cubicBezTo>
                  <a:pt x="2737211" y="1255843"/>
                  <a:pt x="2753224" y="1263801"/>
                  <a:pt x="2765089" y="1276502"/>
                </a:cubicBezTo>
                <a:cubicBezTo>
                  <a:pt x="2776955" y="1289204"/>
                  <a:pt x="2783025" y="1306543"/>
                  <a:pt x="2783300" y="1328518"/>
                </a:cubicBezTo>
                <a:cubicBezTo>
                  <a:pt x="2782608" y="1360794"/>
                  <a:pt x="2771547" y="1384375"/>
                  <a:pt x="2750118" y="1399261"/>
                </a:cubicBezTo>
                <a:cubicBezTo>
                  <a:pt x="2728689" y="1414147"/>
                  <a:pt x="2701047" y="1421494"/>
                  <a:pt x="2667193" y="1421301"/>
                </a:cubicBezTo>
                <a:cubicBezTo>
                  <a:pt x="2652376" y="1421282"/>
                  <a:pt x="2636851" y="1421092"/>
                  <a:pt x="2620618" y="1420731"/>
                </a:cubicBezTo>
                <a:cubicBezTo>
                  <a:pt x="2604386" y="1420369"/>
                  <a:pt x="2591271" y="1419951"/>
                  <a:pt x="2581275" y="1419475"/>
                </a:cubicBezTo>
                <a:lnTo>
                  <a:pt x="2581275" y="1100401"/>
                </a:lnTo>
                <a:cubicBezTo>
                  <a:pt x="2590862" y="1100125"/>
                  <a:pt x="2603996" y="1099764"/>
                  <a:pt x="2620677" y="1099317"/>
                </a:cubicBezTo>
                <a:cubicBezTo>
                  <a:pt x="2637357" y="1098870"/>
                  <a:pt x="2653473" y="1098623"/>
                  <a:pt x="2669025" y="1098575"/>
                </a:cubicBezTo>
                <a:close/>
                <a:moveTo>
                  <a:pt x="4862445" y="1095375"/>
                </a:moveTo>
                <a:cubicBezTo>
                  <a:pt x="4893685" y="1095603"/>
                  <a:pt x="4921541" y="1102609"/>
                  <a:pt x="4946013" y="1116393"/>
                </a:cubicBezTo>
                <a:cubicBezTo>
                  <a:pt x="4970485" y="1130178"/>
                  <a:pt x="4989800" y="1149374"/>
                  <a:pt x="5003958" y="1173982"/>
                </a:cubicBezTo>
                <a:cubicBezTo>
                  <a:pt x="5018115" y="1198589"/>
                  <a:pt x="5025341" y="1227241"/>
                  <a:pt x="5025637" y="1259937"/>
                </a:cubicBezTo>
                <a:cubicBezTo>
                  <a:pt x="5025341" y="1291914"/>
                  <a:pt x="5018115" y="1320227"/>
                  <a:pt x="5003958" y="1344877"/>
                </a:cubicBezTo>
                <a:cubicBezTo>
                  <a:pt x="4989800" y="1369528"/>
                  <a:pt x="4970485" y="1388893"/>
                  <a:pt x="4946013" y="1402975"/>
                </a:cubicBezTo>
                <a:cubicBezTo>
                  <a:pt x="4921541" y="1417056"/>
                  <a:pt x="4893685" y="1424231"/>
                  <a:pt x="4862445" y="1424502"/>
                </a:cubicBezTo>
                <a:cubicBezTo>
                  <a:pt x="4831205" y="1424274"/>
                  <a:pt x="4803349" y="1417267"/>
                  <a:pt x="4778877" y="1403483"/>
                </a:cubicBezTo>
                <a:cubicBezTo>
                  <a:pt x="4754405" y="1389698"/>
                  <a:pt x="4735090" y="1370501"/>
                  <a:pt x="4720933" y="1345894"/>
                </a:cubicBezTo>
                <a:cubicBezTo>
                  <a:pt x="4706775" y="1321286"/>
                  <a:pt x="4699549" y="1292634"/>
                  <a:pt x="4699254" y="1259937"/>
                </a:cubicBezTo>
                <a:cubicBezTo>
                  <a:pt x="4699507" y="1228681"/>
                  <a:pt x="4706564" y="1200706"/>
                  <a:pt x="4720425" y="1176014"/>
                </a:cubicBezTo>
                <a:cubicBezTo>
                  <a:pt x="4734285" y="1151322"/>
                  <a:pt x="4753431" y="1131787"/>
                  <a:pt x="4777861" y="1117410"/>
                </a:cubicBezTo>
                <a:cubicBezTo>
                  <a:pt x="4802291" y="1103032"/>
                  <a:pt x="4830485" y="1095687"/>
                  <a:pt x="4862445" y="1095375"/>
                </a:cubicBezTo>
                <a:close/>
                <a:moveTo>
                  <a:pt x="3776595" y="1095375"/>
                </a:moveTo>
                <a:cubicBezTo>
                  <a:pt x="3807835" y="1095603"/>
                  <a:pt x="3835691" y="1102609"/>
                  <a:pt x="3860163" y="1116393"/>
                </a:cubicBezTo>
                <a:cubicBezTo>
                  <a:pt x="3884635" y="1130178"/>
                  <a:pt x="3903950" y="1149374"/>
                  <a:pt x="3918107" y="1173982"/>
                </a:cubicBezTo>
                <a:cubicBezTo>
                  <a:pt x="3932265" y="1198589"/>
                  <a:pt x="3939492" y="1227241"/>
                  <a:pt x="3939787" y="1259937"/>
                </a:cubicBezTo>
                <a:cubicBezTo>
                  <a:pt x="3939492" y="1291914"/>
                  <a:pt x="3932265" y="1320227"/>
                  <a:pt x="3918107" y="1344877"/>
                </a:cubicBezTo>
                <a:cubicBezTo>
                  <a:pt x="3903950" y="1369528"/>
                  <a:pt x="3884635" y="1388893"/>
                  <a:pt x="3860163" y="1402975"/>
                </a:cubicBezTo>
                <a:cubicBezTo>
                  <a:pt x="3835691" y="1417056"/>
                  <a:pt x="3807835" y="1424231"/>
                  <a:pt x="3776595" y="1424502"/>
                </a:cubicBezTo>
                <a:cubicBezTo>
                  <a:pt x="3745355" y="1424274"/>
                  <a:pt x="3717499" y="1417267"/>
                  <a:pt x="3693027" y="1403483"/>
                </a:cubicBezTo>
                <a:cubicBezTo>
                  <a:pt x="3668555" y="1389698"/>
                  <a:pt x="3649240" y="1370501"/>
                  <a:pt x="3635083" y="1345894"/>
                </a:cubicBezTo>
                <a:cubicBezTo>
                  <a:pt x="3620925" y="1321286"/>
                  <a:pt x="3613699" y="1292634"/>
                  <a:pt x="3613404" y="1259937"/>
                </a:cubicBezTo>
                <a:cubicBezTo>
                  <a:pt x="3613657" y="1228681"/>
                  <a:pt x="3620714" y="1200706"/>
                  <a:pt x="3634575" y="1176014"/>
                </a:cubicBezTo>
                <a:cubicBezTo>
                  <a:pt x="3648436" y="1151322"/>
                  <a:pt x="3667581" y="1131787"/>
                  <a:pt x="3692011" y="1117410"/>
                </a:cubicBezTo>
                <a:cubicBezTo>
                  <a:pt x="3716441" y="1103032"/>
                  <a:pt x="3744635" y="1095687"/>
                  <a:pt x="3776595" y="1095375"/>
                </a:cubicBezTo>
                <a:close/>
                <a:moveTo>
                  <a:pt x="1261995" y="1095375"/>
                </a:moveTo>
                <a:cubicBezTo>
                  <a:pt x="1293235" y="1095603"/>
                  <a:pt x="1321091" y="1102609"/>
                  <a:pt x="1345563" y="1116393"/>
                </a:cubicBezTo>
                <a:cubicBezTo>
                  <a:pt x="1370036" y="1130178"/>
                  <a:pt x="1389350" y="1149374"/>
                  <a:pt x="1403508" y="1173982"/>
                </a:cubicBezTo>
                <a:cubicBezTo>
                  <a:pt x="1417665" y="1198589"/>
                  <a:pt x="1424892" y="1227241"/>
                  <a:pt x="1425187" y="1259937"/>
                </a:cubicBezTo>
                <a:cubicBezTo>
                  <a:pt x="1424892" y="1291914"/>
                  <a:pt x="1417665" y="1320227"/>
                  <a:pt x="1403508" y="1344877"/>
                </a:cubicBezTo>
                <a:cubicBezTo>
                  <a:pt x="1389350" y="1369528"/>
                  <a:pt x="1370036" y="1388893"/>
                  <a:pt x="1345563" y="1402975"/>
                </a:cubicBezTo>
                <a:cubicBezTo>
                  <a:pt x="1321091" y="1417056"/>
                  <a:pt x="1293235" y="1424231"/>
                  <a:pt x="1261995" y="1424502"/>
                </a:cubicBezTo>
                <a:cubicBezTo>
                  <a:pt x="1230755" y="1424274"/>
                  <a:pt x="1202899" y="1417267"/>
                  <a:pt x="1178427" y="1403483"/>
                </a:cubicBezTo>
                <a:cubicBezTo>
                  <a:pt x="1153955" y="1389698"/>
                  <a:pt x="1134640" y="1370501"/>
                  <a:pt x="1120483" y="1345894"/>
                </a:cubicBezTo>
                <a:cubicBezTo>
                  <a:pt x="1106326" y="1321286"/>
                  <a:pt x="1099099" y="1292634"/>
                  <a:pt x="1098804" y="1259937"/>
                </a:cubicBezTo>
                <a:cubicBezTo>
                  <a:pt x="1099057" y="1228681"/>
                  <a:pt x="1106114" y="1200706"/>
                  <a:pt x="1119975" y="1176014"/>
                </a:cubicBezTo>
                <a:cubicBezTo>
                  <a:pt x="1133836" y="1151322"/>
                  <a:pt x="1152981" y="1131787"/>
                  <a:pt x="1177411" y="1117410"/>
                </a:cubicBezTo>
                <a:cubicBezTo>
                  <a:pt x="1201841" y="1103032"/>
                  <a:pt x="1230035" y="1095687"/>
                  <a:pt x="1261995" y="1095375"/>
                </a:cubicBezTo>
                <a:close/>
                <a:moveTo>
                  <a:pt x="972559" y="1095375"/>
                </a:moveTo>
                <a:cubicBezTo>
                  <a:pt x="993191" y="1095441"/>
                  <a:pt x="1011707" y="1098161"/>
                  <a:pt x="1028109" y="1103534"/>
                </a:cubicBezTo>
                <a:cubicBezTo>
                  <a:pt x="1044511" y="1108908"/>
                  <a:pt x="1058456" y="1116535"/>
                  <a:pt x="1069943" y="1126416"/>
                </a:cubicBezTo>
                <a:lnTo>
                  <a:pt x="1052112" y="1155672"/>
                </a:lnTo>
                <a:cubicBezTo>
                  <a:pt x="1041701" y="1147879"/>
                  <a:pt x="1030062" y="1141972"/>
                  <a:pt x="1017194" y="1137952"/>
                </a:cubicBezTo>
                <a:cubicBezTo>
                  <a:pt x="1004325" y="1133932"/>
                  <a:pt x="989600" y="1131913"/>
                  <a:pt x="973017" y="1131894"/>
                </a:cubicBezTo>
                <a:cubicBezTo>
                  <a:pt x="937660" y="1132484"/>
                  <a:pt x="909161" y="1144336"/>
                  <a:pt x="887520" y="1167448"/>
                </a:cubicBezTo>
                <a:cubicBezTo>
                  <a:pt x="865879" y="1190561"/>
                  <a:pt x="854754" y="1221391"/>
                  <a:pt x="854145" y="1259937"/>
                </a:cubicBezTo>
                <a:cubicBezTo>
                  <a:pt x="854716" y="1298685"/>
                  <a:pt x="866260" y="1329572"/>
                  <a:pt x="888778" y="1352599"/>
                </a:cubicBezTo>
                <a:cubicBezTo>
                  <a:pt x="911295" y="1375626"/>
                  <a:pt x="941356" y="1387421"/>
                  <a:pt x="978960" y="1387983"/>
                </a:cubicBezTo>
                <a:cubicBezTo>
                  <a:pt x="994400" y="1387916"/>
                  <a:pt x="1009126" y="1385420"/>
                  <a:pt x="1023137" y="1380494"/>
                </a:cubicBezTo>
                <a:cubicBezTo>
                  <a:pt x="1037148" y="1375569"/>
                  <a:pt x="1049702" y="1368614"/>
                  <a:pt x="1060799" y="1359630"/>
                </a:cubicBezTo>
                <a:lnTo>
                  <a:pt x="1076344" y="1388896"/>
                </a:lnTo>
                <a:cubicBezTo>
                  <a:pt x="1065219" y="1399965"/>
                  <a:pt x="1050664" y="1408639"/>
                  <a:pt x="1032681" y="1414915"/>
                </a:cubicBezTo>
                <a:cubicBezTo>
                  <a:pt x="1014698" y="1421192"/>
                  <a:pt x="995572" y="1424387"/>
                  <a:pt x="975303" y="1424502"/>
                </a:cubicBezTo>
                <a:cubicBezTo>
                  <a:pt x="926537" y="1423876"/>
                  <a:pt x="887494" y="1408910"/>
                  <a:pt x="858174" y="1379604"/>
                </a:cubicBezTo>
                <a:cubicBezTo>
                  <a:pt x="828853" y="1350299"/>
                  <a:pt x="813813" y="1310410"/>
                  <a:pt x="813054" y="1259937"/>
                </a:cubicBezTo>
                <a:cubicBezTo>
                  <a:pt x="813169" y="1228969"/>
                  <a:pt x="819536" y="1201130"/>
                  <a:pt x="832157" y="1176420"/>
                </a:cubicBezTo>
                <a:cubicBezTo>
                  <a:pt x="844777" y="1151711"/>
                  <a:pt x="862960" y="1132109"/>
                  <a:pt x="886705" y="1117613"/>
                </a:cubicBezTo>
                <a:cubicBezTo>
                  <a:pt x="910451" y="1103117"/>
                  <a:pt x="939069" y="1095704"/>
                  <a:pt x="972559" y="1095375"/>
                </a:cubicBezTo>
                <a:close/>
                <a:moveTo>
                  <a:pt x="3064735" y="597332"/>
                </a:moveTo>
                <a:lnTo>
                  <a:pt x="3007128" y="734034"/>
                </a:lnTo>
                <a:lnTo>
                  <a:pt x="3122342" y="734034"/>
                </a:lnTo>
                <a:close/>
                <a:moveTo>
                  <a:pt x="1797910" y="597332"/>
                </a:moveTo>
                <a:lnTo>
                  <a:pt x="1740303" y="734034"/>
                </a:lnTo>
                <a:lnTo>
                  <a:pt x="1855518" y="734034"/>
                </a:lnTo>
                <a:close/>
                <a:moveTo>
                  <a:pt x="5208081" y="583101"/>
                </a:moveTo>
                <a:cubicBezTo>
                  <a:pt x="5202754" y="583111"/>
                  <a:pt x="5195912" y="583206"/>
                  <a:pt x="5187555" y="583387"/>
                </a:cubicBezTo>
                <a:cubicBezTo>
                  <a:pt x="5179197" y="583569"/>
                  <a:pt x="5171097" y="583778"/>
                  <a:pt x="5163255" y="584016"/>
                </a:cubicBezTo>
                <a:lnTo>
                  <a:pt x="5163255" y="702945"/>
                </a:lnTo>
                <a:lnTo>
                  <a:pt x="5210369" y="702945"/>
                </a:lnTo>
                <a:cubicBezTo>
                  <a:pt x="5229608" y="702783"/>
                  <a:pt x="5246361" y="697389"/>
                  <a:pt x="5260627" y="686764"/>
                </a:cubicBezTo>
                <a:cubicBezTo>
                  <a:pt x="5274893" y="676138"/>
                  <a:pt x="5282383" y="661253"/>
                  <a:pt x="5283098" y="642108"/>
                </a:cubicBezTo>
                <a:cubicBezTo>
                  <a:pt x="5283517" y="625241"/>
                  <a:pt x="5278105" y="611290"/>
                  <a:pt x="5266859" y="600255"/>
                </a:cubicBezTo>
                <a:cubicBezTo>
                  <a:pt x="5255615" y="589219"/>
                  <a:pt x="5236021" y="583501"/>
                  <a:pt x="5208081" y="583101"/>
                </a:cubicBezTo>
                <a:close/>
                <a:moveTo>
                  <a:pt x="1483806" y="583101"/>
                </a:moveTo>
                <a:cubicBezTo>
                  <a:pt x="1478479" y="583111"/>
                  <a:pt x="1471637" y="583206"/>
                  <a:pt x="1463280" y="583387"/>
                </a:cubicBezTo>
                <a:cubicBezTo>
                  <a:pt x="1454923" y="583569"/>
                  <a:pt x="1446822" y="583778"/>
                  <a:pt x="1438980" y="584016"/>
                </a:cubicBezTo>
                <a:lnTo>
                  <a:pt x="1438980" y="702945"/>
                </a:lnTo>
                <a:lnTo>
                  <a:pt x="1486094" y="702945"/>
                </a:lnTo>
                <a:cubicBezTo>
                  <a:pt x="1505334" y="702783"/>
                  <a:pt x="1522087" y="697389"/>
                  <a:pt x="1536352" y="686764"/>
                </a:cubicBezTo>
                <a:cubicBezTo>
                  <a:pt x="1550618" y="676138"/>
                  <a:pt x="1558109" y="661253"/>
                  <a:pt x="1558823" y="642108"/>
                </a:cubicBezTo>
                <a:cubicBezTo>
                  <a:pt x="1559243" y="625241"/>
                  <a:pt x="1553830" y="611290"/>
                  <a:pt x="1542585" y="600255"/>
                </a:cubicBezTo>
                <a:cubicBezTo>
                  <a:pt x="1531340" y="589219"/>
                  <a:pt x="1511747" y="583501"/>
                  <a:pt x="1483806" y="583101"/>
                </a:cubicBezTo>
                <a:close/>
                <a:moveTo>
                  <a:pt x="3724918" y="582644"/>
                </a:moveTo>
                <a:cubicBezTo>
                  <a:pt x="3715533" y="582673"/>
                  <a:pt x="3707205" y="582844"/>
                  <a:pt x="3699936" y="583159"/>
                </a:cubicBezTo>
                <a:cubicBezTo>
                  <a:pt x="3692666" y="583473"/>
                  <a:pt x="3685139" y="583759"/>
                  <a:pt x="3677355" y="584016"/>
                </a:cubicBezTo>
                <a:lnTo>
                  <a:pt x="3677355" y="830960"/>
                </a:lnTo>
                <a:cubicBezTo>
                  <a:pt x="3688140" y="831199"/>
                  <a:pt x="3697782" y="831408"/>
                  <a:pt x="3706281" y="831589"/>
                </a:cubicBezTo>
                <a:cubicBezTo>
                  <a:pt x="3714780" y="831770"/>
                  <a:pt x="3720535" y="831866"/>
                  <a:pt x="3723546" y="831875"/>
                </a:cubicBezTo>
                <a:cubicBezTo>
                  <a:pt x="3769432" y="831180"/>
                  <a:pt x="3804343" y="819080"/>
                  <a:pt x="3828277" y="795577"/>
                </a:cubicBezTo>
                <a:cubicBezTo>
                  <a:pt x="3852211" y="772073"/>
                  <a:pt x="3864254" y="741338"/>
                  <a:pt x="3864407" y="703372"/>
                </a:cubicBezTo>
                <a:cubicBezTo>
                  <a:pt x="3864397" y="667931"/>
                  <a:pt x="3852754" y="639121"/>
                  <a:pt x="3829477" y="616942"/>
                </a:cubicBezTo>
                <a:cubicBezTo>
                  <a:pt x="3806200" y="594763"/>
                  <a:pt x="3771347" y="583330"/>
                  <a:pt x="3724918" y="582644"/>
                </a:cubicBezTo>
                <a:close/>
                <a:moveTo>
                  <a:pt x="1166745" y="579444"/>
                </a:moveTo>
                <a:cubicBezTo>
                  <a:pt x="1131247" y="580120"/>
                  <a:pt x="1102208" y="592143"/>
                  <a:pt x="1079629" y="615513"/>
                </a:cubicBezTo>
                <a:cubicBezTo>
                  <a:pt x="1057049" y="638883"/>
                  <a:pt x="1045388" y="669541"/>
                  <a:pt x="1044645" y="707487"/>
                </a:cubicBezTo>
                <a:cubicBezTo>
                  <a:pt x="1044882" y="731959"/>
                  <a:pt x="1050353" y="753797"/>
                  <a:pt x="1061057" y="773001"/>
                </a:cubicBezTo>
                <a:cubicBezTo>
                  <a:pt x="1071761" y="792204"/>
                  <a:pt x="1086276" y="807369"/>
                  <a:pt x="1104602" y="818494"/>
                </a:cubicBezTo>
                <a:cubicBezTo>
                  <a:pt x="1122929" y="829619"/>
                  <a:pt x="1143643" y="835298"/>
                  <a:pt x="1166745" y="835533"/>
                </a:cubicBezTo>
                <a:cubicBezTo>
                  <a:pt x="1191287" y="835290"/>
                  <a:pt x="1212679" y="829576"/>
                  <a:pt x="1230920" y="818392"/>
                </a:cubicBezTo>
                <a:cubicBezTo>
                  <a:pt x="1249162" y="807208"/>
                  <a:pt x="1263339" y="792010"/>
                  <a:pt x="1273450" y="772797"/>
                </a:cubicBezTo>
                <a:cubicBezTo>
                  <a:pt x="1283562" y="753585"/>
                  <a:pt x="1288694" y="731815"/>
                  <a:pt x="1288847" y="707487"/>
                </a:cubicBezTo>
                <a:cubicBezTo>
                  <a:pt x="1288610" y="682440"/>
                  <a:pt x="1283139" y="660332"/>
                  <a:pt x="1272434" y="641162"/>
                </a:cubicBezTo>
                <a:cubicBezTo>
                  <a:pt x="1261730" y="621992"/>
                  <a:pt x="1247214" y="606963"/>
                  <a:pt x="1228888" y="596076"/>
                </a:cubicBezTo>
                <a:cubicBezTo>
                  <a:pt x="1210562" y="585188"/>
                  <a:pt x="1189847" y="579644"/>
                  <a:pt x="1166745" y="579444"/>
                </a:cubicBezTo>
                <a:close/>
                <a:moveTo>
                  <a:pt x="4981193" y="547497"/>
                </a:moveTo>
                <a:lnTo>
                  <a:pt x="5019999" y="547497"/>
                </a:lnTo>
                <a:lnTo>
                  <a:pt x="5019999" y="867480"/>
                </a:lnTo>
                <a:lnTo>
                  <a:pt x="4981193" y="867480"/>
                </a:lnTo>
                <a:close/>
                <a:moveTo>
                  <a:pt x="4705349" y="547497"/>
                </a:moveTo>
                <a:lnTo>
                  <a:pt x="4885886" y="547497"/>
                </a:lnTo>
                <a:lnTo>
                  <a:pt x="4885886" y="584016"/>
                </a:lnTo>
                <a:lnTo>
                  <a:pt x="4744154" y="584016"/>
                </a:lnTo>
                <a:lnTo>
                  <a:pt x="4744154" y="687400"/>
                </a:lnTo>
                <a:lnTo>
                  <a:pt x="4872170" y="687400"/>
                </a:lnTo>
                <a:lnTo>
                  <a:pt x="4872170" y="723919"/>
                </a:lnTo>
                <a:lnTo>
                  <a:pt x="4744154" y="723919"/>
                </a:lnTo>
                <a:lnTo>
                  <a:pt x="4744154" y="830961"/>
                </a:lnTo>
                <a:lnTo>
                  <a:pt x="4890459" y="830961"/>
                </a:lnTo>
                <a:lnTo>
                  <a:pt x="4890459" y="867480"/>
                </a:lnTo>
                <a:lnTo>
                  <a:pt x="4705349" y="867480"/>
                </a:lnTo>
                <a:close/>
                <a:moveTo>
                  <a:pt x="4352925" y="547497"/>
                </a:moveTo>
                <a:lnTo>
                  <a:pt x="4391729" y="547497"/>
                </a:lnTo>
                <a:lnTo>
                  <a:pt x="4391729" y="686028"/>
                </a:lnTo>
                <a:lnTo>
                  <a:pt x="4567809" y="686028"/>
                </a:lnTo>
                <a:lnTo>
                  <a:pt x="4567809" y="547497"/>
                </a:lnTo>
                <a:lnTo>
                  <a:pt x="4606613" y="547497"/>
                </a:lnTo>
                <a:lnTo>
                  <a:pt x="4606613" y="867480"/>
                </a:lnTo>
                <a:lnTo>
                  <a:pt x="4567809" y="867480"/>
                </a:lnTo>
                <a:lnTo>
                  <a:pt x="4567809" y="722547"/>
                </a:lnTo>
                <a:lnTo>
                  <a:pt x="4391729" y="722547"/>
                </a:lnTo>
                <a:lnTo>
                  <a:pt x="4391729" y="867480"/>
                </a:lnTo>
                <a:lnTo>
                  <a:pt x="4352925" y="867480"/>
                </a:lnTo>
                <a:close/>
                <a:moveTo>
                  <a:pt x="4033265" y="547497"/>
                </a:moveTo>
                <a:lnTo>
                  <a:pt x="4296099" y="547497"/>
                </a:lnTo>
                <a:lnTo>
                  <a:pt x="4296099" y="584016"/>
                </a:lnTo>
                <a:lnTo>
                  <a:pt x="4184085" y="584016"/>
                </a:lnTo>
                <a:lnTo>
                  <a:pt x="4184085" y="867480"/>
                </a:lnTo>
                <a:lnTo>
                  <a:pt x="4145279" y="867480"/>
                </a:lnTo>
                <a:lnTo>
                  <a:pt x="4145279" y="584016"/>
                </a:lnTo>
                <a:lnTo>
                  <a:pt x="4033265" y="584016"/>
                </a:lnTo>
                <a:close/>
                <a:moveTo>
                  <a:pt x="3276600" y="547497"/>
                </a:moveTo>
                <a:lnTo>
                  <a:pt x="3307641" y="547497"/>
                </a:lnTo>
                <a:lnTo>
                  <a:pt x="3507486" y="799826"/>
                </a:lnTo>
                <a:lnTo>
                  <a:pt x="3507486" y="547497"/>
                </a:lnTo>
                <a:lnTo>
                  <a:pt x="3544005" y="547497"/>
                </a:lnTo>
                <a:lnTo>
                  <a:pt x="3544005" y="867480"/>
                </a:lnTo>
                <a:lnTo>
                  <a:pt x="3512963" y="867480"/>
                </a:lnTo>
                <a:lnTo>
                  <a:pt x="3313119" y="616066"/>
                </a:lnTo>
                <a:lnTo>
                  <a:pt x="3313119" y="867480"/>
                </a:lnTo>
                <a:lnTo>
                  <a:pt x="3276600" y="867480"/>
                </a:lnTo>
                <a:close/>
                <a:moveTo>
                  <a:pt x="2333625" y="547497"/>
                </a:moveTo>
                <a:lnTo>
                  <a:pt x="2514162" y="547497"/>
                </a:lnTo>
                <a:lnTo>
                  <a:pt x="2514162" y="584016"/>
                </a:lnTo>
                <a:lnTo>
                  <a:pt x="2372430" y="584016"/>
                </a:lnTo>
                <a:lnTo>
                  <a:pt x="2372430" y="687400"/>
                </a:lnTo>
                <a:lnTo>
                  <a:pt x="2500446" y="687400"/>
                </a:lnTo>
                <a:lnTo>
                  <a:pt x="2500446" y="723919"/>
                </a:lnTo>
                <a:lnTo>
                  <a:pt x="2372430" y="723919"/>
                </a:lnTo>
                <a:lnTo>
                  <a:pt x="2372430" y="830961"/>
                </a:lnTo>
                <a:lnTo>
                  <a:pt x="2518734" y="830961"/>
                </a:lnTo>
                <a:lnTo>
                  <a:pt x="2518734" y="867480"/>
                </a:lnTo>
                <a:lnTo>
                  <a:pt x="2333625" y="867480"/>
                </a:lnTo>
                <a:close/>
                <a:moveTo>
                  <a:pt x="728091" y="547497"/>
                </a:moveTo>
                <a:lnTo>
                  <a:pt x="990924" y="547497"/>
                </a:lnTo>
                <a:lnTo>
                  <a:pt x="990924" y="584016"/>
                </a:lnTo>
                <a:lnTo>
                  <a:pt x="878910" y="584016"/>
                </a:lnTo>
                <a:lnTo>
                  <a:pt x="878910" y="867480"/>
                </a:lnTo>
                <a:lnTo>
                  <a:pt x="840105" y="867480"/>
                </a:lnTo>
                <a:lnTo>
                  <a:pt x="840105" y="584016"/>
                </a:lnTo>
                <a:lnTo>
                  <a:pt x="728091" y="584016"/>
                </a:lnTo>
                <a:close/>
                <a:moveTo>
                  <a:pt x="5210369" y="546582"/>
                </a:moveTo>
                <a:cubicBezTo>
                  <a:pt x="5253321" y="547313"/>
                  <a:pt x="5283209" y="556697"/>
                  <a:pt x="5300031" y="574734"/>
                </a:cubicBezTo>
                <a:cubicBezTo>
                  <a:pt x="5316853" y="592770"/>
                  <a:pt x="5324905" y="615076"/>
                  <a:pt x="5324189" y="641651"/>
                </a:cubicBezTo>
                <a:cubicBezTo>
                  <a:pt x="5323495" y="666665"/>
                  <a:pt x="5316321" y="686840"/>
                  <a:pt x="5302667" y="702179"/>
                </a:cubicBezTo>
                <a:cubicBezTo>
                  <a:pt x="5289011" y="717517"/>
                  <a:pt x="5273035" y="727510"/>
                  <a:pt x="5254738" y="732160"/>
                </a:cubicBezTo>
                <a:lnTo>
                  <a:pt x="5361222" y="867480"/>
                </a:lnTo>
                <a:lnTo>
                  <a:pt x="5313688" y="867480"/>
                </a:lnTo>
                <a:lnTo>
                  <a:pt x="5215399" y="739464"/>
                </a:lnTo>
                <a:lnTo>
                  <a:pt x="5163255" y="739464"/>
                </a:lnTo>
                <a:lnTo>
                  <a:pt x="5163255" y="867480"/>
                </a:lnTo>
                <a:lnTo>
                  <a:pt x="5124449" y="867480"/>
                </a:lnTo>
                <a:lnTo>
                  <a:pt x="5124449" y="547495"/>
                </a:lnTo>
                <a:cubicBezTo>
                  <a:pt x="5130946" y="547484"/>
                  <a:pt x="5140331" y="547405"/>
                  <a:pt x="5152605" y="547258"/>
                </a:cubicBezTo>
                <a:cubicBezTo>
                  <a:pt x="5164879" y="547112"/>
                  <a:pt x="5176671" y="546965"/>
                  <a:pt x="5187984" y="546819"/>
                </a:cubicBezTo>
                <a:cubicBezTo>
                  <a:pt x="5199295" y="546672"/>
                  <a:pt x="5206757" y="546594"/>
                  <a:pt x="5210369" y="546582"/>
                </a:cubicBezTo>
                <a:close/>
                <a:moveTo>
                  <a:pt x="1486094" y="546582"/>
                </a:moveTo>
                <a:cubicBezTo>
                  <a:pt x="1529047" y="547313"/>
                  <a:pt x="1558935" y="556697"/>
                  <a:pt x="1575756" y="574734"/>
                </a:cubicBezTo>
                <a:cubicBezTo>
                  <a:pt x="1592578" y="592770"/>
                  <a:pt x="1600630" y="615076"/>
                  <a:pt x="1599914" y="641651"/>
                </a:cubicBezTo>
                <a:cubicBezTo>
                  <a:pt x="1599221" y="666665"/>
                  <a:pt x="1592047" y="686840"/>
                  <a:pt x="1578392" y="702179"/>
                </a:cubicBezTo>
                <a:cubicBezTo>
                  <a:pt x="1564737" y="717517"/>
                  <a:pt x="1548761" y="727510"/>
                  <a:pt x="1530463" y="732160"/>
                </a:cubicBezTo>
                <a:lnTo>
                  <a:pt x="1636947" y="867480"/>
                </a:lnTo>
                <a:lnTo>
                  <a:pt x="1589413" y="867480"/>
                </a:lnTo>
                <a:lnTo>
                  <a:pt x="1491125" y="739464"/>
                </a:lnTo>
                <a:lnTo>
                  <a:pt x="1438980" y="739464"/>
                </a:lnTo>
                <a:lnTo>
                  <a:pt x="1438980" y="867480"/>
                </a:lnTo>
                <a:lnTo>
                  <a:pt x="1400175" y="867480"/>
                </a:lnTo>
                <a:lnTo>
                  <a:pt x="1400175" y="547495"/>
                </a:lnTo>
                <a:cubicBezTo>
                  <a:pt x="1406671" y="547484"/>
                  <a:pt x="1416056" y="547405"/>
                  <a:pt x="1428330" y="547258"/>
                </a:cubicBezTo>
                <a:cubicBezTo>
                  <a:pt x="1440604" y="547112"/>
                  <a:pt x="1452397" y="546965"/>
                  <a:pt x="1463709" y="546819"/>
                </a:cubicBezTo>
                <a:cubicBezTo>
                  <a:pt x="1475021" y="546672"/>
                  <a:pt x="1482482" y="546594"/>
                  <a:pt x="1486094" y="546582"/>
                </a:cubicBezTo>
                <a:close/>
                <a:moveTo>
                  <a:pt x="3725833" y="546125"/>
                </a:moveTo>
                <a:cubicBezTo>
                  <a:pt x="3768365" y="546517"/>
                  <a:pt x="3802862" y="553907"/>
                  <a:pt x="3829326" y="568296"/>
                </a:cubicBezTo>
                <a:cubicBezTo>
                  <a:pt x="3855789" y="582685"/>
                  <a:pt x="3875139" y="601723"/>
                  <a:pt x="3887374" y="625411"/>
                </a:cubicBezTo>
                <a:cubicBezTo>
                  <a:pt x="3899609" y="649098"/>
                  <a:pt x="3905651" y="675085"/>
                  <a:pt x="3905497" y="703372"/>
                </a:cubicBezTo>
                <a:cubicBezTo>
                  <a:pt x="3905495" y="734059"/>
                  <a:pt x="3898698" y="761802"/>
                  <a:pt x="3885104" y="786602"/>
                </a:cubicBezTo>
                <a:cubicBezTo>
                  <a:pt x="3871511" y="811402"/>
                  <a:pt x="3851134" y="831146"/>
                  <a:pt x="3823973" y="845834"/>
                </a:cubicBezTo>
                <a:cubicBezTo>
                  <a:pt x="3796812" y="860522"/>
                  <a:pt x="3762879" y="868042"/>
                  <a:pt x="3722173" y="868394"/>
                </a:cubicBezTo>
                <a:cubicBezTo>
                  <a:pt x="3711178" y="868356"/>
                  <a:pt x="3698758" y="868204"/>
                  <a:pt x="3684913" y="867938"/>
                </a:cubicBezTo>
                <a:cubicBezTo>
                  <a:pt x="3671068" y="867671"/>
                  <a:pt x="3657287" y="867519"/>
                  <a:pt x="3643571" y="867481"/>
                </a:cubicBezTo>
                <a:lnTo>
                  <a:pt x="3638550" y="867481"/>
                </a:lnTo>
                <a:lnTo>
                  <a:pt x="3638550" y="547494"/>
                </a:lnTo>
                <a:lnTo>
                  <a:pt x="3644028" y="547494"/>
                </a:lnTo>
                <a:cubicBezTo>
                  <a:pt x="3654995" y="547437"/>
                  <a:pt x="3667995" y="547209"/>
                  <a:pt x="3683030" y="546810"/>
                </a:cubicBezTo>
                <a:cubicBezTo>
                  <a:pt x="3698064" y="546410"/>
                  <a:pt x="3712332" y="546182"/>
                  <a:pt x="3725833" y="546125"/>
                </a:cubicBezTo>
                <a:close/>
                <a:moveTo>
                  <a:pt x="3049190" y="545668"/>
                </a:moveTo>
                <a:lnTo>
                  <a:pt x="3082566" y="545668"/>
                </a:lnTo>
                <a:lnTo>
                  <a:pt x="3220183" y="867480"/>
                </a:lnTo>
                <a:lnTo>
                  <a:pt x="3178578" y="867480"/>
                </a:lnTo>
                <a:lnTo>
                  <a:pt x="3137430" y="770553"/>
                </a:lnTo>
                <a:lnTo>
                  <a:pt x="2991583" y="770553"/>
                </a:lnTo>
                <a:lnTo>
                  <a:pt x="2950892" y="867480"/>
                </a:lnTo>
                <a:lnTo>
                  <a:pt x="2911573" y="867480"/>
                </a:lnTo>
                <a:close/>
                <a:moveTo>
                  <a:pt x="1782366" y="545668"/>
                </a:moveTo>
                <a:lnTo>
                  <a:pt x="1815741" y="545668"/>
                </a:lnTo>
                <a:lnTo>
                  <a:pt x="1953358" y="867480"/>
                </a:lnTo>
                <a:lnTo>
                  <a:pt x="1911753" y="867480"/>
                </a:lnTo>
                <a:lnTo>
                  <a:pt x="1870605" y="770553"/>
                </a:lnTo>
                <a:lnTo>
                  <a:pt x="1724758" y="770553"/>
                </a:lnTo>
                <a:lnTo>
                  <a:pt x="1684068" y="867480"/>
                </a:lnTo>
                <a:lnTo>
                  <a:pt x="1644748" y="867480"/>
                </a:lnTo>
                <a:close/>
                <a:moveTo>
                  <a:pt x="2679391" y="542925"/>
                </a:moveTo>
                <a:cubicBezTo>
                  <a:pt x="2698136" y="543058"/>
                  <a:pt x="2715190" y="546101"/>
                  <a:pt x="2730552" y="552054"/>
                </a:cubicBezTo>
                <a:cubicBezTo>
                  <a:pt x="2745914" y="558008"/>
                  <a:pt x="2758270" y="566072"/>
                  <a:pt x="2767621" y="576248"/>
                </a:cubicBezTo>
                <a:lnTo>
                  <a:pt x="2746618" y="605508"/>
                </a:lnTo>
                <a:cubicBezTo>
                  <a:pt x="2738258" y="597020"/>
                  <a:pt x="2728809" y="590561"/>
                  <a:pt x="2718271" y="586131"/>
                </a:cubicBezTo>
                <a:cubicBezTo>
                  <a:pt x="2707732" y="581701"/>
                  <a:pt x="2695535" y="579472"/>
                  <a:pt x="2681678" y="579444"/>
                </a:cubicBezTo>
                <a:cubicBezTo>
                  <a:pt x="2663667" y="579634"/>
                  <a:pt x="2649601" y="583940"/>
                  <a:pt x="2639480" y="592362"/>
                </a:cubicBezTo>
                <a:cubicBezTo>
                  <a:pt x="2629360" y="600783"/>
                  <a:pt x="2624213" y="612178"/>
                  <a:pt x="2624042" y="626544"/>
                </a:cubicBezTo>
                <a:cubicBezTo>
                  <a:pt x="2624459" y="642037"/>
                  <a:pt x="2629880" y="654167"/>
                  <a:pt x="2640304" y="662935"/>
                </a:cubicBezTo>
                <a:cubicBezTo>
                  <a:pt x="2650728" y="671703"/>
                  <a:pt x="2663654" y="679092"/>
                  <a:pt x="2679082" y="685101"/>
                </a:cubicBezTo>
                <a:cubicBezTo>
                  <a:pt x="2694509" y="691111"/>
                  <a:pt x="2709937" y="697724"/>
                  <a:pt x="2725365" y="704941"/>
                </a:cubicBezTo>
                <a:cubicBezTo>
                  <a:pt x="2740793" y="712158"/>
                  <a:pt x="2753719" y="721961"/>
                  <a:pt x="2764143" y="734351"/>
                </a:cubicBezTo>
                <a:cubicBezTo>
                  <a:pt x="2774567" y="746741"/>
                  <a:pt x="2779987" y="763700"/>
                  <a:pt x="2780404" y="785229"/>
                </a:cubicBezTo>
                <a:cubicBezTo>
                  <a:pt x="2779693" y="811853"/>
                  <a:pt x="2769585" y="832897"/>
                  <a:pt x="2750082" y="848360"/>
                </a:cubicBezTo>
                <a:cubicBezTo>
                  <a:pt x="2730578" y="863823"/>
                  <a:pt x="2705947" y="871721"/>
                  <a:pt x="2676189" y="872052"/>
                </a:cubicBezTo>
                <a:cubicBezTo>
                  <a:pt x="2655769" y="871938"/>
                  <a:pt x="2636015" y="867714"/>
                  <a:pt x="2616928" y="859382"/>
                </a:cubicBezTo>
                <a:cubicBezTo>
                  <a:pt x="2597841" y="851049"/>
                  <a:pt x="2583925" y="839288"/>
                  <a:pt x="2575179" y="824100"/>
                </a:cubicBezTo>
                <a:lnTo>
                  <a:pt x="2597561" y="797576"/>
                </a:lnTo>
                <a:cubicBezTo>
                  <a:pt x="2607359" y="809962"/>
                  <a:pt x="2619507" y="819375"/>
                  <a:pt x="2634003" y="825815"/>
                </a:cubicBezTo>
                <a:cubicBezTo>
                  <a:pt x="2648499" y="832255"/>
                  <a:pt x="2662714" y="835495"/>
                  <a:pt x="2676647" y="835533"/>
                </a:cubicBezTo>
                <a:cubicBezTo>
                  <a:pt x="2693867" y="835485"/>
                  <a:pt x="2708485" y="831236"/>
                  <a:pt x="2720502" y="822785"/>
                </a:cubicBezTo>
                <a:cubicBezTo>
                  <a:pt x="2732519" y="814335"/>
                  <a:pt x="2738790" y="801969"/>
                  <a:pt x="2739313" y="785687"/>
                </a:cubicBezTo>
                <a:cubicBezTo>
                  <a:pt x="2738897" y="770359"/>
                  <a:pt x="2733476" y="758228"/>
                  <a:pt x="2723052" y="749292"/>
                </a:cubicBezTo>
                <a:cubicBezTo>
                  <a:pt x="2712628" y="740357"/>
                  <a:pt x="2699702" y="732740"/>
                  <a:pt x="2684274" y="726442"/>
                </a:cubicBezTo>
                <a:cubicBezTo>
                  <a:pt x="2668846" y="720144"/>
                  <a:pt x="2653419" y="713288"/>
                  <a:pt x="2637991" y="705874"/>
                </a:cubicBezTo>
                <a:cubicBezTo>
                  <a:pt x="2622563" y="698460"/>
                  <a:pt x="2609637" y="688612"/>
                  <a:pt x="2599213" y="676329"/>
                </a:cubicBezTo>
                <a:cubicBezTo>
                  <a:pt x="2588789" y="664045"/>
                  <a:pt x="2583368" y="647451"/>
                  <a:pt x="2582951" y="626544"/>
                </a:cubicBezTo>
                <a:cubicBezTo>
                  <a:pt x="2583168" y="602853"/>
                  <a:pt x="2591637" y="583143"/>
                  <a:pt x="2608361" y="567414"/>
                </a:cubicBezTo>
                <a:cubicBezTo>
                  <a:pt x="2625084" y="551685"/>
                  <a:pt x="2648760" y="543522"/>
                  <a:pt x="2679391" y="542925"/>
                </a:cubicBezTo>
                <a:close/>
                <a:moveTo>
                  <a:pt x="2132355" y="542925"/>
                </a:moveTo>
                <a:cubicBezTo>
                  <a:pt x="2153926" y="542934"/>
                  <a:pt x="2172866" y="545540"/>
                  <a:pt x="2189175" y="550742"/>
                </a:cubicBezTo>
                <a:cubicBezTo>
                  <a:pt x="2205484" y="555944"/>
                  <a:pt x="2220074" y="563685"/>
                  <a:pt x="2232945" y="573966"/>
                </a:cubicBezTo>
                <a:lnTo>
                  <a:pt x="2216046" y="605058"/>
                </a:lnTo>
                <a:cubicBezTo>
                  <a:pt x="2206461" y="596587"/>
                  <a:pt x="2194761" y="590202"/>
                  <a:pt x="2180946" y="585904"/>
                </a:cubicBezTo>
                <a:cubicBezTo>
                  <a:pt x="2167131" y="581607"/>
                  <a:pt x="2152458" y="579453"/>
                  <a:pt x="2136929" y="579444"/>
                </a:cubicBezTo>
                <a:cubicBezTo>
                  <a:pt x="2100686" y="579949"/>
                  <a:pt x="2071645" y="591631"/>
                  <a:pt x="2049808" y="614492"/>
                </a:cubicBezTo>
                <a:cubicBezTo>
                  <a:pt x="2027971" y="637352"/>
                  <a:pt x="2016766" y="668359"/>
                  <a:pt x="2016195" y="707512"/>
                </a:cubicBezTo>
                <a:cubicBezTo>
                  <a:pt x="2016738" y="746839"/>
                  <a:pt x="2028000" y="777888"/>
                  <a:pt x="2049980" y="800659"/>
                </a:cubicBezTo>
                <a:cubicBezTo>
                  <a:pt x="2071960" y="823430"/>
                  <a:pt x="2101400" y="835055"/>
                  <a:pt x="2138301" y="835533"/>
                </a:cubicBezTo>
                <a:cubicBezTo>
                  <a:pt x="2153878" y="835380"/>
                  <a:pt x="2169256" y="832712"/>
                  <a:pt x="2184434" y="827527"/>
                </a:cubicBezTo>
                <a:cubicBezTo>
                  <a:pt x="2199611" y="822342"/>
                  <a:pt x="2211673" y="815556"/>
                  <a:pt x="2220620" y="807169"/>
                </a:cubicBezTo>
                <a:lnTo>
                  <a:pt x="2220620" y="741292"/>
                </a:lnTo>
                <a:lnTo>
                  <a:pt x="2134185" y="741292"/>
                </a:lnTo>
                <a:lnTo>
                  <a:pt x="2134185" y="704774"/>
                </a:lnTo>
                <a:lnTo>
                  <a:pt x="2257139" y="704774"/>
                </a:lnTo>
                <a:lnTo>
                  <a:pt x="2257139" y="827756"/>
                </a:lnTo>
                <a:cubicBezTo>
                  <a:pt x="2242254" y="841991"/>
                  <a:pt x="2223731" y="852913"/>
                  <a:pt x="2201569" y="860523"/>
                </a:cubicBezTo>
                <a:cubicBezTo>
                  <a:pt x="2179408" y="868133"/>
                  <a:pt x="2158014" y="871976"/>
                  <a:pt x="2137386" y="872052"/>
                </a:cubicBezTo>
                <a:cubicBezTo>
                  <a:pt x="2087007" y="871424"/>
                  <a:pt x="2047498" y="856458"/>
                  <a:pt x="2018859" y="827153"/>
                </a:cubicBezTo>
                <a:cubicBezTo>
                  <a:pt x="1990219" y="797848"/>
                  <a:pt x="1975635" y="757968"/>
                  <a:pt x="1975104" y="707512"/>
                </a:cubicBezTo>
                <a:cubicBezTo>
                  <a:pt x="1975275" y="676538"/>
                  <a:pt x="1981785" y="648695"/>
                  <a:pt x="1994633" y="623982"/>
                </a:cubicBezTo>
                <a:cubicBezTo>
                  <a:pt x="2007480" y="599269"/>
                  <a:pt x="2025638" y="579664"/>
                  <a:pt x="2049106" y="565166"/>
                </a:cubicBezTo>
                <a:cubicBezTo>
                  <a:pt x="2072574" y="550668"/>
                  <a:pt x="2100324" y="543254"/>
                  <a:pt x="2132355" y="542925"/>
                </a:cubicBezTo>
                <a:close/>
                <a:moveTo>
                  <a:pt x="1166745" y="542925"/>
                </a:moveTo>
                <a:cubicBezTo>
                  <a:pt x="1197985" y="543153"/>
                  <a:pt x="1225841" y="550159"/>
                  <a:pt x="1250313" y="563943"/>
                </a:cubicBezTo>
                <a:cubicBezTo>
                  <a:pt x="1274786" y="577728"/>
                  <a:pt x="1294100" y="596924"/>
                  <a:pt x="1308258" y="621531"/>
                </a:cubicBezTo>
                <a:cubicBezTo>
                  <a:pt x="1322415" y="646139"/>
                  <a:pt x="1329642" y="674791"/>
                  <a:pt x="1329938" y="707487"/>
                </a:cubicBezTo>
                <a:cubicBezTo>
                  <a:pt x="1329642" y="739464"/>
                  <a:pt x="1322415" y="767777"/>
                  <a:pt x="1308258" y="792428"/>
                </a:cubicBezTo>
                <a:cubicBezTo>
                  <a:pt x="1294100" y="817078"/>
                  <a:pt x="1274786" y="836443"/>
                  <a:pt x="1250313" y="850524"/>
                </a:cubicBezTo>
                <a:cubicBezTo>
                  <a:pt x="1225841" y="864606"/>
                  <a:pt x="1197985" y="871781"/>
                  <a:pt x="1166745" y="872052"/>
                </a:cubicBezTo>
                <a:cubicBezTo>
                  <a:pt x="1135505" y="871824"/>
                  <a:pt x="1107649" y="864817"/>
                  <a:pt x="1083177" y="851033"/>
                </a:cubicBezTo>
                <a:cubicBezTo>
                  <a:pt x="1058705" y="837248"/>
                  <a:pt x="1039390" y="818051"/>
                  <a:pt x="1025233" y="793444"/>
                </a:cubicBezTo>
                <a:cubicBezTo>
                  <a:pt x="1011076" y="768836"/>
                  <a:pt x="1003849" y="740184"/>
                  <a:pt x="1003554" y="707487"/>
                </a:cubicBezTo>
                <a:cubicBezTo>
                  <a:pt x="1003807" y="676231"/>
                  <a:pt x="1010864" y="648256"/>
                  <a:pt x="1024725" y="623564"/>
                </a:cubicBezTo>
                <a:cubicBezTo>
                  <a:pt x="1038586" y="598872"/>
                  <a:pt x="1057731" y="579337"/>
                  <a:pt x="1082161" y="564960"/>
                </a:cubicBezTo>
                <a:cubicBezTo>
                  <a:pt x="1106591" y="550582"/>
                  <a:pt x="1134785" y="543237"/>
                  <a:pt x="1166745" y="542925"/>
                </a:cubicBezTo>
                <a:close/>
                <a:moveTo>
                  <a:pt x="602941" y="542925"/>
                </a:moveTo>
                <a:cubicBezTo>
                  <a:pt x="621686" y="543058"/>
                  <a:pt x="638740" y="546101"/>
                  <a:pt x="654102" y="552054"/>
                </a:cubicBezTo>
                <a:cubicBezTo>
                  <a:pt x="669464" y="558008"/>
                  <a:pt x="681820" y="566072"/>
                  <a:pt x="691171" y="576248"/>
                </a:cubicBezTo>
                <a:lnTo>
                  <a:pt x="670169" y="605508"/>
                </a:lnTo>
                <a:cubicBezTo>
                  <a:pt x="661809" y="597020"/>
                  <a:pt x="652359" y="590561"/>
                  <a:pt x="641821" y="586131"/>
                </a:cubicBezTo>
                <a:cubicBezTo>
                  <a:pt x="631283" y="581701"/>
                  <a:pt x="619085" y="579472"/>
                  <a:pt x="605228" y="579444"/>
                </a:cubicBezTo>
                <a:cubicBezTo>
                  <a:pt x="587217" y="579634"/>
                  <a:pt x="573151" y="583940"/>
                  <a:pt x="563030" y="592362"/>
                </a:cubicBezTo>
                <a:cubicBezTo>
                  <a:pt x="552910" y="600783"/>
                  <a:pt x="547764" y="612178"/>
                  <a:pt x="547592" y="626544"/>
                </a:cubicBezTo>
                <a:cubicBezTo>
                  <a:pt x="548009" y="642037"/>
                  <a:pt x="553430" y="654167"/>
                  <a:pt x="563854" y="662935"/>
                </a:cubicBezTo>
                <a:cubicBezTo>
                  <a:pt x="574278" y="671703"/>
                  <a:pt x="587204" y="679092"/>
                  <a:pt x="602632" y="685101"/>
                </a:cubicBezTo>
                <a:cubicBezTo>
                  <a:pt x="618059" y="691111"/>
                  <a:pt x="633487" y="697724"/>
                  <a:pt x="648915" y="704941"/>
                </a:cubicBezTo>
                <a:cubicBezTo>
                  <a:pt x="664343" y="712158"/>
                  <a:pt x="677269" y="721961"/>
                  <a:pt x="687693" y="734351"/>
                </a:cubicBezTo>
                <a:cubicBezTo>
                  <a:pt x="698117" y="746741"/>
                  <a:pt x="703538" y="763700"/>
                  <a:pt x="703954" y="785229"/>
                </a:cubicBezTo>
                <a:cubicBezTo>
                  <a:pt x="703243" y="811853"/>
                  <a:pt x="693136" y="832897"/>
                  <a:pt x="673632" y="848360"/>
                </a:cubicBezTo>
                <a:cubicBezTo>
                  <a:pt x="654128" y="863823"/>
                  <a:pt x="629497" y="871721"/>
                  <a:pt x="599739" y="872052"/>
                </a:cubicBezTo>
                <a:cubicBezTo>
                  <a:pt x="579319" y="871938"/>
                  <a:pt x="559565" y="867714"/>
                  <a:pt x="540478" y="859382"/>
                </a:cubicBezTo>
                <a:cubicBezTo>
                  <a:pt x="521391" y="851049"/>
                  <a:pt x="507475" y="839288"/>
                  <a:pt x="498729" y="824100"/>
                </a:cubicBezTo>
                <a:lnTo>
                  <a:pt x="521111" y="797576"/>
                </a:lnTo>
                <a:cubicBezTo>
                  <a:pt x="530909" y="809962"/>
                  <a:pt x="543057" y="819375"/>
                  <a:pt x="557553" y="825815"/>
                </a:cubicBezTo>
                <a:cubicBezTo>
                  <a:pt x="572049" y="832255"/>
                  <a:pt x="586264" y="835495"/>
                  <a:pt x="600197" y="835533"/>
                </a:cubicBezTo>
                <a:cubicBezTo>
                  <a:pt x="617417" y="835485"/>
                  <a:pt x="632035" y="831236"/>
                  <a:pt x="644052" y="822785"/>
                </a:cubicBezTo>
                <a:cubicBezTo>
                  <a:pt x="656069" y="814335"/>
                  <a:pt x="662340" y="801969"/>
                  <a:pt x="662864" y="785687"/>
                </a:cubicBezTo>
                <a:cubicBezTo>
                  <a:pt x="662447" y="770359"/>
                  <a:pt x="657026" y="758228"/>
                  <a:pt x="646602" y="749292"/>
                </a:cubicBezTo>
                <a:cubicBezTo>
                  <a:pt x="636178" y="740357"/>
                  <a:pt x="623252" y="732740"/>
                  <a:pt x="607824" y="726442"/>
                </a:cubicBezTo>
                <a:cubicBezTo>
                  <a:pt x="592396" y="720144"/>
                  <a:pt x="576969" y="713288"/>
                  <a:pt x="561541" y="705874"/>
                </a:cubicBezTo>
                <a:cubicBezTo>
                  <a:pt x="546113" y="698460"/>
                  <a:pt x="533187" y="688612"/>
                  <a:pt x="522763" y="676329"/>
                </a:cubicBezTo>
                <a:cubicBezTo>
                  <a:pt x="512339" y="664045"/>
                  <a:pt x="506918" y="647451"/>
                  <a:pt x="506501" y="626544"/>
                </a:cubicBezTo>
                <a:cubicBezTo>
                  <a:pt x="506718" y="602853"/>
                  <a:pt x="515188" y="583143"/>
                  <a:pt x="531911" y="567414"/>
                </a:cubicBezTo>
                <a:cubicBezTo>
                  <a:pt x="548634" y="551685"/>
                  <a:pt x="572311" y="543522"/>
                  <a:pt x="602941" y="542925"/>
                </a:cubicBezTo>
                <a:close/>
                <a:moveTo>
                  <a:pt x="4312510" y="54406"/>
                </a:moveTo>
                <a:lnTo>
                  <a:pt x="4254903" y="191109"/>
                </a:lnTo>
                <a:lnTo>
                  <a:pt x="4370117" y="191109"/>
                </a:lnTo>
                <a:close/>
                <a:moveTo>
                  <a:pt x="3188560" y="54406"/>
                </a:moveTo>
                <a:lnTo>
                  <a:pt x="3130953" y="191109"/>
                </a:lnTo>
                <a:lnTo>
                  <a:pt x="3246167" y="191109"/>
                </a:lnTo>
                <a:close/>
                <a:moveTo>
                  <a:pt x="2197960" y="54406"/>
                </a:moveTo>
                <a:lnTo>
                  <a:pt x="2140353" y="191109"/>
                </a:lnTo>
                <a:lnTo>
                  <a:pt x="2255567" y="191109"/>
                </a:lnTo>
                <a:close/>
                <a:moveTo>
                  <a:pt x="1883856" y="40176"/>
                </a:moveTo>
                <a:cubicBezTo>
                  <a:pt x="1878529" y="40186"/>
                  <a:pt x="1871687" y="40281"/>
                  <a:pt x="1863330" y="40462"/>
                </a:cubicBezTo>
                <a:cubicBezTo>
                  <a:pt x="1854973" y="40643"/>
                  <a:pt x="1846873" y="40853"/>
                  <a:pt x="1839030" y="41091"/>
                </a:cubicBezTo>
                <a:lnTo>
                  <a:pt x="1839030" y="160020"/>
                </a:lnTo>
                <a:lnTo>
                  <a:pt x="1886143" y="160020"/>
                </a:lnTo>
                <a:cubicBezTo>
                  <a:pt x="1905384" y="159858"/>
                  <a:pt x="1922137" y="154464"/>
                  <a:pt x="1936402" y="143839"/>
                </a:cubicBezTo>
                <a:cubicBezTo>
                  <a:pt x="1950668" y="133213"/>
                  <a:pt x="1958158" y="118328"/>
                  <a:pt x="1958873" y="99183"/>
                </a:cubicBezTo>
                <a:cubicBezTo>
                  <a:pt x="1959293" y="82316"/>
                  <a:pt x="1953880" y="68365"/>
                  <a:pt x="1942635" y="57329"/>
                </a:cubicBezTo>
                <a:cubicBezTo>
                  <a:pt x="1931390" y="46294"/>
                  <a:pt x="1911797" y="40576"/>
                  <a:pt x="1883856" y="40176"/>
                </a:cubicBezTo>
                <a:close/>
                <a:moveTo>
                  <a:pt x="3400425" y="4572"/>
                </a:moveTo>
                <a:lnTo>
                  <a:pt x="3431466" y="4572"/>
                </a:lnTo>
                <a:lnTo>
                  <a:pt x="3631311" y="256901"/>
                </a:lnTo>
                <a:lnTo>
                  <a:pt x="3631311" y="4572"/>
                </a:lnTo>
                <a:lnTo>
                  <a:pt x="3667829" y="4572"/>
                </a:lnTo>
                <a:lnTo>
                  <a:pt x="3667829" y="324555"/>
                </a:lnTo>
                <a:lnTo>
                  <a:pt x="3636789" y="324555"/>
                </a:lnTo>
                <a:lnTo>
                  <a:pt x="3436944" y="73141"/>
                </a:lnTo>
                <a:lnTo>
                  <a:pt x="3436944" y="324555"/>
                </a:lnTo>
                <a:lnTo>
                  <a:pt x="3400425" y="324555"/>
                </a:lnTo>
                <a:close/>
                <a:moveTo>
                  <a:pt x="2933319" y="4572"/>
                </a:moveTo>
                <a:lnTo>
                  <a:pt x="2972123" y="4572"/>
                </a:lnTo>
                <a:lnTo>
                  <a:pt x="2972123" y="324555"/>
                </a:lnTo>
                <a:lnTo>
                  <a:pt x="2933319" y="324555"/>
                </a:lnTo>
                <a:close/>
                <a:moveTo>
                  <a:pt x="2562225" y="4572"/>
                </a:moveTo>
                <a:lnTo>
                  <a:pt x="2593266" y="4572"/>
                </a:lnTo>
                <a:lnTo>
                  <a:pt x="2793111" y="256901"/>
                </a:lnTo>
                <a:lnTo>
                  <a:pt x="2793111" y="4572"/>
                </a:lnTo>
                <a:lnTo>
                  <a:pt x="2829630" y="4572"/>
                </a:lnTo>
                <a:lnTo>
                  <a:pt x="2829630" y="324555"/>
                </a:lnTo>
                <a:lnTo>
                  <a:pt x="2798589" y="324555"/>
                </a:lnTo>
                <a:lnTo>
                  <a:pt x="2598743" y="73141"/>
                </a:lnTo>
                <a:lnTo>
                  <a:pt x="2598743" y="324555"/>
                </a:lnTo>
                <a:lnTo>
                  <a:pt x="2562225" y="324555"/>
                </a:lnTo>
                <a:close/>
                <a:moveTo>
                  <a:pt x="2418969" y="4572"/>
                </a:moveTo>
                <a:lnTo>
                  <a:pt x="2457774" y="4572"/>
                </a:lnTo>
                <a:lnTo>
                  <a:pt x="2457774" y="324555"/>
                </a:lnTo>
                <a:lnTo>
                  <a:pt x="2418969" y="324555"/>
                </a:lnTo>
                <a:close/>
                <a:moveTo>
                  <a:pt x="1691888" y="4572"/>
                </a:moveTo>
                <a:lnTo>
                  <a:pt x="1738979" y="4572"/>
                </a:lnTo>
                <a:lnTo>
                  <a:pt x="1596333" y="154964"/>
                </a:lnTo>
                <a:lnTo>
                  <a:pt x="1746294" y="324555"/>
                </a:lnTo>
                <a:lnTo>
                  <a:pt x="1696459" y="324555"/>
                </a:lnTo>
                <a:lnTo>
                  <a:pt x="1551527" y="157707"/>
                </a:lnTo>
                <a:close/>
                <a:moveTo>
                  <a:pt x="1504950" y="4572"/>
                </a:moveTo>
                <a:lnTo>
                  <a:pt x="1543755" y="4572"/>
                </a:lnTo>
                <a:lnTo>
                  <a:pt x="1543755" y="324555"/>
                </a:lnTo>
                <a:lnTo>
                  <a:pt x="1504950" y="324555"/>
                </a:lnTo>
                <a:close/>
                <a:moveTo>
                  <a:pt x="1157478" y="4572"/>
                </a:moveTo>
                <a:lnTo>
                  <a:pt x="1196283" y="4572"/>
                </a:lnTo>
                <a:lnTo>
                  <a:pt x="1196283" y="180594"/>
                </a:lnTo>
                <a:cubicBezTo>
                  <a:pt x="1196445" y="215646"/>
                  <a:pt x="1204582" y="242925"/>
                  <a:pt x="1220693" y="262432"/>
                </a:cubicBezTo>
                <a:cubicBezTo>
                  <a:pt x="1236805" y="281940"/>
                  <a:pt x="1259920" y="291846"/>
                  <a:pt x="1290039" y="292150"/>
                </a:cubicBezTo>
                <a:cubicBezTo>
                  <a:pt x="1316593" y="292160"/>
                  <a:pt x="1337346" y="283111"/>
                  <a:pt x="1352295" y="265004"/>
                </a:cubicBezTo>
                <a:cubicBezTo>
                  <a:pt x="1367244" y="246897"/>
                  <a:pt x="1374848" y="219675"/>
                  <a:pt x="1375105" y="183337"/>
                </a:cubicBezTo>
                <a:lnTo>
                  <a:pt x="1375105" y="4572"/>
                </a:lnTo>
                <a:lnTo>
                  <a:pt x="1413910" y="4572"/>
                </a:lnTo>
                <a:lnTo>
                  <a:pt x="1413910" y="191109"/>
                </a:lnTo>
                <a:cubicBezTo>
                  <a:pt x="1413592" y="223609"/>
                  <a:pt x="1407731" y="249992"/>
                  <a:pt x="1396329" y="270258"/>
                </a:cubicBezTo>
                <a:cubicBezTo>
                  <a:pt x="1384926" y="290523"/>
                  <a:pt x="1369890" y="305354"/>
                  <a:pt x="1351220" y="314748"/>
                </a:cubicBezTo>
                <a:cubicBezTo>
                  <a:pt x="1332551" y="324142"/>
                  <a:pt x="1312157" y="328783"/>
                  <a:pt x="1290039" y="328669"/>
                </a:cubicBezTo>
                <a:cubicBezTo>
                  <a:pt x="1250900" y="328662"/>
                  <a:pt x="1219203" y="316918"/>
                  <a:pt x="1194945" y="293436"/>
                </a:cubicBezTo>
                <a:cubicBezTo>
                  <a:pt x="1170688" y="269955"/>
                  <a:pt x="1158199" y="234779"/>
                  <a:pt x="1157478" y="187909"/>
                </a:cubicBezTo>
                <a:close/>
                <a:moveTo>
                  <a:pt x="1886143" y="3657"/>
                </a:moveTo>
                <a:cubicBezTo>
                  <a:pt x="1929097" y="4388"/>
                  <a:pt x="1958985" y="13772"/>
                  <a:pt x="1975806" y="31809"/>
                </a:cubicBezTo>
                <a:cubicBezTo>
                  <a:pt x="1992628" y="49845"/>
                  <a:pt x="2000680" y="72151"/>
                  <a:pt x="1999964" y="98726"/>
                </a:cubicBezTo>
                <a:cubicBezTo>
                  <a:pt x="1999271" y="123739"/>
                  <a:pt x="1992097" y="143915"/>
                  <a:pt x="1978442" y="159253"/>
                </a:cubicBezTo>
                <a:cubicBezTo>
                  <a:pt x="1964787" y="174592"/>
                  <a:pt x="1948810" y="184585"/>
                  <a:pt x="1930513" y="189235"/>
                </a:cubicBezTo>
                <a:lnTo>
                  <a:pt x="2036997" y="324555"/>
                </a:lnTo>
                <a:lnTo>
                  <a:pt x="1989463" y="324555"/>
                </a:lnTo>
                <a:lnTo>
                  <a:pt x="1891175" y="196539"/>
                </a:lnTo>
                <a:lnTo>
                  <a:pt x="1839030" y="196539"/>
                </a:lnTo>
                <a:lnTo>
                  <a:pt x="1839030" y="324555"/>
                </a:lnTo>
                <a:lnTo>
                  <a:pt x="1800225" y="324555"/>
                </a:lnTo>
                <a:lnTo>
                  <a:pt x="1800225" y="4570"/>
                </a:lnTo>
                <a:cubicBezTo>
                  <a:pt x="1806721" y="4559"/>
                  <a:pt x="1816107" y="4480"/>
                  <a:pt x="1828380" y="4333"/>
                </a:cubicBezTo>
                <a:cubicBezTo>
                  <a:pt x="1840654" y="4187"/>
                  <a:pt x="1852447" y="4040"/>
                  <a:pt x="1863759" y="3894"/>
                </a:cubicBezTo>
                <a:cubicBezTo>
                  <a:pt x="1875071" y="3747"/>
                  <a:pt x="1882533" y="3668"/>
                  <a:pt x="1886143" y="3657"/>
                </a:cubicBezTo>
                <a:close/>
                <a:moveTo>
                  <a:pt x="4296965" y="2743"/>
                </a:moveTo>
                <a:lnTo>
                  <a:pt x="4330341" y="2743"/>
                </a:lnTo>
                <a:lnTo>
                  <a:pt x="4467958" y="324555"/>
                </a:lnTo>
                <a:lnTo>
                  <a:pt x="4426353" y="324555"/>
                </a:lnTo>
                <a:lnTo>
                  <a:pt x="4385205" y="227628"/>
                </a:lnTo>
                <a:lnTo>
                  <a:pt x="4239358" y="227628"/>
                </a:lnTo>
                <a:lnTo>
                  <a:pt x="4198667" y="324555"/>
                </a:lnTo>
                <a:lnTo>
                  <a:pt x="4159348" y="324555"/>
                </a:lnTo>
                <a:close/>
                <a:moveTo>
                  <a:pt x="3173015" y="2743"/>
                </a:moveTo>
                <a:lnTo>
                  <a:pt x="3206391" y="2743"/>
                </a:lnTo>
                <a:lnTo>
                  <a:pt x="3344008" y="324555"/>
                </a:lnTo>
                <a:lnTo>
                  <a:pt x="3302403" y="324555"/>
                </a:lnTo>
                <a:lnTo>
                  <a:pt x="3261255" y="227628"/>
                </a:lnTo>
                <a:lnTo>
                  <a:pt x="3115408" y="227628"/>
                </a:lnTo>
                <a:lnTo>
                  <a:pt x="3074717" y="324555"/>
                </a:lnTo>
                <a:lnTo>
                  <a:pt x="3035398" y="324555"/>
                </a:lnTo>
                <a:close/>
                <a:moveTo>
                  <a:pt x="2182415" y="2743"/>
                </a:moveTo>
                <a:lnTo>
                  <a:pt x="2215791" y="2743"/>
                </a:lnTo>
                <a:lnTo>
                  <a:pt x="2353408" y="324555"/>
                </a:lnTo>
                <a:lnTo>
                  <a:pt x="2311803" y="324555"/>
                </a:lnTo>
                <a:lnTo>
                  <a:pt x="2270655" y="227628"/>
                </a:lnTo>
                <a:lnTo>
                  <a:pt x="2124808" y="227628"/>
                </a:lnTo>
                <a:lnTo>
                  <a:pt x="2084117" y="324555"/>
                </a:lnTo>
                <a:lnTo>
                  <a:pt x="2044798" y="324555"/>
                </a:lnTo>
                <a:close/>
                <a:moveTo>
                  <a:pt x="4603441" y="0"/>
                </a:moveTo>
                <a:cubicBezTo>
                  <a:pt x="4622186" y="133"/>
                  <a:pt x="4639239" y="3176"/>
                  <a:pt x="4654602" y="9129"/>
                </a:cubicBezTo>
                <a:cubicBezTo>
                  <a:pt x="4669963" y="15083"/>
                  <a:pt x="4682320" y="23147"/>
                  <a:pt x="4691671" y="33323"/>
                </a:cubicBezTo>
                <a:lnTo>
                  <a:pt x="4670669" y="62583"/>
                </a:lnTo>
                <a:cubicBezTo>
                  <a:pt x="4662309" y="54095"/>
                  <a:pt x="4652859" y="47636"/>
                  <a:pt x="4642321" y="43206"/>
                </a:cubicBezTo>
                <a:cubicBezTo>
                  <a:pt x="4631783" y="38776"/>
                  <a:pt x="4619585" y="36547"/>
                  <a:pt x="4605728" y="36518"/>
                </a:cubicBezTo>
                <a:cubicBezTo>
                  <a:pt x="4587717" y="36709"/>
                  <a:pt x="4573651" y="41015"/>
                  <a:pt x="4563530" y="49437"/>
                </a:cubicBezTo>
                <a:cubicBezTo>
                  <a:pt x="4553409" y="57858"/>
                  <a:pt x="4548263" y="69252"/>
                  <a:pt x="4548092" y="83619"/>
                </a:cubicBezTo>
                <a:cubicBezTo>
                  <a:pt x="4548509" y="99112"/>
                  <a:pt x="4553929" y="111242"/>
                  <a:pt x="4564353" y="120010"/>
                </a:cubicBezTo>
                <a:cubicBezTo>
                  <a:pt x="4574777" y="128778"/>
                  <a:pt x="4587703" y="136167"/>
                  <a:pt x="4603131" y="142176"/>
                </a:cubicBezTo>
                <a:cubicBezTo>
                  <a:pt x="4618559" y="148186"/>
                  <a:pt x="4633987" y="154799"/>
                  <a:pt x="4649415" y="162016"/>
                </a:cubicBezTo>
                <a:cubicBezTo>
                  <a:pt x="4664843" y="169233"/>
                  <a:pt x="4677769" y="179036"/>
                  <a:pt x="4688193" y="191426"/>
                </a:cubicBezTo>
                <a:cubicBezTo>
                  <a:pt x="4698617" y="203816"/>
                  <a:pt x="4704037" y="220775"/>
                  <a:pt x="4704454" y="242304"/>
                </a:cubicBezTo>
                <a:cubicBezTo>
                  <a:pt x="4703743" y="268928"/>
                  <a:pt x="4693635" y="289972"/>
                  <a:pt x="4674131" y="305435"/>
                </a:cubicBezTo>
                <a:cubicBezTo>
                  <a:pt x="4654628" y="320898"/>
                  <a:pt x="4629997" y="328795"/>
                  <a:pt x="4600239" y="329127"/>
                </a:cubicBezTo>
                <a:cubicBezTo>
                  <a:pt x="4579819" y="329013"/>
                  <a:pt x="4560065" y="324789"/>
                  <a:pt x="4540979" y="316456"/>
                </a:cubicBezTo>
                <a:cubicBezTo>
                  <a:pt x="4521891" y="308123"/>
                  <a:pt x="4507975" y="296363"/>
                  <a:pt x="4499229" y="281175"/>
                </a:cubicBezTo>
                <a:lnTo>
                  <a:pt x="4521611" y="254651"/>
                </a:lnTo>
                <a:cubicBezTo>
                  <a:pt x="4531409" y="267037"/>
                  <a:pt x="4543557" y="276450"/>
                  <a:pt x="4558053" y="282890"/>
                </a:cubicBezTo>
                <a:cubicBezTo>
                  <a:pt x="4572549" y="289330"/>
                  <a:pt x="4586763" y="292570"/>
                  <a:pt x="4600697" y="292608"/>
                </a:cubicBezTo>
                <a:cubicBezTo>
                  <a:pt x="4617917" y="292560"/>
                  <a:pt x="4632535" y="288311"/>
                  <a:pt x="4644552" y="279860"/>
                </a:cubicBezTo>
                <a:cubicBezTo>
                  <a:pt x="4656569" y="271410"/>
                  <a:pt x="4662839" y="259043"/>
                  <a:pt x="4663363" y="242761"/>
                </a:cubicBezTo>
                <a:cubicBezTo>
                  <a:pt x="4662947" y="227434"/>
                  <a:pt x="4657525" y="215303"/>
                  <a:pt x="4647101" y="206367"/>
                </a:cubicBezTo>
                <a:cubicBezTo>
                  <a:pt x="4636677" y="197432"/>
                  <a:pt x="4623751" y="189815"/>
                  <a:pt x="4608324" y="183517"/>
                </a:cubicBezTo>
                <a:cubicBezTo>
                  <a:pt x="4592896" y="177219"/>
                  <a:pt x="4577469" y="170363"/>
                  <a:pt x="4562041" y="162949"/>
                </a:cubicBezTo>
                <a:cubicBezTo>
                  <a:pt x="4546613" y="155535"/>
                  <a:pt x="4533687" y="145687"/>
                  <a:pt x="4523263" y="133403"/>
                </a:cubicBezTo>
                <a:cubicBezTo>
                  <a:pt x="4512839" y="121120"/>
                  <a:pt x="4507418" y="104526"/>
                  <a:pt x="4507001" y="83619"/>
                </a:cubicBezTo>
                <a:cubicBezTo>
                  <a:pt x="4507218" y="59928"/>
                  <a:pt x="4515687" y="40218"/>
                  <a:pt x="4532411" y="24489"/>
                </a:cubicBezTo>
                <a:cubicBezTo>
                  <a:pt x="4549133" y="8760"/>
                  <a:pt x="4572811" y="597"/>
                  <a:pt x="4603441" y="0"/>
                </a:cubicBezTo>
                <a:close/>
                <a:moveTo>
                  <a:pt x="3999255" y="0"/>
                </a:moveTo>
                <a:cubicBezTo>
                  <a:pt x="4020826" y="9"/>
                  <a:pt x="4039766" y="2615"/>
                  <a:pt x="4056075" y="7817"/>
                </a:cubicBezTo>
                <a:cubicBezTo>
                  <a:pt x="4072384" y="13019"/>
                  <a:pt x="4086974" y="20760"/>
                  <a:pt x="4099845" y="31041"/>
                </a:cubicBezTo>
                <a:lnTo>
                  <a:pt x="4082946" y="62133"/>
                </a:lnTo>
                <a:cubicBezTo>
                  <a:pt x="4073361" y="53662"/>
                  <a:pt x="4061661" y="47277"/>
                  <a:pt x="4047846" y="42979"/>
                </a:cubicBezTo>
                <a:cubicBezTo>
                  <a:pt x="4034031" y="38682"/>
                  <a:pt x="4019359" y="36528"/>
                  <a:pt x="4003829" y="36518"/>
                </a:cubicBezTo>
                <a:cubicBezTo>
                  <a:pt x="3967585" y="37024"/>
                  <a:pt x="3938545" y="48706"/>
                  <a:pt x="3916708" y="71567"/>
                </a:cubicBezTo>
                <a:cubicBezTo>
                  <a:pt x="3894871" y="94427"/>
                  <a:pt x="3883666" y="125434"/>
                  <a:pt x="3883094" y="164587"/>
                </a:cubicBezTo>
                <a:cubicBezTo>
                  <a:pt x="3883637" y="203914"/>
                  <a:pt x="3894899" y="234963"/>
                  <a:pt x="3916879" y="257734"/>
                </a:cubicBezTo>
                <a:cubicBezTo>
                  <a:pt x="3938859" y="280505"/>
                  <a:pt x="3968300" y="292130"/>
                  <a:pt x="4005201" y="292608"/>
                </a:cubicBezTo>
                <a:cubicBezTo>
                  <a:pt x="4020778" y="292455"/>
                  <a:pt x="4036155" y="289787"/>
                  <a:pt x="4051333" y="284602"/>
                </a:cubicBezTo>
                <a:cubicBezTo>
                  <a:pt x="4066511" y="279417"/>
                  <a:pt x="4078573" y="272631"/>
                  <a:pt x="4087520" y="264244"/>
                </a:cubicBezTo>
                <a:lnTo>
                  <a:pt x="4087520" y="198367"/>
                </a:lnTo>
                <a:lnTo>
                  <a:pt x="4001085" y="198367"/>
                </a:lnTo>
                <a:lnTo>
                  <a:pt x="4001085" y="161848"/>
                </a:lnTo>
                <a:lnTo>
                  <a:pt x="4124039" y="161848"/>
                </a:lnTo>
                <a:lnTo>
                  <a:pt x="4124039" y="284831"/>
                </a:lnTo>
                <a:cubicBezTo>
                  <a:pt x="4109154" y="299066"/>
                  <a:pt x="4090631" y="309988"/>
                  <a:pt x="4068469" y="317598"/>
                </a:cubicBezTo>
                <a:cubicBezTo>
                  <a:pt x="4046308" y="325208"/>
                  <a:pt x="4024913" y="329051"/>
                  <a:pt x="4004285" y="329127"/>
                </a:cubicBezTo>
                <a:cubicBezTo>
                  <a:pt x="3953907" y="328499"/>
                  <a:pt x="3914397" y="313533"/>
                  <a:pt x="3885759" y="284228"/>
                </a:cubicBezTo>
                <a:cubicBezTo>
                  <a:pt x="3857119" y="254923"/>
                  <a:pt x="3842534" y="215043"/>
                  <a:pt x="3842003" y="164587"/>
                </a:cubicBezTo>
                <a:cubicBezTo>
                  <a:pt x="3842175" y="133613"/>
                  <a:pt x="3848685" y="105770"/>
                  <a:pt x="3861532" y="81057"/>
                </a:cubicBezTo>
                <a:cubicBezTo>
                  <a:pt x="3874380" y="56344"/>
                  <a:pt x="3892538" y="36739"/>
                  <a:pt x="3916006" y="22241"/>
                </a:cubicBezTo>
                <a:cubicBezTo>
                  <a:pt x="3939474" y="7743"/>
                  <a:pt x="3967223" y="329"/>
                  <a:pt x="3999255" y="0"/>
                </a:cubicBezTo>
                <a:close/>
              </a:path>
            </a:pathLst>
          </a:custGeom>
          <a:solidFill>
            <a:srgbClr val="0BA4D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uk-UA" dirty="0"/>
          </a:p>
        </p:txBody>
      </p:sp>
      <p:grpSp>
        <p:nvGrpSpPr>
          <p:cNvPr id="5" name="Групувати 4">
            <a:extLst>
              <a:ext uri="{FF2B5EF4-FFF2-40B4-BE49-F238E27FC236}">
                <a16:creationId xmlns:a16="http://schemas.microsoft.com/office/drawing/2014/main" id="{113E082B-5EE2-D073-66FC-9A384C95A5E7}"/>
              </a:ext>
            </a:extLst>
          </p:cNvPr>
          <p:cNvGrpSpPr/>
          <p:nvPr/>
        </p:nvGrpSpPr>
        <p:grpSpPr>
          <a:xfrm>
            <a:off x="8321498" y="5423111"/>
            <a:ext cx="3205037" cy="254408"/>
            <a:chOff x="8321498" y="5423111"/>
            <a:chExt cx="3205037" cy="254408"/>
          </a:xfrm>
        </p:grpSpPr>
        <p:sp>
          <p:nvSpPr>
            <p:cNvPr id="6" name="Полілінія: фігура 5">
              <a:extLst>
                <a:ext uri="{FF2B5EF4-FFF2-40B4-BE49-F238E27FC236}">
                  <a16:creationId xmlns:a16="http://schemas.microsoft.com/office/drawing/2014/main" id="{82BCE3EF-9D06-A0FD-A76A-0256AA6261C3}"/>
                </a:ext>
              </a:extLst>
            </p:cNvPr>
            <p:cNvSpPr/>
            <p:nvPr/>
          </p:nvSpPr>
          <p:spPr>
            <a:xfrm>
              <a:off x="8573038" y="5423111"/>
              <a:ext cx="220927" cy="254407"/>
            </a:xfrm>
            <a:custGeom>
              <a:avLst/>
              <a:gdLst/>
              <a:ahLst/>
              <a:cxnLst/>
              <a:rect l="l" t="t" r="r" b="b"/>
              <a:pathLst>
                <a:path w="220927" h="254407">
                  <a:moveTo>
                    <a:pt x="122977" y="0"/>
                  </a:moveTo>
                  <a:cubicBezTo>
                    <a:pt x="140451" y="51"/>
                    <a:pt x="155564" y="2237"/>
                    <a:pt x="168318" y="6557"/>
                  </a:cubicBezTo>
                  <a:cubicBezTo>
                    <a:pt x="181072" y="10877"/>
                    <a:pt x="192389" y="17023"/>
                    <a:pt x="202269" y="24995"/>
                  </a:cubicBezTo>
                  <a:lnTo>
                    <a:pt x="183962" y="59527"/>
                  </a:lnTo>
                  <a:cubicBezTo>
                    <a:pt x="177589" y="53643"/>
                    <a:pt x="169453" y="49014"/>
                    <a:pt x="159553" y="45642"/>
                  </a:cubicBezTo>
                  <a:cubicBezTo>
                    <a:pt x="149653" y="42270"/>
                    <a:pt x="139223" y="40551"/>
                    <a:pt x="128265" y="40485"/>
                  </a:cubicBezTo>
                  <a:cubicBezTo>
                    <a:pt x="104006" y="40662"/>
                    <a:pt x="84308" y="48242"/>
                    <a:pt x="69171" y="63227"/>
                  </a:cubicBezTo>
                  <a:cubicBezTo>
                    <a:pt x="54034" y="78212"/>
                    <a:pt x="46234" y="99542"/>
                    <a:pt x="45771" y="127215"/>
                  </a:cubicBezTo>
                  <a:cubicBezTo>
                    <a:pt x="46124" y="153794"/>
                    <a:pt x="53791" y="174807"/>
                    <a:pt x="68775" y="190254"/>
                  </a:cubicBezTo>
                  <a:cubicBezTo>
                    <a:pt x="83757" y="205701"/>
                    <a:pt x="103940" y="213590"/>
                    <a:pt x="129323" y="213922"/>
                  </a:cubicBezTo>
                  <a:cubicBezTo>
                    <a:pt x="139209" y="213768"/>
                    <a:pt x="148962" y="212048"/>
                    <a:pt x="158584" y="208764"/>
                  </a:cubicBezTo>
                  <a:cubicBezTo>
                    <a:pt x="168205" y="205479"/>
                    <a:pt x="175491" y="201555"/>
                    <a:pt x="180442" y="196992"/>
                  </a:cubicBezTo>
                  <a:lnTo>
                    <a:pt x="180442" y="158195"/>
                  </a:lnTo>
                  <a:lnTo>
                    <a:pt x="120862" y="158195"/>
                  </a:lnTo>
                  <a:lnTo>
                    <a:pt x="120862" y="117710"/>
                  </a:lnTo>
                  <a:lnTo>
                    <a:pt x="220927" y="117710"/>
                  </a:lnTo>
                  <a:lnTo>
                    <a:pt x="220927" y="219907"/>
                  </a:lnTo>
                  <a:cubicBezTo>
                    <a:pt x="209448" y="230893"/>
                    <a:pt x="195169" y="239372"/>
                    <a:pt x="178089" y="245342"/>
                  </a:cubicBezTo>
                  <a:cubicBezTo>
                    <a:pt x="161009" y="251312"/>
                    <a:pt x="144518" y="254334"/>
                    <a:pt x="128618" y="254407"/>
                  </a:cubicBezTo>
                  <a:cubicBezTo>
                    <a:pt x="87939" y="253909"/>
                    <a:pt x="56411" y="242314"/>
                    <a:pt x="34035" y="219623"/>
                  </a:cubicBezTo>
                  <a:cubicBezTo>
                    <a:pt x="11658" y="196931"/>
                    <a:pt x="314" y="166128"/>
                    <a:pt x="0" y="127215"/>
                  </a:cubicBezTo>
                  <a:cubicBezTo>
                    <a:pt x="121" y="103336"/>
                    <a:pt x="5161" y="81844"/>
                    <a:pt x="15118" y="62739"/>
                  </a:cubicBezTo>
                  <a:cubicBezTo>
                    <a:pt x="25075" y="43634"/>
                    <a:pt x="39224" y="28466"/>
                    <a:pt x="57564" y="17235"/>
                  </a:cubicBezTo>
                  <a:cubicBezTo>
                    <a:pt x="75904" y="6003"/>
                    <a:pt x="97708" y="258"/>
                    <a:pt x="122977" y="0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7" name="Полілінія: фігура 6">
              <a:extLst>
                <a:ext uri="{FF2B5EF4-FFF2-40B4-BE49-F238E27FC236}">
                  <a16:creationId xmlns:a16="http://schemas.microsoft.com/office/drawing/2014/main" id="{27649167-A5B6-5A19-9B2B-4C4496ABF80F}"/>
                </a:ext>
              </a:extLst>
            </p:cNvPr>
            <p:cNvSpPr/>
            <p:nvPr/>
          </p:nvSpPr>
          <p:spPr>
            <a:xfrm>
              <a:off x="10554238" y="5423111"/>
              <a:ext cx="163129" cy="254407"/>
            </a:xfrm>
            <a:custGeom>
              <a:avLst/>
              <a:gdLst/>
              <a:ahLst/>
              <a:cxnLst/>
              <a:rect l="l" t="t" r="r" b="b"/>
              <a:pathLst>
                <a:path w="163129" h="254407">
                  <a:moveTo>
                    <a:pt x="82445" y="0"/>
                  </a:moveTo>
                  <a:cubicBezTo>
                    <a:pt x="97725" y="88"/>
                    <a:pt x="111414" y="2464"/>
                    <a:pt x="123509" y="7129"/>
                  </a:cubicBezTo>
                  <a:cubicBezTo>
                    <a:pt x="135605" y="11793"/>
                    <a:pt x="145408" y="18218"/>
                    <a:pt x="152919" y="26403"/>
                  </a:cubicBezTo>
                  <a:lnTo>
                    <a:pt x="129681" y="58815"/>
                  </a:lnTo>
                  <a:cubicBezTo>
                    <a:pt x="123857" y="52962"/>
                    <a:pt x="117543" y="48453"/>
                    <a:pt x="110743" y="45287"/>
                  </a:cubicBezTo>
                  <a:cubicBezTo>
                    <a:pt x="103941" y="42122"/>
                    <a:pt x="95685" y="40522"/>
                    <a:pt x="85971" y="40485"/>
                  </a:cubicBezTo>
                  <a:cubicBezTo>
                    <a:pt x="75119" y="40602"/>
                    <a:pt x="66670" y="43099"/>
                    <a:pt x="60623" y="47975"/>
                  </a:cubicBezTo>
                  <a:cubicBezTo>
                    <a:pt x="54577" y="52852"/>
                    <a:pt x="51505" y="59402"/>
                    <a:pt x="51410" y="67628"/>
                  </a:cubicBezTo>
                  <a:cubicBezTo>
                    <a:pt x="51992" y="79975"/>
                    <a:pt x="57811" y="89408"/>
                    <a:pt x="68866" y="95928"/>
                  </a:cubicBezTo>
                  <a:cubicBezTo>
                    <a:pt x="79921" y="102448"/>
                    <a:pt x="92723" y="108643"/>
                    <a:pt x="107269" y="114512"/>
                  </a:cubicBezTo>
                  <a:cubicBezTo>
                    <a:pt x="121816" y="120382"/>
                    <a:pt x="134617" y="128516"/>
                    <a:pt x="145673" y="138913"/>
                  </a:cubicBezTo>
                  <a:cubicBezTo>
                    <a:pt x="156728" y="149311"/>
                    <a:pt x="162547" y="164561"/>
                    <a:pt x="163129" y="184663"/>
                  </a:cubicBezTo>
                  <a:cubicBezTo>
                    <a:pt x="162580" y="205761"/>
                    <a:pt x="154611" y="222582"/>
                    <a:pt x="139223" y="235128"/>
                  </a:cubicBezTo>
                  <a:cubicBezTo>
                    <a:pt x="123835" y="247673"/>
                    <a:pt x="104321" y="254100"/>
                    <a:pt x="80681" y="254407"/>
                  </a:cubicBezTo>
                  <a:cubicBezTo>
                    <a:pt x="69916" y="254392"/>
                    <a:pt x="59129" y="252897"/>
                    <a:pt x="48321" y="249922"/>
                  </a:cubicBezTo>
                  <a:cubicBezTo>
                    <a:pt x="37512" y="246947"/>
                    <a:pt x="27801" y="242583"/>
                    <a:pt x="19188" y="236831"/>
                  </a:cubicBezTo>
                  <a:cubicBezTo>
                    <a:pt x="10575" y="231079"/>
                    <a:pt x="4179" y="224029"/>
                    <a:pt x="0" y="215682"/>
                  </a:cubicBezTo>
                  <a:lnTo>
                    <a:pt x="24651" y="186073"/>
                  </a:lnTo>
                  <a:cubicBezTo>
                    <a:pt x="32141" y="195408"/>
                    <a:pt x="41021" y="202384"/>
                    <a:pt x="51291" y="207004"/>
                  </a:cubicBezTo>
                  <a:cubicBezTo>
                    <a:pt x="61561" y="211623"/>
                    <a:pt x="71593" y="213929"/>
                    <a:pt x="81387" y="213922"/>
                  </a:cubicBezTo>
                  <a:cubicBezTo>
                    <a:pt x="91834" y="213885"/>
                    <a:pt x="100386" y="211403"/>
                    <a:pt x="107043" y="206475"/>
                  </a:cubicBezTo>
                  <a:cubicBezTo>
                    <a:pt x="113699" y="201547"/>
                    <a:pt x="117137" y="194394"/>
                    <a:pt x="117357" y="185016"/>
                  </a:cubicBezTo>
                  <a:cubicBezTo>
                    <a:pt x="116775" y="173252"/>
                    <a:pt x="110957" y="164083"/>
                    <a:pt x="99902" y="157508"/>
                  </a:cubicBezTo>
                  <a:cubicBezTo>
                    <a:pt x="88846" y="150934"/>
                    <a:pt x="76045" y="144563"/>
                    <a:pt x="61499" y="138395"/>
                  </a:cubicBezTo>
                  <a:cubicBezTo>
                    <a:pt x="46951" y="132228"/>
                    <a:pt x="34151" y="123874"/>
                    <a:pt x="23095" y="113334"/>
                  </a:cubicBezTo>
                  <a:cubicBezTo>
                    <a:pt x="12039" y="102793"/>
                    <a:pt x="6221" y="87675"/>
                    <a:pt x="5639" y="67980"/>
                  </a:cubicBezTo>
                  <a:cubicBezTo>
                    <a:pt x="5843" y="48960"/>
                    <a:pt x="12653" y="33005"/>
                    <a:pt x="26067" y="20115"/>
                  </a:cubicBezTo>
                  <a:cubicBezTo>
                    <a:pt x="39480" y="7225"/>
                    <a:pt x="58273" y="520"/>
                    <a:pt x="82445" y="0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8" name="Полілінія: фігура 7">
              <a:extLst>
                <a:ext uri="{FF2B5EF4-FFF2-40B4-BE49-F238E27FC236}">
                  <a16:creationId xmlns:a16="http://schemas.microsoft.com/office/drawing/2014/main" id="{4E03B53C-D761-0783-A86F-45C93648C108}"/>
                </a:ext>
              </a:extLst>
            </p:cNvPr>
            <p:cNvSpPr/>
            <p:nvPr/>
          </p:nvSpPr>
          <p:spPr>
            <a:xfrm>
              <a:off x="8321498" y="5426283"/>
              <a:ext cx="246698" cy="247358"/>
            </a:xfrm>
            <a:custGeom>
              <a:avLst/>
              <a:gdLst/>
              <a:ahLst/>
              <a:cxnLst/>
              <a:rect l="l" t="t" r="r" b="b"/>
              <a:pathLst>
                <a:path w="246698" h="247358">
                  <a:moveTo>
                    <a:pt x="104318" y="0"/>
                  </a:moveTo>
                  <a:lnTo>
                    <a:pt x="142380" y="0"/>
                  </a:lnTo>
                  <a:lnTo>
                    <a:pt x="246698" y="247358"/>
                  </a:lnTo>
                  <a:lnTo>
                    <a:pt x="200530" y="247358"/>
                  </a:lnTo>
                  <a:lnTo>
                    <a:pt x="174803" y="184274"/>
                  </a:lnTo>
                  <a:lnTo>
                    <a:pt x="69428" y="184274"/>
                  </a:lnTo>
                  <a:lnTo>
                    <a:pt x="43701" y="247358"/>
                  </a:lnTo>
                  <a:lnTo>
                    <a:pt x="0" y="247358"/>
                  </a:lnTo>
                  <a:lnTo>
                    <a:pt x="104318" y="0"/>
                  </a:lnTo>
                  <a:close/>
                  <a:moveTo>
                    <a:pt x="122291" y="56035"/>
                  </a:moveTo>
                  <a:lnTo>
                    <a:pt x="85992" y="143789"/>
                  </a:lnTo>
                  <a:lnTo>
                    <a:pt x="158239" y="143789"/>
                  </a:lnTo>
                  <a:lnTo>
                    <a:pt x="122291" y="56035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9" name="Полілінія: фігура 8">
              <a:extLst>
                <a:ext uri="{FF2B5EF4-FFF2-40B4-BE49-F238E27FC236}">
                  <a16:creationId xmlns:a16="http://schemas.microsoft.com/office/drawing/2014/main" id="{CA832831-F0D4-5839-2883-335791574FBB}"/>
                </a:ext>
              </a:extLst>
            </p:cNvPr>
            <p:cNvSpPr/>
            <p:nvPr/>
          </p:nvSpPr>
          <p:spPr>
            <a:xfrm>
              <a:off x="9483548" y="5426283"/>
              <a:ext cx="246698" cy="247358"/>
            </a:xfrm>
            <a:custGeom>
              <a:avLst/>
              <a:gdLst/>
              <a:ahLst/>
              <a:cxnLst/>
              <a:rect l="l" t="t" r="r" b="b"/>
              <a:pathLst>
                <a:path w="246698" h="247358">
                  <a:moveTo>
                    <a:pt x="104318" y="0"/>
                  </a:moveTo>
                  <a:lnTo>
                    <a:pt x="142380" y="0"/>
                  </a:lnTo>
                  <a:lnTo>
                    <a:pt x="246698" y="247358"/>
                  </a:lnTo>
                  <a:lnTo>
                    <a:pt x="200530" y="247358"/>
                  </a:lnTo>
                  <a:lnTo>
                    <a:pt x="174803" y="184274"/>
                  </a:lnTo>
                  <a:lnTo>
                    <a:pt x="69428" y="184274"/>
                  </a:lnTo>
                  <a:lnTo>
                    <a:pt x="43700" y="247358"/>
                  </a:lnTo>
                  <a:lnTo>
                    <a:pt x="0" y="247358"/>
                  </a:lnTo>
                  <a:lnTo>
                    <a:pt x="104318" y="0"/>
                  </a:lnTo>
                  <a:close/>
                  <a:moveTo>
                    <a:pt x="122292" y="56035"/>
                  </a:moveTo>
                  <a:lnTo>
                    <a:pt x="85992" y="143789"/>
                  </a:lnTo>
                  <a:lnTo>
                    <a:pt x="158239" y="143789"/>
                  </a:lnTo>
                  <a:lnTo>
                    <a:pt x="122292" y="56035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 dirty="0"/>
            </a:p>
          </p:txBody>
        </p:sp>
        <p:sp>
          <p:nvSpPr>
            <p:cNvPr id="10" name="Полілінія: фігура 9">
              <a:extLst>
                <a:ext uri="{FF2B5EF4-FFF2-40B4-BE49-F238E27FC236}">
                  <a16:creationId xmlns:a16="http://schemas.microsoft.com/office/drawing/2014/main" id="{5BF804C9-8E3B-E08A-9B22-B13C48D03894}"/>
                </a:ext>
              </a:extLst>
            </p:cNvPr>
            <p:cNvSpPr/>
            <p:nvPr/>
          </p:nvSpPr>
          <p:spPr>
            <a:xfrm>
              <a:off x="8848538" y="5427340"/>
              <a:ext cx="210706" cy="246301"/>
            </a:xfrm>
            <a:custGeom>
              <a:avLst/>
              <a:gdLst/>
              <a:ahLst/>
              <a:cxnLst/>
              <a:rect l="l" t="t" r="r" b="b"/>
              <a:pathLst>
                <a:path w="210706" h="246301">
                  <a:moveTo>
                    <a:pt x="0" y="0"/>
                  </a:moveTo>
                  <a:lnTo>
                    <a:pt x="34500" y="0"/>
                  </a:lnTo>
                  <a:lnTo>
                    <a:pt x="170222" y="171355"/>
                  </a:lnTo>
                  <a:lnTo>
                    <a:pt x="170222" y="0"/>
                  </a:lnTo>
                  <a:lnTo>
                    <a:pt x="210706" y="0"/>
                  </a:lnTo>
                  <a:lnTo>
                    <a:pt x="210706" y="246301"/>
                  </a:lnTo>
                  <a:lnTo>
                    <a:pt x="176206" y="246301"/>
                  </a:lnTo>
                  <a:lnTo>
                    <a:pt x="40485" y="75649"/>
                  </a:lnTo>
                  <a:lnTo>
                    <a:pt x="40485" y="246301"/>
                  </a:lnTo>
                  <a:lnTo>
                    <a:pt x="0" y="246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1" name="Полілінія: фігура 10">
              <a:extLst>
                <a:ext uri="{FF2B5EF4-FFF2-40B4-BE49-F238E27FC236}">
                  <a16:creationId xmlns:a16="http://schemas.microsoft.com/office/drawing/2014/main" id="{C916281F-1853-03D6-12BE-0DAF91E3D0B6}"/>
                </a:ext>
              </a:extLst>
            </p:cNvPr>
            <p:cNvSpPr/>
            <p:nvPr/>
          </p:nvSpPr>
          <p:spPr>
            <a:xfrm>
              <a:off x="9124764" y="5427340"/>
              <a:ext cx="146213" cy="246301"/>
            </a:xfrm>
            <a:custGeom>
              <a:avLst/>
              <a:gdLst/>
              <a:ahLst/>
              <a:cxnLst/>
              <a:rect l="l" t="t" r="r" b="b"/>
              <a:pathLst>
                <a:path w="146213" h="246301">
                  <a:moveTo>
                    <a:pt x="0" y="0"/>
                  </a:moveTo>
                  <a:lnTo>
                    <a:pt x="142688" y="0"/>
                  </a:lnTo>
                  <a:lnTo>
                    <a:pt x="142688" y="40485"/>
                  </a:lnTo>
                  <a:lnTo>
                    <a:pt x="43305" y="40485"/>
                  </a:lnTo>
                  <a:lnTo>
                    <a:pt x="43305" y="101499"/>
                  </a:lnTo>
                  <a:lnTo>
                    <a:pt x="132115" y="101499"/>
                  </a:lnTo>
                  <a:lnTo>
                    <a:pt x="132115" y="141983"/>
                  </a:lnTo>
                  <a:lnTo>
                    <a:pt x="43305" y="141983"/>
                  </a:lnTo>
                  <a:lnTo>
                    <a:pt x="43305" y="205816"/>
                  </a:lnTo>
                  <a:lnTo>
                    <a:pt x="146213" y="205816"/>
                  </a:lnTo>
                  <a:lnTo>
                    <a:pt x="146213" y="246301"/>
                  </a:lnTo>
                  <a:lnTo>
                    <a:pt x="0" y="246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2" name="Полілінія: фігура 11">
              <a:extLst>
                <a:ext uri="{FF2B5EF4-FFF2-40B4-BE49-F238E27FC236}">
                  <a16:creationId xmlns:a16="http://schemas.microsoft.com/office/drawing/2014/main" id="{0903C51B-CC25-81FF-F6DE-C02F43F0BAC8}"/>
                </a:ext>
              </a:extLst>
            </p:cNvPr>
            <p:cNvSpPr/>
            <p:nvPr/>
          </p:nvSpPr>
          <p:spPr>
            <a:xfrm>
              <a:off x="9294128" y="5427340"/>
              <a:ext cx="203305" cy="246301"/>
            </a:xfrm>
            <a:custGeom>
              <a:avLst/>
              <a:gdLst/>
              <a:ahLst/>
              <a:cxnLst/>
              <a:rect l="l" t="t" r="r" b="b"/>
              <a:pathLst>
                <a:path w="203305" h="246301">
                  <a:moveTo>
                    <a:pt x="0" y="0"/>
                  </a:moveTo>
                  <a:lnTo>
                    <a:pt x="203305" y="0"/>
                  </a:lnTo>
                  <a:lnTo>
                    <a:pt x="203305" y="40485"/>
                  </a:lnTo>
                  <a:lnTo>
                    <a:pt x="123305" y="40485"/>
                  </a:lnTo>
                  <a:lnTo>
                    <a:pt x="123305" y="246301"/>
                  </a:lnTo>
                  <a:lnTo>
                    <a:pt x="80001" y="246301"/>
                  </a:lnTo>
                  <a:lnTo>
                    <a:pt x="80001" y="40485"/>
                  </a:lnTo>
                  <a:lnTo>
                    <a:pt x="0" y="404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3" name="Полілінія: фігура 12">
              <a:extLst>
                <a:ext uri="{FF2B5EF4-FFF2-40B4-BE49-F238E27FC236}">
                  <a16:creationId xmlns:a16="http://schemas.microsoft.com/office/drawing/2014/main" id="{5ABD65F2-60E0-98B2-215D-91C5F7024977}"/>
                </a:ext>
              </a:extLst>
            </p:cNvPr>
            <p:cNvSpPr/>
            <p:nvPr/>
          </p:nvSpPr>
          <p:spPr>
            <a:xfrm>
              <a:off x="9858188" y="5427340"/>
              <a:ext cx="199076" cy="246301"/>
            </a:xfrm>
            <a:custGeom>
              <a:avLst/>
              <a:gdLst/>
              <a:ahLst/>
              <a:cxnLst/>
              <a:rect l="l" t="t" r="r" b="b"/>
              <a:pathLst>
                <a:path w="199076" h="246301">
                  <a:moveTo>
                    <a:pt x="0" y="0"/>
                  </a:moveTo>
                  <a:lnTo>
                    <a:pt x="43304" y="0"/>
                  </a:lnTo>
                  <a:lnTo>
                    <a:pt x="43304" y="116817"/>
                  </a:lnTo>
                  <a:lnTo>
                    <a:pt x="140574" y="0"/>
                  </a:lnTo>
                  <a:lnTo>
                    <a:pt x="192733" y="0"/>
                  </a:lnTo>
                  <a:lnTo>
                    <a:pt x="91234" y="114705"/>
                  </a:lnTo>
                  <a:lnTo>
                    <a:pt x="199076" y="246301"/>
                  </a:lnTo>
                  <a:lnTo>
                    <a:pt x="144098" y="246301"/>
                  </a:lnTo>
                  <a:lnTo>
                    <a:pt x="43304" y="119280"/>
                  </a:lnTo>
                  <a:lnTo>
                    <a:pt x="43304" y="246301"/>
                  </a:lnTo>
                  <a:lnTo>
                    <a:pt x="0" y="246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4" name="Полілінія: фігура 13">
              <a:extLst>
                <a:ext uri="{FF2B5EF4-FFF2-40B4-BE49-F238E27FC236}">
                  <a16:creationId xmlns:a16="http://schemas.microsoft.com/office/drawing/2014/main" id="{1A04DA79-D26E-005F-3ABC-E5BDC2053334}"/>
                </a:ext>
              </a:extLst>
            </p:cNvPr>
            <p:cNvSpPr/>
            <p:nvPr/>
          </p:nvSpPr>
          <p:spPr>
            <a:xfrm>
              <a:off x="10092790" y="5427340"/>
              <a:ext cx="202953" cy="250179"/>
            </a:xfrm>
            <a:custGeom>
              <a:avLst/>
              <a:gdLst/>
              <a:ahLst/>
              <a:cxnLst/>
              <a:rect l="l" t="t" r="r" b="b"/>
              <a:pathLst>
                <a:path w="202953" h="250179">
                  <a:moveTo>
                    <a:pt x="0" y="0"/>
                  </a:moveTo>
                  <a:lnTo>
                    <a:pt x="43305" y="0"/>
                  </a:lnTo>
                  <a:lnTo>
                    <a:pt x="43305" y="132642"/>
                  </a:lnTo>
                  <a:cubicBezTo>
                    <a:pt x="43209" y="156016"/>
                    <a:pt x="48159" y="174620"/>
                    <a:pt x="58156" y="188451"/>
                  </a:cubicBezTo>
                  <a:cubicBezTo>
                    <a:pt x="68152" y="202283"/>
                    <a:pt x="83768" y="209363"/>
                    <a:pt x="105002" y="209693"/>
                  </a:cubicBezTo>
                  <a:cubicBezTo>
                    <a:pt x="123643" y="209590"/>
                    <a:pt x="137481" y="203199"/>
                    <a:pt x="146516" y="190518"/>
                  </a:cubicBezTo>
                  <a:cubicBezTo>
                    <a:pt x="155550" y="177837"/>
                    <a:pt x="160045" y="159484"/>
                    <a:pt x="160001" y="135456"/>
                  </a:cubicBezTo>
                  <a:lnTo>
                    <a:pt x="160001" y="0"/>
                  </a:lnTo>
                  <a:lnTo>
                    <a:pt x="202953" y="0"/>
                  </a:lnTo>
                  <a:lnTo>
                    <a:pt x="202953" y="144252"/>
                  </a:lnTo>
                  <a:cubicBezTo>
                    <a:pt x="202703" y="169265"/>
                    <a:pt x="198077" y="189574"/>
                    <a:pt x="189075" y="205180"/>
                  </a:cubicBezTo>
                  <a:cubicBezTo>
                    <a:pt x="180073" y="220786"/>
                    <a:pt x="168191" y="232209"/>
                    <a:pt x="153431" y="239449"/>
                  </a:cubicBezTo>
                  <a:cubicBezTo>
                    <a:pt x="138670" y="246688"/>
                    <a:pt x="122527" y="250265"/>
                    <a:pt x="105002" y="250178"/>
                  </a:cubicBezTo>
                  <a:cubicBezTo>
                    <a:pt x="73789" y="250170"/>
                    <a:pt x="48620" y="241121"/>
                    <a:pt x="29497" y="223032"/>
                  </a:cubicBezTo>
                  <a:cubicBezTo>
                    <a:pt x="10373" y="204942"/>
                    <a:pt x="541" y="177862"/>
                    <a:pt x="0" y="14178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5" name="Полілінія: фігура 14">
              <a:extLst>
                <a:ext uri="{FF2B5EF4-FFF2-40B4-BE49-F238E27FC236}">
                  <a16:creationId xmlns:a16="http://schemas.microsoft.com/office/drawing/2014/main" id="{CCFB1F12-B013-1D35-7CD7-2D37521C0D2E}"/>
                </a:ext>
              </a:extLst>
            </p:cNvPr>
            <p:cNvSpPr/>
            <p:nvPr/>
          </p:nvSpPr>
          <p:spPr>
            <a:xfrm>
              <a:off x="10332352" y="5427340"/>
              <a:ext cx="203306" cy="246301"/>
            </a:xfrm>
            <a:custGeom>
              <a:avLst/>
              <a:gdLst/>
              <a:ahLst/>
              <a:cxnLst/>
              <a:rect l="l" t="t" r="r" b="b"/>
              <a:pathLst>
                <a:path w="203306" h="246301">
                  <a:moveTo>
                    <a:pt x="0" y="0"/>
                  </a:moveTo>
                  <a:lnTo>
                    <a:pt x="203306" y="0"/>
                  </a:lnTo>
                  <a:lnTo>
                    <a:pt x="203306" y="40485"/>
                  </a:lnTo>
                  <a:lnTo>
                    <a:pt x="123305" y="40485"/>
                  </a:lnTo>
                  <a:lnTo>
                    <a:pt x="123305" y="246301"/>
                  </a:lnTo>
                  <a:lnTo>
                    <a:pt x="80000" y="246301"/>
                  </a:lnTo>
                  <a:lnTo>
                    <a:pt x="80000" y="40485"/>
                  </a:lnTo>
                  <a:lnTo>
                    <a:pt x="0" y="404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6" name="Полілінія: фігура 15">
              <a:extLst>
                <a:ext uri="{FF2B5EF4-FFF2-40B4-BE49-F238E27FC236}">
                  <a16:creationId xmlns:a16="http://schemas.microsoft.com/office/drawing/2014/main" id="{27522353-0F15-BA26-4FE4-BA43E30731C0}"/>
                </a:ext>
              </a:extLst>
            </p:cNvPr>
            <p:cNvSpPr/>
            <p:nvPr/>
          </p:nvSpPr>
          <p:spPr>
            <a:xfrm>
              <a:off x="10763064" y="5427340"/>
              <a:ext cx="146213" cy="246301"/>
            </a:xfrm>
            <a:custGeom>
              <a:avLst/>
              <a:gdLst/>
              <a:ahLst/>
              <a:cxnLst/>
              <a:rect l="l" t="t" r="r" b="b"/>
              <a:pathLst>
                <a:path w="146213" h="246301">
                  <a:moveTo>
                    <a:pt x="0" y="0"/>
                  </a:moveTo>
                  <a:lnTo>
                    <a:pt x="142689" y="0"/>
                  </a:lnTo>
                  <a:lnTo>
                    <a:pt x="142689" y="40485"/>
                  </a:lnTo>
                  <a:lnTo>
                    <a:pt x="43305" y="40485"/>
                  </a:lnTo>
                  <a:lnTo>
                    <a:pt x="43305" y="101499"/>
                  </a:lnTo>
                  <a:lnTo>
                    <a:pt x="132115" y="101499"/>
                  </a:lnTo>
                  <a:lnTo>
                    <a:pt x="132115" y="141983"/>
                  </a:lnTo>
                  <a:lnTo>
                    <a:pt x="43305" y="141983"/>
                  </a:lnTo>
                  <a:lnTo>
                    <a:pt x="43305" y="205816"/>
                  </a:lnTo>
                  <a:lnTo>
                    <a:pt x="146213" y="205816"/>
                  </a:lnTo>
                  <a:lnTo>
                    <a:pt x="146213" y="246301"/>
                  </a:lnTo>
                  <a:lnTo>
                    <a:pt x="0" y="246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7" name="Полілінія: фігура 16">
              <a:extLst>
                <a:ext uri="{FF2B5EF4-FFF2-40B4-BE49-F238E27FC236}">
                  <a16:creationId xmlns:a16="http://schemas.microsoft.com/office/drawing/2014/main" id="{D1F3984E-618A-03B2-E8D8-13C9A5ED73E9}"/>
                </a:ext>
              </a:extLst>
            </p:cNvPr>
            <p:cNvSpPr/>
            <p:nvPr/>
          </p:nvSpPr>
          <p:spPr>
            <a:xfrm>
              <a:off x="10963088" y="5427340"/>
              <a:ext cx="154318" cy="246301"/>
            </a:xfrm>
            <a:custGeom>
              <a:avLst/>
              <a:gdLst/>
              <a:ahLst/>
              <a:cxnLst/>
              <a:rect l="l" t="t" r="r" b="b"/>
              <a:pathLst>
                <a:path w="154318" h="246301">
                  <a:moveTo>
                    <a:pt x="0" y="0"/>
                  </a:moveTo>
                  <a:lnTo>
                    <a:pt x="43304" y="0"/>
                  </a:lnTo>
                  <a:lnTo>
                    <a:pt x="43304" y="205816"/>
                  </a:lnTo>
                  <a:lnTo>
                    <a:pt x="154318" y="205816"/>
                  </a:lnTo>
                  <a:lnTo>
                    <a:pt x="154318" y="246301"/>
                  </a:lnTo>
                  <a:lnTo>
                    <a:pt x="0" y="246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8" name="Полілінія: фігура 17">
              <a:extLst>
                <a:ext uri="{FF2B5EF4-FFF2-40B4-BE49-F238E27FC236}">
                  <a16:creationId xmlns:a16="http://schemas.microsoft.com/office/drawing/2014/main" id="{7134D6C4-78E0-CFFF-2A62-F3330DB24CAC}"/>
                </a:ext>
              </a:extLst>
            </p:cNvPr>
            <p:cNvSpPr/>
            <p:nvPr/>
          </p:nvSpPr>
          <p:spPr>
            <a:xfrm>
              <a:off x="11158875" y="5427340"/>
              <a:ext cx="43305" cy="246301"/>
            </a:xfrm>
            <a:custGeom>
              <a:avLst/>
              <a:gdLst/>
              <a:ahLst/>
              <a:cxnLst/>
              <a:rect l="l" t="t" r="r" b="b"/>
              <a:pathLst>
                <a:path w="43305" h="246301">
                  <a:moveTo>
                    <a:pt x="0" y="0"/>
                  </a:moveTo>
                  <a:lnTo>
                    <a:pt x="43305" y="0"/>
                  </a:lnTo>
                  <a:lnTo>
                    <a:pt x="43305" y="246301"/>
                  </a:lnTo>
                  <a:lnTo>
                    <a:pt x="0" y="246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19" name="Полілінія: фігура 18">
              <a:extLst>
                <a:ext uri="{FF2B5EF4-FFF2-40B4-BE49-F238E27FC236}">
                  <a16:creationId xmlns:a16="http://schemas.microsoft.com/office/drawing/2014/main" id="{2BE68477-A39B-3A7B-1CDF-0999A819EFB0}"/>
                </a:ext>
              </a:extLst>
            </p:cNvPr>
            <p:cNvSpPr/>
            <p:nvPr/>
          </p:nvSpPr>
          <p:spPr>
            <a:xfrm>
              <a:off x="11277414" y="5427340"/>
              <a:ext cx="249121" cy="246301"/>
            </a:xfrm>
            <a:custGeom>
              <a:avLst/>
              <a:gdLst/>
              <a:ahLst/>
              <a:cxnLst/>
              <a:rect l="l" t="t" r="r" b="b"/>
              <a:pathLst>
                <a:path w="249121" h="246301">
                  <a:moveTo>
                    <a:pt x="0" y="0"/>
                  </a:moveTo>
                  <a:lnTo>
                    <a:pt x="43657" y="0"/>
                  </a:lnTo>
                  <a:lnTo>
                    <a:pt x="127910" y="115057"/>
                  </a:lnTo>
                  <a:lnTo>
                    <a:pt x="208281" y="0"/>
                  </a:lnTo>
                  <a:lnTo>
                    <a:pt x="249121" y="0"/>
                  </a:lnTo>
                  <a:lnTo>
                    <a:pt x="249121" y="246301"/>
                  </a:lnTo>
                  <a:lnTo>
                    <a:pt x="206169" y="246301"/>
                  </a:lnTo>
                  <a:lnTo>
                    <a:pt x="206169" y="68260"/>
                  </a:lnTo>
                  <a:lnTo>
                    <a:pt x="128262" y="177688"/>
                  </a:lnTo>
                  <a:lnTo>
                    <a:pt x="121917" y="177688"/>
                  </a:lnTo>
                  <a:lnTo>
                    <a:pt x="43305" y="69315"/>
                  </a:lnTo>
                  <a:lnTo>
                    <a:pt x="43305" y="246301"/>
                  </a:lnTo>
                  <a:lnTo>
                    <a:pt x="0" y="2463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  <p:grpSp>
        <p:nvGrpSpPr>
          <p:cNvPr id="20" name="Групувати 19">
            <a:extLst>
              <a:ext uri="{FF2B5EF4-FFF2-40B4-BE49-F238E27FC236}">
                <a16:creationId xmlns:a16="http://schemas.microsoft.com/office/drawing/2014/main" id="{77FDB7A3-EB63-6B8D-654A-EFF7BE1C93EB}"/>
              </a:ext>
            </a:extLst>
          </p:cNvPr>
          <p:cNvGrpSpPr/>
          <p:nvPr/>
        </p:nvGrpSpPr>
        <p:grpSpPr>
          <a:xfrm>
            <a:off x="9323951" y="5833984"/>
            <a:ext cx="2216673" cy="185135"/>
            <a:chOff x="8003151" y="5833984"/>
            <a:chExt cx="2216673" cy="185135"/>
          </a:xfrm>
        </p:grpSpPr>
        <p:sp>
          <p:nvSpPr>
            <p:cNvPr id="21" name="Полілінія: фігура 20">
              <a:extLst>
                <a:ext uri="{FF2B5EF4-FFF2-40B4-BE49-F238E27FC236}">
                  <a16:creationId xmlns:a16="http://schemas.microsoft.com/office/drawing/2014/main" id="{A2EB498A-9909-727F-2AAA-BEFC58486590}"/>
                </a:ext>
              </a:extLst>
            </p:cNvPr>
            <p:cNvSpPr/>
            <p:nvPr/>
          </p:nvSpPr>
          <p:spPr>
            <a:xfrm>
              <a:off x="8778286" y="5833984"/>
              <a:ext cx="71462" cy="182563"/>
            </a:xfrm>
            <a:custGeom>
              <a:avLst/>
              <a:gdLst/>
              <a:ahLst/>
              <a:cxnLst/>
              <a:rect l="l" t="t" r="r" b="b"/>
              <a:pathLst>
                <a:path w="71462" h="182563">
                  <a:moveTo>
                    <a:pt x="40601" y="1"/>
                  </a:moveTo>
                  <a:cubicBezTo>
                    <a:pt x="47593" y="76"/>
                    <a:pt x="53733" y="1082"/>
                    <a:pt x="59021" y="3018"/>
                  </a:cubicBezTo>
                  <a:cubicBezTo>
                    <a:pt x="64309" y="4954"/>
                    <a:pt x="68456" y="7372"/>
                    <a:pt x="71462" y="10271"/>
                  </a:cubicBezTo>
                  <a:lnTo>
                    <a:pt x="64261" y="25948"/>
                  </a:lnTo>
                  <a:cubicBezTo>
                    <a:pt x="61823" y="23868"/>
                    <a:pt x="58919" y="22238"/>
                    <a:pt x="55549" y="21059"/>
                  </a:cubicBezTo>
                  <a:cubicBezTo>
                    <a:pt x="52179" y="19879"/>
                    <a:pt x="48311" y="19278"/>
                    <a:pt x="43944" y="19257"/>
                  </a:cubicBezTo>
                  <a:cubicBezTo>
                    <a:pt x="36556" y="19203"/>
                    <a:pt x="30823" y="21691"/>
                    <a:pt x="26746" y="26720"/>
                  </a:cubicBezTo>
                  <a:cubicBezTo>
                    <a:pt x="22668" y="31749"/>
                    <a:pt x="20600" y="39641"/>
                    <a:pt x="20541" y="50396"/>
                  </a:cubicBezTo>
                  <a:lnTo>
                    <a:pt x="20541" y="66867"/>
                  </a:lnTo>
                  <a:lnTo>
                    <a:pt x="59118" y="66867"/>
                  </a:lnTo>
                  <a:lnTo>
                    <a:pt x="59118" y="86123"/>
                  </a:lnTo>
                  <a:lnTo>
                    <a:pt x="20541" y="86123"/>
                  </a:lnTo>
                  <a:lnTo>
                    <a:pt x="20541" y="182563"/>
                  </a:lnTo>
                  <a:lnTo>
                    <a:pt x="0" y="182563"/>
                  </a:lnTo>
                  <a:lnTo>
                    <a:pt x="0" y="48080"/>
                  </a:lnTo>
                  <a:cubicBezTo>
                    <a:pt x="84" y="32006"/>
                    <a:pt x="3638" y="19973"/>
                    <a:pt x="10660" y="11980"/>
                  </a:cubicBezTo>
                  <a:cubicBezTo>
                    <a:pt x="17681" y="3987"/>
                    <a:pt x="27662" y="-6"/>
                    <a:pt x="40601" y="1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2" name="Полілінія: фігура 21">
              <a:extLst>
                <a:ext uri="{FF2B5EF4-FFF2-40B4-BE49-F238E27FC236}">
                  <a16:creationId xmlns:a16="http://schemas.microsoft.com/office/drawing/2014/main" id="{E99F9B48-F44C-FF70-7A69-BBCF0C4B5B52}"/>
                </a:ext>
              </a:extLst>
            </p:cNvPr>
            <p:cNvSpPr/>
            <p:nvPr/>
          </p:nvSpPr>
          <p:spPr>
            <a:xfrm>
              <a:off x="8912932" y="5833985"/>
              <a:ext cx="148101" cy="185134"/>
            </a:xfrm>
            <a:custGeom>
              <a:avLst/>
              <a:gdLst/>
              <a:ahLst/>
              <a:cxnLst/>
              <a:rect l="l" t="t" r="r" b="b"/>
              <a:pathLst>
                <a:path w="148101" h="185134">
                  <a:moveTo>
                    <a:pt x="89722" y="0"/>
                  </a:moveTo>
                  <a:cubicBezTo>
                    <a:pt x="101327" y="37"/>
                    <a:pt x="111743" y="1567"/>
                    <a:pt x="120969" y="4590"/>
                  </a:cubicBezTo>
                  <a:cubicBezTo>
                    <a:pt x="130195" y="7612"/>
                    <a:pt x="138039" y="11903"/>
                    <a:pt x="144500" y="17461"/>
                  </a:cubicBezTo>
                  <a:lnTo>
                    <a:pt x="134470" y="33917"/>
                  </a:lnTo>
                  <a:cubicBezTo>
                    <a:pt x="128614" y="29534"/>
                    <a:pt x="122067" y="26211"/>
                    <a:pt x="114829" y="23950"/>
                  </a:cubicBezTo>
                  <a:cubicBezTo>
                    <a:pt x="107590" y="21689"/>
                    <a:pt x="99307" y="20553"/>
                    <a:pt x="89979" y="20542"/>
                  </a:cubicBezTo>
                  <a:cubicBezTo>
                    <a:pt x="70091" y="20874"/>
                    <a:pt x="54060" y="27541"/>
                    <a:pt x="41887" y="40541"/>
                  </a:cubicBezTo>
                  <a:cubicBezTo>
                    <a:pt x="29714" y="53542"/>
                    <a:pt x="23457" y="70884"/>
                    <a:pt x="23113" y="92567"/>
                  </a:cubicBezTo>
                  <a:cubicBezTo>
                    <a:pt x="23435" y="114362"/>
                    <a:pt x="29929" y="131736"/>
                    <a:pt x="42595" y="144689"/>
                  </a:cubicBezTo>
                  <a:cubicBezTo>
                    <a:pt x="55261" y="157641"/>
                    <a:pt x="72169" y="164276"/>
                    <a:pt x="93322" y="164592"/>
                  </a:cubicBezTo>
                  <a:cubicBezTo>
                    <a:pt x="102007" y="164555"/>
                    <a:pt x="110291" y="163150"/>
                    <a:pt x="118172" y="160380"/>
                  </a:cubicBezTo>
                  <a:cubicBezTo>
                    <a:pt x="126053" y="157609"/>
                    <a:pt x="133115" y="153697"/>
                    <a:pt x="139357" y="148644"/>
                  </a:cubicBezTo>
                  <a:lnTo>
                    <a:pt x="148101" y="165105"/>
                  </a:lnTo>
                  <a:cubicBezTo>
                    <a:pt x="141843" y="171332"/>
                    <a:pt x="133656" y="176211"/>
                    <a:pt x="123541" y="179742"/>
                  </a:cubicBezTo>
                  <a:cubicBezTo>
                    <a:pt x="113425" y="183272"/>
                    <a:pt x="102666" y="185070"/>
                    <a:pt x="91265" y="185134"/>
                  </a:cubicBezTo>
                  <a:cubicBezTo>
                    <a:pt x="63834" y="184782"/>
                    <a:pt x="41873" y="176363"/>
                    <a:pt x="25380" y="159879"/>
                  </a:cubicBezTo>
                  <a:cubicBezTo>
                    <a:pt x="8887" y="143395"/>
                    <a:pt x="427" y="120957"/>
                    <a:pt x="0" y="92567"/>
                  </a:cubicBezTo>
                  <a:cubicBezTo>
                    <a:pt x="65" y="75147"/>
                    <a:pt x="3647" y="59487"/>
                    <a:pt x="10745" y="45588"/>
                  </a:cubicBezTo>
                  <a:cubicBezTo>
                    <a:pt x="17844" y="31689"/>
                    <a:pt x="28072" y="20663"/>
                    <a:pt x="41429" y="12509"/>
                  </a:cubicBezTo>
                  <a:cubicBezTo>
                    <a:pt x="54786" y="4355"/>
                    <a:pt x="70883" y="185"/>
                    <a:pt x="89722" y="0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3" name="Полілінія: фігура 22">
              <a:extLst>
                <a:ext uri="{FF2B5EF4-FFF2-40B4-BE49-F238E27FC236}">
                  <a16:creationId xmlns:a16="http://schemas.microsoft.com/office/drawing/2014/main" id="{7ABA0E97-3A40-7F6E-A738-4A419CBBD620}"/>
                </a:ext>
              </a:extLst>
            </p:cNvPr>
            <p:cNvSpPr/>
            <p:nvPr/>
          </p:nvSpPr>
          <p:spPr>
            <a:xfrm>
              <a:off x="8003151" y="5836557"/>
              <a:ext cx="142700" cy="179990"/>
            </a:xfrm>
            <a:custGeom>
              <a:avLst/>
              <a:gdLst/>
              <a:ahLst/>
              <a:cxnLst/>
              <a:rect l="l" t="t" r="r" b="b"/>
              <a:pathLst>
                <a:path w="142700" h="179990">
                  <a:moveTo>
                    <a:pt x="0" y="0"/>
                  </a:moveTo>
                  <a:lnTo>
                    <a:pt x="21827" y="0"/>
                  </a:lnTo>
                  <a:lnTo>
                    <a:pt x="21827" y="77924"/>
                  </a:lnTo>
                  <a:lnTo>
                    <a:pt x="120872" y="77924"/>
                  </a:lnTo>
                  <a:lnTo>
                    <a:pt x="120872" y="0"/>
                  </a:lnTo>
                  <a:lnTo>
                    <a:pt x="142700" y="0"/>
                  </a:lnTo>
                  <a:lnTo>
                    <a:pt x="142700" y="179990"/>
                  </a:lnTo>
                  <a:lnTo>
                    <a:pt x="120872" y="179990"/>
                  </a:lnTo>
                  <a:lnTo>
                    <a:pt x="120872" y="98466"/>
                  </a:lnTo>
                  <a:lnTo>
                    <a:pt x="21827" y="98466"/>
                  </a:lnTo>
                  <a:lnTo>
                    <a:pt x="21827" y="179990"/>
                  </a:lnTo>
                  <a:lnTo>
                    <a:pt x="0" y="1799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4" name="Полілінія: фігура 23">
              <a:extLst>
                <a:ext uri="{FF2B5EF4-FFF2-40B4-BE49-F238E27FC236}">
                  <a16:creationId xmlns:a16="http://schemas.microsoft.com/office/drawing/2014/main" id="{F6602CC6-4B6C-EB24-47F5-A834573181A6}"/>
                </a:ext>
              </a:extLst>
            </p:cNvPr>
            <p:cNvSpPr/>
            <p:nvPr/>
          </p:nvSpPr>
          <p:spPr>
            <a:xfrm>
              <a:off x="8434624" y="5836557"/>
              <a:ext cx="113125" cy="182048"/>
            </a:xfrm>
            <a:custGeom>
              <a:avLst/>
              <a:gdLst/>
              <a:ahLst/>
              <a:cxnLst/>
              <a:rect l="l" t="t" r="r" b="b"/>
              <a:pathLst>
                <a:path w="113125" h="182048">
                  <a:moveTo>
                    <a:pt x="92583" y="0"/>
                  </a:moveTo>
                  <a:lnTo>
                    <a:pt x="113125" y="0"/>
                  </a:lnTo>
                  <a:lnTo>
                    <a:pt x="113125" y="179990"/>
                  </a:lnTo>
                  <a:lnTo>
                    <a:pt x="92583" y="179990"/>
                  </a:lnTo>
                  <a:lnTo>
                    <a:pt x="92583" y="165359"/>
                  </a:lnTo>
                  <a:cubicBezTo>
                    <a:pt x="88317" y="170098"/>
                    <a:pt x="83085" y="174035"/>
                    <a:pt x="76889" y="177169"/>
                  </a:cubicBezTo>
                  <a:cubicBezTo>
                    <a:pt x="70693" y="180304"/>
                    <a:pt x="63660" y="181930"/>
                    <a:pt x="55791" y="182048"/>
                  </a:cubicBezTo>
                  <a:cubicBezTo>
                    <a:pt x="38607" y="181819"/>
                    <a:pt x="25064" y="176433"/>
                    <a:pt x="15159" y="165889"/>
                  </a:cubicBezTo>
                  <a:cubicBezTo>
                    <a:pt x="5255" y="155345"/>
                    <a:pt x="203" y="141015"/>
                    <a:pt x="0" y="122897"/>
                  </a:cubicBezTo>
                  <a:cubicBezTo>
                    <a:pt x="353" y="104596"/>
                    <a:pt x="6327" y="89900"/>
                    <a:pt x="17925" y="78808"/>
                  </a:cubicBezTo>
                  <a:cubicBezTo>
                    <a:pt x="29523" y="67716"/>
                    <a:pt x="44633" y="62021"/>
                    <a:pt x="63252" y="61722"/>
                  </a:cubicBezTo>
                  <a:cubicBezTo>
                    <a:pt x="69379" y="61711"/>
                    <a:pt x="74815" y="62374"/>
                    <a:pt x="79558" y="63712"/>
                  </a:cubicBezTo>
                  <a:cubicBezTo>
                    <a:pt x="84302" y="65049"/>
                    <a:pt x="88644" y="67124"/>
                    <a:pt x="92583" y="69938"/>
                  </a:cubicBezTo>
                  <a:lnTo>
                    <a:pt x="92583" y="0"/>
                  </a:lnTo>
                  <a:close/>
                  <a:moveTo>
                    <a:pt x="64024" y="80978"/>
                  </a:moveTo>
                  <a:cubicBezTo>
                    <a:pt x="52248" y="81112"/>
                    <a:pt x="42353" y="84832"/>
                    <a:pt x="34339" y="92137"/>
                  </a:cubicBezTo>
                  <a:cubicBezTo>
                    <a:pt x="26325" y="99443"/>
                    <a:pt x="22155" y="109530"/>
                    <a:pt x="21828" y="122399"/>
                  </a:cubicBezTo>
                  <a:cubicBezTo>
                    <a:pt x="22053" y="135225"/>
                    <a:pt x="25655" y="145141"/>
                    <a:pt x="32635" y="152147"/>
                  </a:cubicBezTo>
                  <a:cubicBezTo>
                    <a:pt x="39614" y="159152"/>
                    <a:pt x="48619" y="162700"/>
                    <a:pt x="59650" y="162792"/>
                  </a:cubicBezTo>
                  <a:cubicBezTo>
                    <a:pt x="66426" y="162647"/>
                    <a:pt x="72686" y="161071"/>
                    <a:pt x="78433" y="158064"/>
                  </a:cubicBezTo>
                  <a:cubicBezTo>
                    <a:pt x="84179" y="155057"/>
                    <a:pt x="88896" y="151487"/>
                    <a:pt x="92583" y="147355"/>
                  </a:cubicBezTo>
                  <a:lnTo>
                    <a:pt x="92583" y="89982"/>
                  </a:lnTo>
                  <a:cubicBezTo>
                    <a:pt x="87711" y="86906"/>
                    <a:pt x="82919" y="84633"/>
                    <a:pt x="78207" y="83165"/>
                  </a:cubicBezTo>
                  <a:cubicBezTo>
                    <a:pt x="73496" y="81696"/>
                    <a:pt x="68768" y="80967"/>
                    <a:pt x="64024" y="80978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 dirty="0"/>
            </a:p>
          </p:txBody>
        </p:sp>
        <p:sp>
          <p:nvSpPr>
            <p:cNvPr id="25" name="Полілінія: фігура 24">
              <a:extLst>
                <a:ext uri="{FF2B5EF4-FFF2-40B4-BE49-F238E27FC236}">
                  <a16:creationId xmlns:a16="http://schemas.microsoft.com/office/drawing/2014/main" id="{2EF86F36-3A14-FBDB-94F7-0B4D6557AC4B}"/>
                </a:ext>
              </a:extLst>
            </p:cNvPr>
            <p:cNvSpPr/>
            <p:nvPr/>
          </p:nvSpPr>
          <p:spPr>
            <a:xfrm>
              <a:off x="10166364" y="5836557"/>
              <a:ext cx="53460" cy="182048"/>
            </a:xfrm>
            <a:custGeom>
              <a:avLst/>
              <a:gdLst/>
              <a:ahLst/>
              <a:cxnLst/>
              <a:rect l="l" t="t" r="r" b="b"/>
              <a:pathLst>
                <a:path w="53460" h="182048">
                  <a:moveTo>
                    <a:pt x="0" y="0"/>
                  </a:moveTo>
                  <a:lnTo>
                    <a:pt x="20542" y="0"/>
                  </a:lnTo>
                  <a:lnTo>
                    <a:pt x="20542" y="139903"/>
                  </a:lnTo>
                  <a:cubicBezTo>
                    <a:pt x="20498" y="147720"/>
                    <a:pt x="21549" y="153496"/>
                    <a:pt x="23692" y="157230"/>
                  </a:cubicBezTo>
                  <a:cubicBezTo>
                    <a:pt x="25835" y="160965"/>
                    <a:pt x="29328" y="162818"/>
                    <a:pt x="34172" y="162792"/>
                  </a:cubicBezTo>
                  <a:cubicBezTo>
                    <a:pt x="37017" y="162738"/>
                    <a:pt x="39685" y="162202"/>
                    <a:pt x="42176" y="161184"/>
                  </a:cubicBezTo>
                  <a:cubicBezTo>
                    <a:pt x="44668" y="160166"/>
                    <a:pt x="46886" y="158988"/>
                    <a:pt x="48831" y="157648"/>
                  </a:cubicBezTo>
                  <a:lnTo>
                    <a:pt x="53460" y="173318"/>
                  </a:lnTo>
                  <a:cubicBezTo>
                    <a:pt x="50379" y="175816"/>
                    <a:pt x="46575" y="177881"/>
                    <a:pt x="42048" y="179512"/>
                  </a:cubicBezTo>
                  <a:cubicBezTo>
                    <a:pt x="37520" y="181144"/>
                    <a:pt x="32238" y="181989"/>
                    <a:pt x="26199" y="182048"/>
                  </a:cubicBezTo>
                  <a:cubicBezTo>
                    <a:pt x="17465" y="182075"/>
                    <a:pt x="10914" y="179389"/>
                    <a:pt x="6548" y="173989"/>
                  </a:cubicBezTo>
                  <a:cubicBezTo>
                    <a:pt x="2182" y="168590"/>
                    <a:pt x="0" y="160314"/>
                    <a:pt x="0" y="149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6" name="Полілінія: фігура 25">
              <a:extLst>
                <a:ext uri="{FF2B5EF4-FFF2-40B4-BE49-F238E27FC236}">
                  <a16:creationId xmlns:a16="http://schemas.microsoft.com/office/drawing/2014/main" id="{E358A81B-C730-F9A5-B65D-75D88CD4C3C8}"/>
                </a:ext>
              </a:extLst>
            </p:cNvPr>
            <p:cNvSpPr/>
            <p:nvPr/>
          </p:nvSpPr>
          <p:spPr>
            <a:xfrm>
              <a:off x="9988475" y="5845044"/>
              <a:ext cx="25942" cy="25685"/>
            </a:xfrm>
            <a:custGeom>
              <a:avLst/>
              <a:gdLst/>
              <a:ahLst/>
              <a:cxnLst/>
              <a:rect l="l" t="t" r="r" b="b"/>
              <a:pathLst>
                <a:path w="25942" h="25685">
                  <a:moveTo>
                    <a:pt x="13356" y="0"/>
                  </a:moveTo>
                  <a:cubicBezTo>
                    <a:pt x="16690" y="48"/>
                    <a:pt x="19591" y="1172"/>
                    <a:pt x="22057" y="3371"/>
                  </a:cubicBezTo>
                  <a:cubicBezTo>
                    <a:pt x="24524" y="5570"/>
                    <a:pt x="25819" y="8556"/>
                    <a:pt x="25942" y="12329"/>
                  </a:cubicBezTo>
                  <a:cubicBezTo>
                    <a:pt x="25819" y="16593"/>
                    <a:pt x="24524" y="19879"/>
                    <a:pt x="22057" y="22185"/>
                  </a:cubicBezTo>
                  <a:cubicBezTo>
                    <a:pt x="19591" y="24492"/>
                    <a:pt x="16690" y="25658"/>
                    <a:pt x="13356" y="25685"/>
                  </a:cubicBezTo>
                  <a:cubicBezTo>
                    <a:pt x="9653" y="25658"/>
                    <a:pt x="6528" y="24492"/>
                    <a:pt x="3981" y="22185"/>
                  </a:cubicBezTo>
                  <a:cubicBezTo>
                    <a:pt x="1434" y="19879"/>
                    <a:pt x="107" y="16593"/>
                    <a:pt x="0" y="12329"/>
                  </a:cubicBezTo>
                  <a:cubicBezTo>
                    <a:pt x="107" y="8556"/>
                    <a:pt x="1434" y="5570"/>
                    <a:pt x="3981" y="3371"/>
                  </a:cubicBezTo>
                  <a:cubicBezTo>
                    <a:pt x="6528" y="1172"/>
                    <a:pt x="9653" y="48"/>
                    <a:pt x="13356" y="0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7" name="Полілінія: фігура 26">
              <a:extLst>
                <a:ext uri="{FF2B5EF4-FFF2-40B4-BE49-F238E27FC236}">
                  <a16:creationId xmlns:a16="http://schemas.microsoft.com/office/drawing/2014/main" id="{5B585133-57BB-88C6-CF87-BC2A5D24E1A0}"/>
                </a:ext>
              </a:extLst>
            </p:cNvPr>
            <p:cNvSpPr/>
            <p:nvPr/>
          </p:nvSpPr>
          <p:spPr>
            <a:xfrm>
              <a:off x="8186974" y="5898279"/>
              <a:ext cx="113382" cy="120840"/>
            </a:xfrm>
            <a:custGeom>
              <a:avLst/>
              <a:gdLst/>
              <a:ahLst/>
              <a:cxnLst/>
              <a:rect l="l" t="t" r="r" b="b"/>
              <a:pathLst>
                <a:path w="113382" h="120840">
                  <a:moveTo>
                    <a:pt x="59649" y="0"/>
                  </a:moveTo>
                  <a:cubicBezTo>
                    <a:pt x="74946" y="212"/>
                    <a:pt x="87632" y="5052"/>
                    <a:pt x="97708" y="14518"/>
                  </a:cubicBezTo>
                  <a:cubicBezTo>
                    <a:pt x="107784" y="23985"/>
                    <a:pt x="113008" y="36803"/>
                    <a:pt x="113382" y="52972"/>
                  </a:cubicBezTo>
                  <a:cubicBezTo>
                    <a:pt x="113339" y="58619"/>
                    <a:pt x="112911" y="63240"/>
                    <a:pt x="112098" y="66833"/>
                  </a:cubicBezTo>
                  <a:lnTo>
                    <a:pt x="23114" y="66833"/>
                  </a:lnTo>
                  <a:cubicBezTo>
                    <a:pt x="24170" y="77854"/>
                    <a:pt x="28297" y="86380"/>
                    <a:pt x="35496" y="92414"/>
                  </a:cubicBezTo>
                  <a:cubicBezTo>
                    <a:pt x="42695" y="98447"/>
                    <a:pt x="52032" y="101503"/>
                    <a:pt x="63509" y="101584"/>
                  </a:cubicBezTo>
                  <a:cubicBezTo>
                    <a:pt x="71051" y="101514"/>
                    <a:pt x="77901" y="100367"/>
                    <a:pt x="84058" y="98141"/>
                  </a:cubicBezTo>
                  <a:cubicBezTo>
                    <a:pt x="90216" y="95915"/>
                    <a:pt x="95197" y="93030"/>
                    <a:pt x="99001" y="89485"/>
                  </a:cubicBezTo>
                  <a:lnTo>
                    <a:pt x="105421" y="105692"/>
                  </a:lnTo>
                  <a:cubicBezTo>
                    <a:pt x="99632" y="110816"/>
                    <a:pt x="92907" y="114624"/>
                    <a:pt x="85245" y="117117"/>
                  </a:cubicBezTo>
                  <a:cubicBezTo>
                    <a:pt x="77583" y="119610"/>
                    <a:pt x="69823" y="120851"/>
                    <a:pt x="61965" y="120840"/>
                  </a:cubicBezTo>
                  <a:cubicBezTo>
                    <a:pt x="42949" y="120606"/>
                    <a:pt x="27925" y="115102"/>
                    <a:pt x="16896" y="104328"/>
                  </a:cubicBezTo>
                  <a:cubicBezTo>
                    <a:pt x="5866" y="93555"/>
                    <a:pt x="234" y="78918"/>
                    <a:pt x="0" y="60416"/>
                  </a:cubicBezTo>
                  <a:cubicBezTo>
                    <a:pt x="105" y="43157"/>
                    <a:pt x="5287" y="28876"/>
                    <a:pt x="15545" y="17573"/>
                  </a:cubicBezTo>
                  <a:cubicBezTo>
                    <a:pt x="25803" y="6269"/>
                    <a:pt x="40504" y="411"/>
                    <a:pt x="59649" y="0"/>
                  </a:cubicBezTo>
                  <a:close/>
                  <a:moveTo>
                    <a:pt x="58620" y="19256"/>
                  </a:moveTo>
                  <a:cubicBezTo>
                    <a:pt x="48001" y="19433"/>
                    <a:pt x="39521" y="22361"/>
                    <a:pt x="33180" y="28041"/>
                  </a:cubicBezTo>
                  <a:cubicBezTo>
                    <a:pt x="26839" y="33721"/>
                    <a:pt x="23055" y="41090"/>
                    <a:pt x="21827" y="50149"/>
                  </a:cubicBezTo>
                  <a:lnTo>
                    <a:pt x="92068" y="50149"/>
                  </a:lnTo>
                  <a:cubicBezTo>
                    <a:pt x="91479" y="40527"/>
                    <a:pt x="88284" y="32997"/>
                    <a:pt x="82484" y="27558"/>
                  </a:cubicBezTo>
                  <a:cubicBezTo>
                    <a:pt x="76684" y="22120"/>
                    <a:pt x="68730" y="19352"/>
                    <a:pt x="58620" y="19256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8" name="Полілінія: фігура 27">
              <a:extLst>
                <a:ext uri="{FF2B5EF4-FFF2-40B4-BE49-F238E27FC236}">
                  <a16:creationId xmlns:a16="http://schemas.microsoft.com/office/drawing/2014/main" id="{6045188E-8A48-9FAC-B7D0-CE49BCFF466F}"/>
                </a:ext>
              </a:extLst>
            </p:cNvPr>
            <p:cNvSpPr/>
            <p:nvPr/>
          </p:nvSpPr>
          <p:spPr>
            <a:xfrm>
              <a:off x="8319810" y="5898279"/>
              <a:ext cx="92045" cy="120068"/>
            </a:xfrm>
            <a:custGeom>
              <a:avLst/>
              <a:gdLst/>
              <a:ahLst/>
              <a:cxnLst/>
              <a:rect l="l" t="t" r="r" b="b"/>
              <a:pathLst>
                <a:path w="92045" h="120068">
                  <a:moveTo>
                    <a:pt x="47562" y="0"/>
                  </a:moveTo>
                  <a:cubicBezTo>
                    <a:pt x="63818" y="89"/>
                    <a:pt x="75345" y="4211"/>
                    <a:pt x="82145" y="12365"/>
                  </a:cubicBezTo>
                  <a:cubicBezTo>
                    <a:pt x="88944" y="20519"/>
                    <a:pt x="92241" y="32171"/>
                    <a:pt x="92037" y="47320"/>
                  </a:cubicBezTo>
                  <a:lnTo>
                    <a:pt x="92037" y="118268"/>
                  </a:lnTo>
                  <a:lnTo>
                    <a:pt x="72523" y="118268"/>
                  </a:lnTo>
                  <a:lnTo>
                    <a:pt x="72523" y="103381"/>
                  </a:lnTo>
                  <a:cubicBezTo>
                    <a:pt x="69130" y="107895"/>
                    <a:pt x="64466" y="111767"/>
                    <a:pt x="58531" y="114998"/>
                  </a:cubicBezTo>
                  <a:cubicBezTo>
                    <a:pt x="52596" y="118228"/>
                    <a:pt x="44908" y="119919"/>
                    <a:pt x="35467" y="120068"/>
                  </a:cubicBezTo>
                  <a:cubicBezTo>
                    <a:pt x="24764" y="119978"/>
                    <a:pt x="16217" y="116821"/>
                    <a:pt x="9826" y="110596"/>
                  </a:cubicBezTo>
                  <a:cubicBezTo>
                    <a:pt x="3436" y="104371"/>
                    <a:pt x="160" y="95618"/>
                    <a:pt x="0" y="84338"/>
                  </a:cubicBezTo>
                  <a:cubicBezTo>
                    <a:pt x="261" y="72451"/>
                    <a:pt x="4426" y="63365"/>
                    <a:pt x="12493" y="57081"/>
                  </a:cubicBezTo>
                  <a:cubicBezTo>
                    <a:pt x="20560" y="50798"/>
                    <a:pt x="30963" y="47629"/>
                    <a:pt x="43702" y="47577"/>
                  </a:cubicBezTo>
                  <a:cubicBezTo>
                    <a:pt x="48361" y="47534"/>
                    <a:pt x="53325" y="48069"/>
                    <a:pt x="58595" y="49181"/>
                  </a:cubicBezTo>
                  <a:cubicBezTo>
                    <a:pt x="63866" y="50294"/>
                    <a:pt x="68508" y="52240"/>
                    <a:pt x="72523" y="55021"/>
                  </a:cubicBezTo>
                  <a:cubicBezTo>
                    <a:pt x="72861" y="44047"/>
                    <a:pt x="71349" y="35257"/>
                    <a:pt x="67988" y="28651"/>
                  </a:cubicBezTo>
                  <a:cubicBezTo>
                    <a:pt x="64627" y="22045"/>
                    <a:pt x="57389" y="18656"/>
                    <a:pt x="46275" y="18484"/>
                  </a:cubicBezTo>
                  <a:cubicBezTo>
                    <a:pt x="39332" y="18533"/>
                    <a:pt x="33403" y="19337"/>
                    <a:pt x="28489" y="20898"/>
                  </a:cubicBezTo>
                  <a:cubicBezTo>
                    <a:pt x="23574" y="22459"/>
                    <a:pt x="18872" y="24486"/>
                    <a:pt x="14381" y="26981"/>
                  </a:cubicBezTo>
                  <a:lnTo>
                    <a:pt x="8988" y="10526"/>
                  </a:lnTo>
                  <a:cubicBezTo>
                    <a:pt x="14189" y="7279"/>
                    <a:pt x="20100" y="4723"/>
                    <a:pt x="26723" y="2856"/>
                  </a:cubicBezTo>
                  <a:cubicBezTo>
                    <a:pt x="33346" y="989"/>
                    <a:pt x="40292" y="37"/>
                    <a:pt x="47562" y="0"/>
                  </a:cubicBezTo>
                  <a:close/>
                  <a:moveTo>
                    <a:pt x="46533" y="64261"/>
                  </a:moveTo>
                  <a:cubicBezTo>
                    <a:pt x="40099" y="64219"/>
                    <a:pt x="34438" y="65720"/>
                    <a:pt x="29548" y="68766"/>
                  </a:cubicBezTo>
                  <a:cubicBezTo>
                    <a:pt x="24659" y="71812"/>
                    <a:pt x="22085" y="76660"/>
                    <a:pt x="21828" y="83309"/>
                  </a:cubicBezTo>
                  <a:cubicBezTo>
                    <a:pt x="21860" y="88913"/>
                    <a:pt x="23662" y="93342"/>
                    <a:pt x="27232" y="96597"/>
                  </a:cubicBezTo>
                  <a:cubicBezTo>
                    <a:pt x="30803" y="99852"/>
                    <a:pt x="35950" y="101514"/>
                    <a:pt x="42672" y="101584"/>
                  </a:cubicBezTo>
                  <a:cubicBezTo>
                    <a:pt x="50189" y="101396"/>
                    <a:pt x="56322" y="99777"/>
                    <a:pt x="61072" y="96726"/>
                  </a:cubicBezTo>
                  <a:cubicBezTo>
                    <a:pt x="65822" y="93674"/>
                    <a:pt x="69639" y="90318"/>
                    <a:pt x="72523" y="86655"/>
                  </a:cubicBezTo>
                  <a:lnTo>
                    <a:pt x="72523" y="71984"/>
                  </a:lnTo>
                  <a:cubicBezTo>
                    <a:pt x="68915" y="69410"/>
                    <a:pt x="64938" y="67479"/>
                    <a:pt x="60590" y="66192"/>
                  </a:cubicBezTo>
                  <a:cubicBezTo>
                    <a:pt x="56242" y="64905"/>
                    <a:pt x="51556" y="64261"/>
                    <a:pt x="46533" y="64261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9" name="Полілінія: фігура 28">
              <a:extLst>
                <a:ext uri="{FF2B5EF4-FFF2-40B4-BE49-F238E27FC236}">
                  <a16:creationId xmlns:a16="http://schemas.microsoft.com/office/drawing/2014/main" id="{E7E83EB0-79F7-70F2-A161-A907831223AC}"/>
                </a:ext>
              </a:extLst>
            </p:cNvPr>
            <p:cNvSpPr/>
            <p:nvPr/>
          </p:nvSpPr>
          <p:spPr>
            <a:xfrm>
              <a:off x="8625123" y="5898279"/>
              <a:ext cx="123412" cy="120840"/>
            </a:xfrm>
            <a:custGeom>
              <a:avLst/>
              <a:gdLst/>
              <a:ahLst/>
              <a:cxnLst/>
              <a:rect l="l" t="t" r="r" b="b"/>
              <a:pathLst>
                <a:path w="123412" h="120840">
                  <a:moveTo>
                    <a:pt x="61706" y="0"/>
                  </a:moveTo>
                  <a:cubicBezTo>
                    <a:pt x="80485" y="347"/>
                    <a:pt x="95401" y="6075"/>
                    <a:pt x="106452" y="17185"/>
                  </a:cubicBezTo>
                  <a:cubicBezTo>
                    <a:pt x="117503" y="28295"/>
                    <a:pt x="123157" y="42707"/>
                    <a:pt x="123412" y="60420"/>
                  </a:cubicBezTo>
                  <a:cubicBezTo>
                    <a:pt x="123157" y="78133"/>
                    <a:pt x="117503" y="92544"/>
                    <a:pt x="106452" y="103654"/>
                  </a:cubicBezTo>
                  <a:cubicBezTo>
                    <a:pt x="95401" y="114765"/>
                    <a:pt x="80485" y="120493"/>
                    <a:pt x="61706" y="120840"/>
                  </a:cubicBezTo>
                  <a:cubicBezTo>
                    <a:pt x="42927" y="120493"/>
                    <a:pt x="28011" y="114765"/>
                    <a:pt x="16960" y="103654"/>
                  </a:cubicBezTo>
                  <a:cubicBezTo>
                    <a:pt x="5909" y="92544"/>
                    <a:pt x="256" y="78133"/>
                    <a:pt x="0" y="60420"/>
                  </a:cubicBezTo>
                  <a:cubicBezTo>
                    <a:pt x="256" y="42707"/>
                    <a:pt x="5909" y="28295"/>
                    <a:pt x="16960" y="17185"/>
                  </a:cubicBezTo>
                  <a:cubicBezTo>
                    <a:pt x="28011" y="6075"/>
                    <a:pt x="42927" y="347"/>
                    <a:pt x="61706" y="0"/>
                  </a:cubicBezTo>
                  <a:close/>
                  <a:moveTo>
                    <a:pt x="61706" y="19256"/>
                  </a:moveTo>
                  <a:cubicBezTo>
                    <a:pt x="50139" y="19443"/>
                    <a:pt x="40663" y="23249"/>
                    <a:pt x="33277" y="30672"/>
                  </a:cubicBezTo>
                  <a:cubicBezTo>
                    <a:pt x="25891" y="38096"/>
                    <a:pt x="22075" y="48011"/>
                    <a:pt x="21828" y="60420"/>
                  </a:cubicBezTo>
                  <a:cubicBezTo>
                    <a:pt x="22043" y="72715"/>
                    <a:pt x="25795" y="82599"/>
                    <a:pt x="33084" y="90071"/>
                  </a:cubicBezTo>
                  <a:cubicBezTo>
                    <a:pt x="40373" y="97543"/>
                    <a:pt x="49914" y="101380"/>
                    <a:pt x="61706" y="101584"/>
                  </a:cubicBezTo>
                  <a:cubicBezTo>
                    <a:pt x="73498" y="101412"/>
                    <a:pt x="83039" y="97639"/>
                    <a:pt x="90329" y="90264"/>
                  </a:cubicBezTo>
                  <a:cubicBezTo>
                    <a:pt x="97618" y="82888"/>
                    <a:pt x="101370" y="72940"/>
                    <a:pt x="101585" y="60420"/>
                  </a:cubicBezTo>
                  <a:cubicBezTo>
                    <a:pt x="101370" y="48124"/>
                    <a:pt x="97618" y="38240"/>
                    <a:pt x="90329" y="30769"/>
                  </a:cubicBezTo>
                  <a:cubicBezTo>
                    <a:pt x="83039" y="23297"/>
                    <a:pt x="73498" y="19459"/>
                    <a:pt x="61706" y="19256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0" name="Полілінія: фігура 29">
              <a:extLst>
                <a:ext uri="{FF2B5EF4-FFF2-40B4-BE49-F238E27FC236}">
                  <a16:creationId xmlns:a16="http://schemas.microsoft.com/office/drawing/2014/main" id="{4105F8E4-26BF-B5D0-93DC-2754152244CF}"/>
                </a:ext>
              </a:extLst>
            </p:cNvPr>
            <p:cNvSpPr/>
            <p:nvPr/>
          </p:nvSpPr>
          <p:spPr>
            <a:xfrm>
              <a:off x="9072798" y="5898279"/>
              <a:ext cx="123412" cy="120840"/>
            </a:xfrm>
            <a:custGeom>
              <a:avLst/>
              <a:gdLst/>
              <a:ahLst/>
              <a:cxnLst/>
              <a:rect l="l" t="t" r="r" b="b"/>
              <a:pathLst>
                <a:path w="123412" h="120840">
                  <a:moveTo>
                    <a:pt x="61706" y="0"/>
                  </a:moveTo>
                  <a:cubicBezTo>
                    <a:pt x="80486" y="347"/>
                    <a:pt x="95401" y="6075"/>
                    <a:pt x="106452" y="17185"/>
                  </a:cubicBezTo>
                  <a:cubicBezTo>
                    <a:pt x="117503" y="28295"/>
                    <a:pt x="123157" y="42707"/>
                    <a:pt x="123412" y="60420"/>
                  </a:cubicBezTo>
                  <a:cubicBezTo>
                    <a:pt x="123157" y="78133"/>
                    <a:pt x="117503" y="92544"/>
                    <a:pt x="106452" y="103654"/>
                  </a:cubicBezTo>
                  <a:cubicBezTo>
                    <a:pt x="95401" y="114765"/>
                    <a:pt x="80486" y="120493"/>
                    <a:pt x="61706" y="120840"/>
                  </a:cubicBezTo>
                  <a:cubicBezTo>
                    <a:pt x="42926" y="120493"/>
                    <a:pt x="28012" y="114765"/>
                    <a:pt x="16960" y="103654"/>
                  </a:cubicBezTo>
                  <a:cubicBezTo>
                    <a:pt x="5909" y="92544"/>
                    <a:pt x="256" y="78133"/>
                    <a:pt x="0" y="60420"/>
                  </a:cubicBezTo>
                  <a:cubicBezTo>
                    <a:pt x="256" y="42707"/>
                    <a:pt x="5909" y="28295"/>
                    <a:pt x="16960" y="17185"/>
                  </a:cubicBezTo>
                  <a:cubicBezTo>
                    <a:pt x="28012" y="6075"/>
                    <a:pt x="42926" y="347"/>
                    <a:pt x="61706" y="0"/>
                  </a:cubicBezTo>
                  <a:close/>
                  <a:moveTo>
                    <a:pt x="61706" y="19256"/>
                  </a:moveTo>
                  <a:cubicBezTo>
                    <a:pt x="50140" y="19443"/>
                    <a:pt x="40663" y="23249"/>
                    <a:pt x="33277" y="30672"/>
                  </a:cubicBezTo>
                  <a:cubicBezTo>
                    <a:pt x="25891" y="38096"/>
                    <a:pt x="22075" y="48011"/>
                    <a:pt x="21828" y="60420"/>
                  </a:cubicBezTo>
                  <a:cubicBezTo>
                    <a:pt x="22042" y="72715"/>
                    <a:pt x="25795" y="82599"/>
                    <a:pt x="33084" y="90071"/>
                  </a:cubicBezTo>
                  <a:cubicBezTo>
                    <a:pt x="40374" y="97543"/>
                    <a:pt x="49914" y="101380"/>
                    <a:pt x="61706" y="101584"/>
                  </a:cubicBezTo>
                  <a:cubicBezTo>
                    <a:pt x="73498" y="101412"/>
                    <a:pt x="83039" y="97639"/>
                    <a:pt x="90328" y="90264"/>
                  </a:cubicBezTo>
                  <a:cubicBezTo>
                    <a:pt x="97618" y="82888"/>
                    <a:pt x="101370" y="72940"/>
                    <a:pt x="101584" y="60420"/>
                  </a:cubicBezTo>
                  <a:cubicBezTo>
                    <a:pt x="101370" y="48124"/>
                    <a:pt x="97618" y="38240"/>
                    <a:pt x="90328" y="30769"/>
                  </a:cubicBezTo>
                  <a:cubicBezTo>
                    <a:pt x="83039" y="23297"/>
                    <a:pt x="73498" y="19459"/>
                    <a:pt x="61706" y="19256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1" name="Полілінія: фігура 30">
              <a:extLst>
                <a:ext uri="{FF2B5EF4-FFF2-40B4-BE49-F238E27FC236}">
                  <a16:creationId xmlns:a16="http://schemas.microsoft.com/office/drawing/2014/main" id="{BC933E4B-97E9-20E1-FA36-984498FB422C}"/>
                </a:ext>
              </a:extLst>
            </p:cNvPr>
            <p:cNvSpPr/>
            <p:nvPr/>
          </p:nvSpPr>
          <p:spPr>
            <a:xfrm>
              <a:off x="9634774" y="5898279"/>
              <a:ext cx="113383" cy="120840"/>
            </a:xfrm>
            <a:custGeom>
              <a:avLst/>
              <a:gdLst/>
              <a:ahLst/>
              <a:cxnLst/>
              <a:rect l="l" t="t" r="r" b="b"/>
              <a:pathLst>
                <a:path w="113383" h="120840">
                  <a:moveTo>
                    <a:pt x="59650" y="0"/>
                  </a:moveTo>
                  <a:cubicBezTo>
                    <a:pt x="74947" y="212"/>
                    <a:pt x="87633" y="5052"/>
                    <a:pt x="97708" y="14518"/>
                  </a:cubicBezTo>
                  <a:cubicBezTo>
                    <a:pt x="107785" y="23985"/>
                    <a:pt x="113009" y="36803"/>
                    <a:pt x="113383" y="52972"/>
                  </a:cubicBezTo>
                  <a:cubicBezTo>
                    <a:pt x="113339" y="58619"/>
                    <a:pt x="112911" y="63240"/>
                    <a:pt x="112099" y="66833"/>
                  </a:cubicBezTo>
                  <a:lnTo>
                    <a:pt x="23115" y="66833"/>
                  </a:lnTo>
                  <a:cubicBezTo>
                    <a:pt x="24171" y="77854"/>
                    <a:pt x="28298" y="86380"/>
                    <a:pt x="35497" y="92414"/>
                  </a:cubicBezTo>
                  <a:cubicBezTo>
                    <a:pt x="42696" y="98447"/>
                    <a:pt x="52033" y="101503"/>
                    <a:pt x="63510" y="101584"/>
                  </a:cubicBezTo>
                  <a:cubicBezTo>
                    <a:pt x="71052" y="101514"/>
                    <a:pt x="77902" y="100367"/>
                    <a:pt x="84059" y="98141"/>
                  </a:cubicBezTo>
                  <a:cubicBezTo>
                    <a:pt x="90217" y="95915"/>
                    <a:pt x="95198" y="93030"/>
                    <a:pt x="99003" y="89485"/>
                  </a:cubicBezTo>
                  <a:lnTo>
                    <a:pt x="105422" y="105692"/>
                  </a:lnTo>
                  <a:cubicBezTo>
                    <a:pt x="99633" y="110816"/>
                    <a:pt x="92908" y="114624"/>
                    <a:pt x="85246" y="117117"/>
                  </a:cubicBezTo>
                  <a:cubicBezTo>
                    <a:pt x="77584" y="119610"/>
                    <a:pt x="69825" y="120851"/>
                    <a:pt x="61966" y="120840"/>
                  </a:cubicBezTo>
                  <a:cubicBezTo>
                    <a:pt x="42949" y="120606"/>
                    <a:pt x="27926" y="115102"/>
                    <a:pt x="16897" y="104328"/>
                  </a:cubicBezTo>
                  <a:cubicBezTo>
                    <a:pt x="5867" y="93555"/>
                    <a:pt x="235" y="78918"/>
                    <a:pt x="0" y="60416"/>
                  </a:cubicBezTo>
                  <a:cubicBezTo>
                    <a:pt x="106" y="43157"/>
                    <a:pt x="5288" y="28876"/>
                    <a:pt x="15546" y="17573"/>
                  </a:cubicBezTo>
                  <a:cubicBezTo>
                    <a:pt x="25804" y="6269"/>
                    <a:pt x="40505" y="411"/>
                    <a:pt x="59650" y="0"/>
                  </a:cubicBezTo>
                  <a:close/>
                  <a:moveTo>
                    <a:pt x="58621" y="19256"/>
                  </a:moveTo>
                  <a:cubicBezTo>
                    <a:pt x="48002" y="19433"/>
                    <a:pt x="39522" y="22361"/>
                    <a:pt x="33181" y="28041"/>
                  </a:cubicBezTo>
                  <a:cubicBezTo>
                    <a:pt x="26840" y="33721"/>
                    <a:pt x="23056" y="41090"/>
                    <a:pt x="21828" y="50149"/>
                  </a:cubicBezTo>
                  <a:lnTo>
                    <a:pt x="92069" y="50149"/>
                  </a:lnTo>
                  <a:cubicBezTo>
                    <a:pt x="91480" y="40527"/>
                    <a:pt x="88285" y="32997"/>
                    <a:pt x="82485" y="27558"/>
                  </a:cubicBezTo>
                  <a:cubicBezTo>
                    <a:pt x="76685" y="22120"/>
                    <a:pt x="68731" y="19352"/>
                    <a:pt x="58621" y="19256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2" name="Полілінія: фігура 31">
              <a:extLst>
                <a:ext uri="{FF2B5EF4-FFF2-40B4-BE49-F238E27FC236}">
                  <a16:creationId xmlns:a16="http://schemas.microsoft.com/office/drawing/2014/main" id="{ED7540A9-BB24-EB37-9576-38D2D9C4AF19}"/>
                </a:ext>
              </a:extLst>
            </p:cNvPr>
            <p:cNvSpPr/>
            <p:nvPr/>
          </p:nvSpPr>
          <p:spPr>
            <a:xfrm>
              <a:off x="9853849" y="5898277"/>
              <a:ext cx="106439" cy="120842"/>
            </a:xfrm>
            <a:custGeom>
              <a:avLst/>
              <a:gdLst/>
              <a:ahLst/>
              <a:cxnLst/>
              <a:rect l="l" t="t" r="r" b="b"/>
              <a:pathLst>
                <a:path w="106439" h="120842">
                  <a:moveTo>
                    <a:pt x="58604" y="2"/>
                  </a:moveTo>
                  <a:cubicBezTo>
                    <a:pt x="67927" y="-41"/>
                    <a:pt x="76478" y="1136"/>
                    <a:pt x="84258" y="3532"/>
                  </a:cubicBezTo>
                  <a:cubicBezTo>
                    <a:pt x="92037" y="5928"/>
                    <a:pt x="98659" y="9801"/>
                    <a:pt x="104124" y="15150"/>
                  </a:cubicBezTo>
                  <a:lnTo>
                    <a:pt x="94608" y="31349"/>
                  </a:lnTo>
                  <a:cubicBezTo>
                    <a:pt x="89706" y="26906"/>
                    <a:pt x="84466" y="23765"/>
                    <a:pt x="78889" y="21927"/>
                  </a:cubicBezTo>
                  <a:cubicBezTo>
                    <a:pt x="73312" y="20088"/>
                    <a:pt x="67493" y="19199"/>
                    <a:pt x="61433" y="19258"/>
                  </a:cubicBezTo>
                  <a:cubicBezTo>
                    <a:pt x="50669" y="19445"/>
                    <a:pt x="41465" y="23251"/>
                    <a:pt x="33819" y="30674"/>
                  </a:cubicBezTo>
                  <a:cubicBezTo>
                    <a:pt x="26173" y="38098"/>
                    <a:pt x="22176" y="48013"/>
                    <a:pt x="21828" y="60422"/>
                  </a:cubicBezTo>
                  <a:cubicBezTo>
                    <a:pt x="22134" y="73280"/>
                    <a:pt x="26216" y="83325"/>
                    <a:pt x="34076" y="90555"/>
                  </a:cubicBezTo>
                  <a:cubicBezTo>
                    <a:pt x="41936" y="97786"/>
                    <a:pt x="51741" y="101463"/>
                    <a:pt x="63491" y="101586"/>
                  </a:cubicBezTo>
                  <a:cubicBezTo>
                    <a:pt x="70466" y="101511"/>
                    <a:pt x="76767" y="100117"/>
                    <a:pt x="82393" y="97405"/>
                  </a:cubicBezTo>
                  <a:cubicBezTo>
                    <a:pt x="88018" y="94693"/>
                    <a:pt x="92776" y="91113"/>
                    <a:pt x="96666" y="86664"/>
                  </a:cubicBezTo>
                  <a:lnTo>
                    <a:pt x="106439" y="101586"/>
                  </a:lnTo>
                  <a:cubicBezTo>
                    <a:pt x="101418" y="107892"/>
                    <a:pt x="95000" y="112674"/>
                    <a:pt x="87183" y="115932"/>
                  </a:cubicBezTo>
                  <a:cubicBezTo>
                    <a:pt x="79366" y="119189"/>
                    <a:pt x="70954" y="120826"/>
                    <a:pt x="61948" y="120842"/>
                  </a:cubicBezTo>
                  <a:cubicBezTo>
                    <a:pt x="43277" y="120608"/>
                    <a:pt x="28355" y="115104"/>
                    <a:pt x="17183" y="104332"/>
                  </a:cubicBezTo>
                  <a:cubicBezTo>
                    <a:pt x="6010" y="93559"/>
                    <a:pt x="283" y="78922"/>
                    <a:pt x="0" y="60422"/>
                  </a:cubicBezTo>
                  <a:cubicBezTo>
                    <a:pt x="321" y="43159"/>
                    <a:pt x="5844" y="28876"/>
                    <a:pt x="16572" y="17573"/>
                  </a:cubicBezTo>
                  <a:cubicBezTo>
                    <a:pt x="27300" y="6270"/>
                    <a:pt x="41311" y="413"/>
                    <a:pt x="58604" y="2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3" name="Полілінія: фігура 32">
              <a:extLst>
                <a:ext uri="{FF2B5EF4-FFF2-40B4-BE49-F238E27FC236}">
                  <a16:creationId xmlns:a16="http://schemas.microsoft.com/office/drawing/2014/main" id="{B0A59BB4-1693-DE3D-E630-CC9E1D48E26D}"/>
                </a:ext>
              </a:extLst>
            </p:cNvPr>
            <p:cNvSpPr/>
            <p:nvPr/>
          </p:nvSpPr>
          <p:spPr>
            <a:xfrm>
              <a:off x="10043835" y="5898279"/>
              <a:ext cx="92045" cy="120068"/>
            </a:xfrm>
            <a:custGeom>
              <a:avLst/>
              <a:gdLst/>
              <a:ahLst/>
              <a:cxnLst/>
              <a:rect l="l" t="t" r="r" b="b"/>
              <a:pathLst>
                <a:path w="92045" h="120068">
                  <a:moveTo>
                    <a:pt x="47562" y="0"/>
                  </a:moveTo>
                  <a:cubicBezTo>
                    <a:pt x="63818" y="89"/>
                    <a:pt x="75346" y="4211"/>
                    <a:pt x="82145" y="12365"/>
                  </a:cubicBezTo>
                  <a:cubicBezTo>
                    <a:pt x="88944" y="20519"/>
                    <a:pt x="92241" y="32171"/>
                    <a:pt x="92036" y="47320"/>
                  </a:cubicBezTo>
                  <a:lnTo>
                    <a:pt x="92036" y="118268"/>
                  </a:lnTo>
                  <a:lnTo>
                    <a:pt x="72524" y="118268"/>
                  </a:lnTo>
                  <a:lnTo>
                    <a:pt x="72524" y="103381"/>
                  </a:lnTo>
                  <a:cubicBezTo>
                    <a:pt x="69130" y="107895"/>
                    <a:pt x="64466" y="111767"/>
                    <a:pt x="58530" y="114998"/>
                  </a:cubicBezTo>
                  <a:cubicBezTo>
                    <a:pt x="52596" y="118228"/>
                    <a:pt x="44908" y="119919"/>
                    <a:pt x="35467" y="120068"/>
                  </a:cubicBezTo>
                  <a:cubicBezTo>
                    <a:pt x="24764" y="119978"/>
                    <a:pt x="16217" y="116821"/>
                    <a:pt x="9826" y="110596"/>
                  </a:cubicBezTo>
                  <a:cubicBezTo>
                    <a:pt x="3436" y="104371"/>
                    <a:pt x="160" y="95618"/>
                    <a:pt x="0" y="84338"/>
                  </a:cubicBezTo>
                  <a:cubicBezTo>
                    <a:pt x="262" y="72451"/>
                    <a:pt x="4426" y="63365"/>
                    <a:pt x="12493" y="57081"/>
                  </a:cubicBezTo>
                  <a:cubicBezTo>
                    <a:pt x="20560" y="50798"/>
                    <a:pt x="30963" y="47629"/>
                    <a:pt x="43702" y="47577"/>
                  </a:cubicBezTo>
                  <a:cubicBezTo>
                    <a:pt x="48360" y="47534"/>
                    <a:pt x="53325" y="48069"/>
                    <a:pt x="58595" y="49181"/>
                  </a:cubicBezTo>
                  <a:cubicBezTo>
                    <a:pt x="63866" y="50294"/>
                    <a:pt x="68508" y="52240"/>
                    <a:pt x="72524" y="55021"/>
                  </a:cubicBezTo>
                  <a:cubicBezTo>
                    <a:pt x="72861" y="44047"/>
                    <a:pt x="71350" y="35257"/>
                    <a:pt x="67988" y="28651"/>
                  </a:cubicBezTo>
                  <a:cubicBezTo>
                    <a:pt x="64626" y="22045"/>
                    <a:pt x="57389" y="18656"/>
                    <a:pt x="46275" y="18484"/>
                  </a:cubicBezTo>
                  <a:cubicBezTo>
                    <a:pt x="39332" y="18533"/>
                    <a:pt x="33403" y="19337"/>
                    <a:pt x="28488" y="20898"/>
                  </a:cubicBezTo>
                  <a:cubicBezTo>
                    <a:pt x="23574" y="22459"/>
                    <a:pt x="18872" y="24486"/>
                    <a:pt x="14381" y="26981"/>
                  </a:cubicBezTo>
                  <a:lnTo>
                    <a:pt x="8988" y="10526"/>
                  </a:lnTo>
                  <a:cubicBezTo>
                    <a:pt x="14188" y="7279"/>
                    <a:pt x="20100" y="4723"/>
                    <a:pt x="26723" y="2856"/>
                  </a:cubicBezTo>
                  <a:cubicBezTo>
                    <a:pt x="33346" y="989"/>
                    <a:pt x="40292" y="37"/>
                    <a:pt x="47562" y="0"/>
                  </a:cubicBezTo>
                  <a:close/>
                  <a:moveTo>
                    <a:pt x="46532" y="64261"/>
                  </a:moveTo>
                  <a:cubicBezTo>
                    <a:pt x="40099" y="64219"/>
                    <a:pt x="34437" y="65720"/>
                    <a:pt x="29548" y="68766"/>
                  </a:cubicBezTo>
                  <a:cubicBezTo>
                    <a:pt x="24658" y="71812"/>
                    <a:pt x="22085" y="76660"/>
                    <a:pt x="21828" y="83309"/>
                  </a:cubicBezTo>
                  <a:cubicBezTo>
                    <a:pt x="21860" y="88913"/>
                    <a:pt x="23661" y="93342"/>
                    <a:pt x="27232" y="96597"/>
                  </a:cubicBezTo>
                  <a:cubicBezTo>
                    <a:pt x="30803" y="99852"/>
                    <a:pt x="35950" y="101514"/>
                    <a:pt x="42672" y="101584"/>
                  </a:cubicBezTo>
                  <a:cubicBezTo>
                    <a:pt x="50189" y="101396"/>
                    <a:pt x="56322" y="99777"/>
                    <a:pt x="61072" y="96726"/>
                  </a:cubicBezTo>
                  <a:cubicBezTo>
                    <a:pt x="65822" y="93674"/>
                    <a:pt x="69639" y="90318"/>
                    <a:pt x="72524" y="86655"/>
                  </a:cubicBezTo>
                  <a:lnTo>
                    <a:pt x="72524" y="71984"/>
                  </a:lnTo>
                  <a:cubicBezTo>
                    <a:pt x="68916" y="69410"/>
                    <a:pt x="64938" y="67479"/>
                    <a:pt x="60590" y="66192"/>
                  </a:cubicBezTo>
                  <a:cubicBezTo>
                    <a:pt x="56242" y="64905"/>
                    <a:pt x="51556" y="64261"/>
                    <a:pt x="46532" y="64261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4" name="Полілінія: фігура 33">
              <a:extLst>
                <a:ext uri="{FF2B5EF4-FFF2-40B4-BE49-F238E27FC236}">
                  <a16:creationId xmlns:a16="http://schemas.microsoft.com/office/drawing/2014/main" id="{388650D1-0F7D-324B-DDA5-7AC1A29E8907}"/>
                </a:ext>
              </a:extLst>
            </p:cNvPr>
            <p:cNvSpPr/>
            <p:nvPr/>
          </p:nvSpPr>
          <p:spPr>
            <a:xfrm>
              <a:off x="9223388" y="5898780"/>
              <a:ext cx="171762" cy="117767"/>
            </a:xfrm>
            <a:custGeom>
              <a:avLst/>
              <a:gdLst/>
              <a:ahLst/>
              <a:cxnLst/>
              <a:rect l="l" t="t" r="r" b="b"/>
              <a:pathLst>
                <a:path w="171762" h="117767">
                  <a:moveTo>
                    <a:pt x="58884" y="13"/>
                  </a:moveTo>
                  <a:cubicBezTo>
                    <a:pt x="67947" y="93"/>
                    <a:pt x="75479" y="1923"/>
                    <a:pt x="81479" y="5501"/>
                  </a:cubicBezTo>
                  <a:cubicBezTo>
                    <a:pt x="87480" y="9080"/>
                    <a:pt x="91600" y="13926"/>
                    <a:pt x="93841" y="20041"/>
                  </a:cubicBezTo>
                  <a:cubicBezTo>
                    <a:pt x="98042" y="14039"/>
                    <a:pt x="103658" y="9224"/>
                    <a:pt x="110692" y="5598"/>
                  </a:cubicBezTo>
                  <a:cubicBezTo>
                    <a:pt x="117724" y="1971"/>
                    <a:pt x="125658" y="109"/>
                    <a:pt x="134493" y="13"/>
                  </a:cubicBezTo>
                  <a:cubicBezTo>
                    <a:pt x="145386" y="-218"/>
                    <a:pt x="154266" y="2811"/>
                    <a:pt x="161133" y="9100"/>
                  </a:cubicBezTo>
                  <a:cubicBezTo>
                    <a:pt x="168000" y="15389"/>
                    <a:pt x="171543" y="26323"/>
                    <a:pt x="171762" y="41901"/>
                  </a:cubicBezTo>
                  <a:lnTo>
                    <a:pt x="171762" y="117767"/>
                  </a:lnTo>
                  <a:lnTo>
                    <a:pt x="151220" y="117767"/>
                  </a:lnTo>
                  <a:lnTo>
                    <a:pt x="151220" y="47558"/>
                  </a:lnTo>
                  <a:cubicBezTo>
                    <a:pt x="151225" y="38054"/>
                    <a:pt x="149156" y="30960"/>
                    <a:pt x="145012" y="26277"/>
                  </a:cubicBezTo>
                  <a:cubicBezTo>
                    <a:pt x="140868" y="21594"/>
                    <a:pt x="134617" y="19258"/>
                    <a:pt x="126259" y="19269"/>
                  </a:cubicBezTo>
                  <a:cubicBezTo>
                    <a:pt x="119252" y="19371"/>
                    <a:pt x="113130" y="20968"/>
                    <a:pt x="107892" y="24059"/>
                  </a:cubicBezTo>
                  <a:cubicBezTo>
                    <a:pt x="102655" y="27150"/>
                    <a:pt x="98656" y="31126"/>
                    <a:pt x="95895" y="35985"/>
                  </a:cubicBezTo>
                  <a:cubicBezTo>
                    <a:pt x="96018" y="37068"/>
                    <a:pt x="96093" y="38375"/>
                    <a:pt x="96120" y="39907"/>
                  </a:cubicBezTo>
                  <a:cubicBezTo>
                    <a:pt x="96146" y="41440"/>
                    <a:pt x="96158" y="42876"/>
                    <a:pt x="96152" y="44215"/>
                  </a:cubicBezTo>
                  <a:lnTo>
                    <a:pt x="96152" y="117767"/>
                  </a:lnTo>
                  <a:lnTo>
                    <a:pt x="75610" y="117767"/>
                  </a:lnTo>
                  <a:lnTo>
                    <a:pt x="75610" y="43186"/>
                  </a:lnTo>
                  <a:cubicBezTo>
                    <a:pt x="75594" y="36002"/>
                    <a:pt x="73503" y="30247"/>
                    <a:pt x="69338" y="25924"/>
                  </a:cubicBezTo>
                  <a:cubicBezTo>
                    <a:pt x="65172" y="21600"/>
                    <a:pt x="59029" y="19382"/>
                    <a:pt x="50907" y="19269"/>
                  </a:cubicBezTo>
                  <a:cubicBezTo>
                    <a:pt x="44158" y="19392"/>
                    <a:pt x="38164" y="20947"/>
                    <a:pt x="32926" y="23933"/>
                  </a:cubicBezTo>
                  <a:cubicBezTo>
                    <a:pt x="27689" y="26920"/>
                    <a:pt x="23561" y="30602"/>
                    <a:pt x="20542" y="34980"/>
                  </a:cubicBezTo>
                  <a:lnTo>
                    <a:pt x="20542" y="117767"/>
                  </a:lnTo>
                  <a:lnTo>
                    <a:pt x="0" y="117767"/>
                  </a:lnTo>
                  <a:lnTo>
                    <a:pt x="0" y="2071"/>
                  </a:lnTo>
                  <a:lnTo>
                    <a:pt x="20542" y="2071"/>
                  </a:lnTo>
                  <a:lnTo>
                    <a:pt x="20542" y="16702"/>
                  </a:lnTo>
                  <a:cubicBezTo>
                    <a:pt x="24922" y="11626"/>
                    <a:pt x="30508" y="7592"/>
                    <a:pt x="37301" y="4602"/>
                  </a:cubicBezTo>
                  <a:cubicBezTo>
                    <a:pt x="44093" y="1612"/>
                    <a:pt x="51288" y="83"/>
                    <a:pt x="58884" y="13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5" name="Полілінія: фігура 34">
              <a:extLst>
                <a:ext uri="{FF2B5EF4-FFF2-40B4-BE49-F238E27FC236}">
                  <a16:creationId xmlns:a16="http://schemas.microsoft.com/office/drawing/2014/main" id="{66989427-E925-820C-4FCA-5E18BF437807}"/>
                </a:ext>
              </a:extLst>
            </p:cNvPr>
            <p:cNvSpPr/>
            <p:nvPr/>
          </p:nvSpPr>
          <p:spPr>
            <a:xfrm>
              <a:off x="9432938" y="5898780"/>
              <a:ext cx="171762" cy="117767"/>
            </a:xfrm>
            <a:custGeom>
              <a:avLst/>
              <a:gdLst/>
              <a:ahLst/>
              <a:cxnLst/>
              <a:rect l="l" t="t" r="r" b="b"/>
              <a:pathLst>
                <a:path w="171762" h="117767">
                  <a:moveTo>
                    <a:pt x="58884" y="13"/>
                  </a:moveTo>
                  <a:cubicBezTo>
                    <a:pt x="67947" y="93"/>
                    <a:pt x="75479" y="1923"/>
                    <a:pt x="81479" y="5501"/>
                  </a:cubicBezTo>
                  <a:cubicBezTo>
                    <a:pt x="87480" y="9080"/>
                    <a:pt x="91600" y="13926"/>
                    <a:pt x="93841" y="20041"/>
                  </a:cubicBezTo>
                  <a:cubicBezTo>
                    <a:pt x="98042" y="14039"/>
                    <a:pt x="103658" y="9224"/>
                    <a:pt x="110692" y="5598"/>
                  </a:cubicBezTo>
                  <a:cubicBezTo>
                    <a:pt x="117724" y="1971"/>
                    <a:pt x="125658" y="109"/>
                    <a:pt x="134493" y="13"/>
                  </a:cubicBezTo>
                  <a:cubicBezTo>
                    <a:pt x="145386" y="-218"/>
                    <a:pt x="154266" y="2811"/>
                    <a:pt x="161133" y="9100"/>
                  </a:cubicBezTo>
                  <a:cubicBezTo>
                    <a:pt x="168000" y="15389"/>
                    <a:pt x="171543" y="26323"/>
                    <a:pt x="171762" y="41901"/>
                  </a:cubicBezTo>
                  <a:lnTo>
                    <a:pt x="171762" y="117767"/>
                  </a:lnTo>
                  <a:lnTo>
                    <a:pt x="151220" y="117767"/>
                  </a:lnTo>
                  <a:lnTo>
                    <a:pt x="151220" y="47558"/>
                  </a:lnTo>
                  <a:cubicBezTo>
                    <a:pt x="151225" y="38054"/>
                    <a:pt x="149156" y="30960"/>
                    <a:pt x="145012" y="26277"/>
                  </a:cubicBezTo>
                  <a:cubicBezTo>
                    <a:pt x="140868" y="21594"/>
                    <a:pt x="134617" y="19258"/>
                    <a:pt x="126259" y="19269"/>
                  </a:cubicBezTo>
                  <a:cubicBezTo>
                    <a:pt x="119252" y="19371"/>
                    <a:pt x="113130" y="20968"/>
                    <a:pt x="107892" y="24059"/>
                  </a:cubicBezTo>
                  <a:cubicBezTo>
                    <a:pt x="102655" y="27150"/>
                    <a:pt x="98656" y="31126"/>
                    <a:pt x="95895" y="35985"/>
                  </a:cubicBezTo>
                  <a:cubicBezTo>
                    <a:pt x="96018" y="37068"/>
                    <a:pt x="96093" y="38375"/>
                    <a:pt x="96120" y="39907"/>
                  </a:cubicBezTo>
                  <a:cubicBezTo>
                    <a:pt x="96146" y="41440"/>
                    <a:pt x="96158" y="42876"/>
                    <a:pt x="96152" y="44215"/>
                  </a:cubicBezTo>
                  <a:lnTo>
                    <a:pt x="96152" y="117767"/>
                  </a:lnTo>
                  <a:lnTo>
                    <a:pt x="75610" y="117767"/>
                  </a:lnTo>
                  <a:lnTo>
                    <a:pt x="75610" y="43186"/>
                  </a:lnTo>
                  <a:cubicBezTo>
                    <a:pt x="75594" y="36002"/>
                    <a:pt x="73503" y="30247"/>
                    <a:pt x="69338" y="25924"/>
                  </a:cubicBezTo>
                  <a:cubicBezTo>
                    <a:pt x="65172" y="21600"/>
                    <a:pt x="59028" y="19382"/>
                    <a:pt x="50907" y="19269"/>
                  </a:cubicBezTo>
                  <a:cubicBezTo>
                    <a:pt x="44157" y="19392"/>
                    <a:pt x="38164" y="20947"/>
                    <a:pt x="32926" y="23933"/>
                  </a:cubicBezTo>
                  <a:cubicBezTo>
                    <a:pt x="27689" y="26920"/>
                    <a:pt x="23561" y="30602"/>
                    <a:pt x="20542" y="34980"/>
                  </a:cubicBezTo>
                  <a:lnTo>
                    <a:pt x="20542" y="117767"/>
                  </a:lnTo>
                  <a:lnTo>
                    <a:pt x="0" y="117767"/>
                  </a:lnTo>
                  <a:lnTo>
                    <a:pt x="0" y="2071"/>
                  </a:lnTo>
                  <a:lnTo>
                    <a:pt x="20542" y="2071"/>
                  </a:lnTo>
                  <a:lnTo>
                    <a:pt x="20542" y="16702"/>
                  </a:lnTo>
                  <a:cubicBezTo>
                    <a:pt x="24922" y="11626"/>
                    <a:pt x="30508" y="7592"/>
                    <a:pt x="37301" y="4602"/>
                  </a:cubicBezTo>
                  <a:cubicBezTo>
                    <a:pt x="44093" y="1612"/>
                    <a:pt x="51288" y="83"/>
                    <a:pt x="58884" y="13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6" name="Полілінія: фігура 35">
              <a:extLst>
                <a:ext uri="{FF2B5EF4-FFF2-40B4-BE49-F238E27FC236}">
                  <a16:creationId xmlns:a16="http://schemas.microsoft.com/office/drawing/2014/main" id="{0030EB41-C1EC-48D8-F160-95B3B9D09A51}"/>
                </a:ext>
              </a:extLst>
            </p:cNvPr>
            <p:cNvSpPr/>
            <p:nvPr/>
          </p:nvSpPr>
          <p:spPr>
            <a:xfrm>
              <a:off x="9775838" y="5898793"/>
              <a:ext cx="67606" cy="117754"/>
            </a:xfrm>
            <a:custGeom>
              <a:avLst/>
              <a:gdLst/>
              <a:ahLst/>
              <a:cxnLst/>
              <a:rect l="l" t="t" r="r" b="b"/>
              <a:pathLst>
                <a:path w="67606" h="117754">
                  <a:moveTo>
                    <a:pt x="49604" y="0"/>
                  </a:moveTo>
                  <a:cubicBezTo>
                    <a:pt x="54275" y="6"/>
                    <a:pt x="57983" y="380"/>
                    <a:pt x="60726" y="1123"/>
                  </a:cubicBezTo>
                  <a:cubicBezTo>
                    <a:pt x="63470" y="1867"/>
                    <a:pt x="65762" y="2947"/>
                    <a:pt x="67606" y="4365"/>
                  </a:cubicBezTo>
                  <a:lnTo>
                    <a:pt x="60404" y="23628"/>
                  </a:lnTo>
                  <a:cubicBezTo>
                    <a:pt x="57710" y="21983"/>
                    <a:pt x="55256" y="20837"/>
                    <a:pt x="53043" y="20188"/>
                  </a:cubicBezTo>
                  <a:cubicBezTo>
                    <a:pt x="50830" y="19540"/>
                    <a:pt x="48055" y="19229"/>
                    <a:pt x="44717" y="19256"/>
                  </a:cubicBezTo>
                  <a:cubicBezTo>
                    <a:pt x="38132" y="19412"/>
                    <a:pt x="32978" y="21094"/>
                    <a:pt x="29254" y="24303"/>
                  </a:cubicBezTo>
                  <a:cubicBezTo>
                    <a:pt x="25531" y="27513"/>
                    <a:pt x="22627" y="31317"/>
                    <a:pt x="20542" y="35715"/>
                  </a:cubicBezTo>
                  <a:lnTo>
                    <a:pt x="20542" y="117754"/>
                  </a:lnTo>
                  <a:lnTo>
                    <a:pt x="0" y="117754"/>
                  </a:lnTo>
                  <a:lnTo>
                    <a:pt x="0" y="2058"/>
                  </a:lnTo>
                  <a:lnTo>
                    <a:pt x="20542" y="2058"/>
                  </a:lnTo>
                  <a:lnTo>
                    <a:pt x="20542" y="15662"/>
                  </a:lnTo>
                  <a:cubicBezTo>
                    <a:pt x="23425" y="11190"/>
                    <a:pt x="27176" y="7489"/>
                    <a:pt x="31794" y="4557"/>
                  </a:cubicBezTo>
                  <a:cubicBezTo>
                    <a:pt x="36412" y="1626"/>
                    <a:pt x="42349" y="107"/>
                    <a:pt x="49604" y="0"/>
                  </a:cubicBez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37" name="Полілінія: фігура 36">
              <a:extLst>
                <a:ext uri="{FF2B5EF4-FFF2-40B4-BE49-F238E27FC236}">
                  <a16:creationId xmlns:a16="http://schemas.microsoft.com/office/drawing/2014/main" id="{5F04A1A5-8DBD-7781-6DB2-597B19BD3B58}"/>
                </a:ext>
              </a:extLst>
            </p:cNvPr>
            <p:cNvSpPr/>
            <p:nvPr/>
          </p:nvSpPr>
          <p:spPr>
            <a:xfrm>
              <a:off x="9991046" y="5900851"/>
              <a:ext cx="20542" cy="115696"/>
            </a:xfrm>
            <a:custGeom>
              <a:avLst/>
              <a:gdLst/>
              <a:ahLst/>
              <a:cxnLst/>
              <a:rect l="l" t="t" r="r" b="b"/>
              <a:pathLst>
                <a:path w="20542" h="115696">
                  <a:moveTo>
                    <a:pt x="0" y="0"/>
                  </a:moveTo>
                  <a:lnTo>
                    <a:pt x="20542" y="0"/>
                  </a:lnTo>
                  <a:lnTo>
                    <a:pt x="20542" y="115696"/>
                  </a:lnTo>
                  <a:lnTo>
                    <a:pt x="0" y="11569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3F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  <p:sp>
        <p:nvSpPr>
          <p:cNvPr id="38" name="Прямокутник 37">
            <a:extLst>
              <a:ext uri="{FF2B5EF4-FFF2-40B4-BE49-F238E27FC236}">
                <a16:creationId xmlns:a16="http://schemas.microsoft.com/office/drawing/2014/main" id="{A5C43AAF-6550-ED94-0E46-1BD29BB87DFB}"/>
              </a:ext>
            </a:extLst>
          </p:cNvPr>
          <p:cNvSpPr/>
          <p:nvPr/>
        </p:nvSpPr>
        <p:spPr>
          <a:xfrm>
            <a:off x="11895031" y="5341020"/>
            <a:ext cx="296972" cy="776144"/>
          </a:xfrm>
          <a:prstGeom prst="rect">
            <a:avLst/>
          </a:prstGeom>
          <a:solidFill>
            <a:srgbClr val="0BA4D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39" name="Пряма сполучна лінія 38">
            <a:extLst>
              <a:ext uri="{FF2B5EF4-FFF2-40B4-BE49-F238E27FC236}">
                <a16:creationId xmlns:a16="http://schemas.microsoft.com/office/drawing/2014/main" id="{9967E31A-41D2-B55D-B465-66BE71B83186}"/>
              </a:ext>
            </a:extLst>
          </p:cNvPr>
          <p:cNvCxnSpPr/>
          <p:nvPr/>
        </p:nvCxnSpPr>
        <p:spPr>
          <a:xfrm>
            <a:off x="5733143" y="4046247"/>
            <a:ext cx="5520422" cy="0"/>
          </a:xfrm>
          <a:prstGeom prst="line">
            <a:avLst/>
          </a:prstGeom>
          <a:ln>
            <a:solidFill>
              <a:srgbClr val="0BA4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увати 39">
            <a:extLst>
              <a:ext uri="{FF2B5EF4-FFF2-40B4-BE49-F238E27FC236}">
                <a16:creationId xmlns:a16="http://schemas.microsoft.com/office/drawing/2014/main" id="{9575038F-7655-0BCF-ED96-83F512FB9E4C}"/>
              </a:ext>
            </a:extLst>
          </p:cNvPr>
          <p:cNvGrpSpPr/>
          <p:nvPr/>
        </p:nvGrpSpPr>
        <p:grpSpPr>
          <a:xfrm>
            <a:off x="407811" y="798352"/>
            <a:ext cx="5561542" cy="5561542"/>
            <a:chOff x="9246726" y="275832"/>
            <a:chExt cx="2372120" cy="2372120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F00711BF-C224-F08D-EA39-A5D0E5F12DD4}"/>
                </a:ext>
              </a:extLst>
            </p:cNvPr>
            <p:cNvSpPr/>
            <p:nvPr/>
          </p:nvSpPr>
          <p:spPr>
            <a:xfrm>
              <a:off x="9246726" y="538492"/>
              <a:ext cx="1883390" cy="1883390"/>
            </a:xfrm>
            <a:prstGeom prst="ellipse">
              <a:avLst/>
            </a:prstGeom>
            <a:solidFill>
              <a:srgbClr val="0BA4D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816"/>
            </a:p>
          </p:txBody>
        </p:sp>
        <p:pic>
          <p:nvPicPr>
            <p:cNvPr id="42" name="Рисунок 41" descr="Зображення, що містить Обличчя людини, особа, одежа, портрет&#10;&#10;Автоматично згенерований опис">
              <a:extLst>
                <a:ext uri="{FF2B5EF4-FFF2-40B4-BE49-F238E27FC236}">
                  <a16:creationId xmlns:a16="http://schemas.microsoft.com/office/drawing/2014/main" id="{60C31010-9B04-D59C-6434-AD29FC3CC38D}"/>
                </a:ext>
              </a:extLst>
            </p:cNvPr>
            <p:cNvPicPr/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92" b="-3192"/>
            <a:stretch/>
          </p:blipFill>
          <p:spPr>
            <a:xfrm>
              <a:off x="9246726" y="275832"/>
              <a:ext cx="2372120" cy="2372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5297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74C0297-498F-3270-9F0D-BDBA45DCEF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015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увати 1">
            <a:extLst>
              <a:ext uri="{FF2B5EF4-FFF2-40B4-BE49-F238E27FC236}">
                <a16:creationId xmlns:a16="http://schemas.microsoft.com/office/drawing/2014/main" id="{F77C0204-DED9-B704-A4EC-1997C4224F78}"/>
              </a:ext>
            </a:extLst>
          </p:cNvPr>
          <p:cNvGrpSpPr/>
          <p:nvPr/>
        </p:nvGrpSpPr>
        <p:grpSpPr>
          <a:xfrm>
            <a:off x="408332" y="102907"/>
            <a:ext cx="11575014" cy="5101048"/>
            <a:chOff x="400379" y="104129"/>
            <a:chExt cx="11575014" cy="5101048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9349BC25-C1F0-A8B9-E73F-FD8DBD344B5A}"/>
                </a:ext>
              </a:extLst>
            </p:cNvPr>
            <p:cNvSpPr txBox="1"/>
            <p:nvPr/>
          </p:nvSpPr>
          <p:spPr>
            <a:xfrm>
              <a:off x="4032798" y="204363"/>
              <a:ext cx="4162485" cy="206276"/>
            </a:xfrm>
            <a:custGeom>
              <a:avLst/>
              <a:gdLst/>
              <a:ahLst/>
              <a:cxnLst/>
              <a:rect l="l" t="t" r="r" b="b"/>
              <a:pathLst>
                <a:path w="4162485" h="206276">
                  <a:moveTo>
                    <a:pt x="3593479" y="48006"/>
                  </a:moveTo>
                  <a:lnTo>
                    <a:pt x="3564047" y="119157"/>
                  </a:lnTo>
                  <a:lnTo>
                    <a:pt x="3622626" y="119157"/>
                  </a:lnTo>
                  <a:close/>
                  <a:moveTo>
                    <a:pt x="1631329" y="48006"/>
                  </a:moveTo>
                  <a:lnTo>
                    <a:pt x="1601897" y="119157"/>
                  </a:lnTo>
                  <a:lnTo>
                    <a:pt x="1660476" y="119157"/>
                  </a:lnTo>
                  <a:close/>
                  <a:moveTo>
                    <a:pt x="3388688" y="35397"/>
                  </a:moveTo>
                  <a:cubicBezTo>
                    <a:pt x="3385400" y="35403"/>
                    <a:pt x="3381754" y="35462"/>
                    <a:pt x="3377751" y="35576"/>
                  </a:cubicBezTo>
                  <a:cubicBezTo>
                    <a:pt x="3373749" y="35689"/>
                    <a:pt x="3369389" y="35820"/>
                    <a:pt x="3364671" y="35969"/>
                  </a:cubicBezTo>
                  <a:lnTo>
                    <a:pt x="3364671" y="95440"/>
                  </a:lnTo>
                  <a:lnTo>
                    <a:pt x="3387545" y="95440"/>
                  </a:lnTo>
                  <a:cubicBezTo>
                    <a:pt x="3398022" y="95440"/>
                    <a:pt x="3406945" y="92867"/>
                    <a:pt x="3414314" y="87720"/>
                  </a:cubicBezTo>
                  <a:cubicBezTo>
                    <a:pt x="3421681" y="82574"/>
                    <a:pt x="3425530" y="74854"/>
                    <a:pt x="3425857" y="64561"/>
                  </a:cubicBezTo>
                  <a:cubicBezTo>
                    <a:pt x="3426096" y="56466"/>
                    <a:pt x="3423474" y="49639"/>
                    <a:pt x="3417994" y="44082"/>
                  </a:cubicBezTo>
                  <a:cubicBezTo>
                    <a:pt x="3412514" y="38524"/>
                    <a:pt x="3402746" y="35629"/>
                    <a:pt x="3388688" y="35397"/>
                  </a:cubicBezTo>
                  <a:close/>
                  <a:moveTo>
                    <a:pt x="683588" y="35397"/>
                  </a:moveTo>
                  <a:cubicBezTo>
                    <a:pt x="680300" y="35403"/>
                    <a:pt x="676654" y="35462"/>
                    <a:pt x="672652" y="35576"/>
                  </a:cubicBezTo>
                  <a:cubicBezTo>
                    <a:pt x="668649" y="35689"/>
                    <a:pt x="664288" y="35820"/>
                    <a:pt x="659571" y="35969"/>
                  </a:cubicBezTo>
                  <a:lnTo>
                    <a:pt x="659571" y="95440"/>
                  </a:lnTo>
                  <a:lnTo>
                    <a:pt x="682444" y="95440"/>
                  </a:lnTo>
                  <a:cubicBezTo>
                    <a:pt x="692922" y="95440"/>
                    <a:pt x="701845" y="92867"/>
                    <a:pt x="709213" y="87720"/>
                  </a:cubicBezTo>
                  <a:cubicBezTo>
                    <a:pt x="716581" y="82574"/>
                    <a:pt x="720429" y="74854"/>
                    <a:pt x="720757" y="64561"/>
                  </a:cubicBezTo>
                  <a:cubicBezTo>
                    <a:pt x="720995" y="56466"/>
                    <a:pt x="718374" y="49639"/>
                    <a:pt x="712894" y="44082"/>
                  </a:cubicBezTo>
                  <a:cubicBezTo>
                    <a:pt x="707414" y="38524"/>
                    <a:pt x="697645" y="35629"/>
                    <a:pt x="683588" y="35397"/>
                  </a:cubicBezTo>
                  <a:close/>
                  <a:moveTo>
                    <a:pt x="2094720" y="32825"/>
                  </a:moveTo>
                  <a:cubicBezTo>
                    <a:pt x="2075177" y="33165"/>
                    <a:pt x="2059242" y="39703"/>
                    <a:pt x="2046916" y="52439"/>
                  </a:cubicBezTo>
                  <a:cubicBezTo>
                    <a:pt x="2034590" y="65176"/>
                    <a:pt x="2028230" y="82076"/>
                    <a:pt x="2027837" y="103137"/>
                  </a:cubicBezTo>
                  <a:cubicBezTo>
                    <a:pt x="2028284" y="123574"/>
                    <a:pt x="2034750" y="140294"/>
                    <a:pt x="2047237" y="153299"/>
                  </a:cubicBezTo>
                  <a:cubicBezTo>
                    <a:pt x="2059725" y="166304"/>
                    <a:pt x="2075552" y="173021"/>
                    <a:pt x="2094720" y="173450"/>
                  </a:cubicBezTo>
                  <a:cubicBezTo>
                    <a:pt x="2115901" y="172985"/>
                    <a:pt x="2132348" y="166197"/>
                    <a:pt x="2144061" y="153085"/>
                  </a:cubicBezTo>
                  <a:cubicBezTo>
                    <a:pt x="2155774" y="139973"/>
                    <a:pt x="2161717" y="123323"/>
                    <a:pt x="2161890" y="103137"/>
                  </a:cubicBezTo>
                  <a:cubicBezTo>
                    <a:pt x="2161449" y="82076"/>
                    <a:pt x="2154970" y="65176"/>
                    <a:pt x="2142453" y="52439"/>
                  </a:cubicBezTo>
                  <a:cubicBezTo>
                    <a:pt x="2129936" y="39703"/>
                    <a:pt x="2114025" y="33165"/>
                    <a:pt x="2094720" y="32825"/>
                  </a:cubicBezTo>
                  <a:close/>
                  <a:moveTo>
                    <a:pt x="427845" y="32825"/>
                  </a:moveTo>
                  <a:cubicBezTo>
                    <a:pt x="408302" y="33165"/>
                    <a:pt x="392367" y="39703"/>
                    <a:pt x="380041" y="52439"/>
                  </a:cubicBezTo>
                  <a:cubicBezTo>
                    <a:pt x="367715" y="65176"/>
                    <a:pt x="361355" y="82076"/>
                    <a:pt x="360962" y="103137"/>
                  </a:cubicBezTo>
                  <a:cubicBezTo>
                    <a:pt x="361409" y="123574"/>
                    <a:pt x="367876" y="140294"/>
                    <a:pt x="380362" y="153299"/>
                  </a:cubicBezTo>
                  <a:cubicBezTo>
                    <a:pt x="392849" y="166304"/>
                    <a:pt x="408677" y="173021"/>
                    <a:pt x="427845" y="173450"/>
                  </a:cubicBezTo>
                  <a:cubicBezTo>
                    <a:pt x="449026" y="172985"/>
                    <a:pt x="465473" y="166197"/>
                    <a:pt x="477186" y="153085"/>
                  </a:cubicBezTo>
                  <a:cubicBezTo>
                    <a:pt x="488899" y="139973"/>
                    <a:pt x="494842" y="123323"/>
                    <a:pt x="495015" y="103137"/>
                  </a:cubicBezTo>
                  <a:cubicBezTo>
                    <a:pt x="494574" y="82076"/>
                    <a:pt x="488095" y="65176"/>
                    <a:pt x="475578" y="52439"/>
                  </a:cubicBezTo>
                  <a:cubicBezTo>
                    <a:pt x="463061" y="39703"/>
                    <a:pt x="447150" y="33165"/>
                    <a:pt x="427845" y="32825"/>
                  </a:cubicBezTo>
                  <a:close/>
                  <a:moveTo>
                    <a:pt x="4043934" y="3429"/>
                  </a:moveTo>
                  <a:lnTo>
                    <a:pt x="4159627" y="3429"/>
                  </a:lnTo>
                  <a:lnTo>
                    <a:pt x="4159627" y="36254"/>
                  </a:lnTo>
                  <a:lnTo>
                    <a:pt x="4079046" y="36254"/>
                  </a:lnTo>
                  <a:lnTo>
                    <a:pt x="4079046" y="85725"/>
                  </a:lnTo>
                  <a:lnTo>
                    <a:pt x="4151055" y="85725"/>
                  </a:lnTo>
                  <a:lnTo>
                    <a:pt x="4151055" y="118550"/>
                  </a:lnTo>
                  <a:lnTo>
                    <a:pt x="4079046" y="118550"/>
                  </a:lnTo>
                  <a:lnTo>
                    <a:pt x="4079046" y="170307"/>
                  </a:lnTo>
                  <a:lnTo>
                    <a:pt x="4162485" y="170307"/>
                  </a:lnTo>
                  <a:lnTo>
                    <a:pt x="4162485" y="203132"/>
                  </a:lnTo>
                  <a:lnTo>
                    <a:pt x="4043934" y="203132"/>
                  </a:lnTo>
                  <a:close/>
                  <a:moveTo>
                    <a:pt x="3815334" y="3429"/>
                  </a:moveTo>
                  <a:lnTo>
                    <a:pt x="3843308" y="3429"/>
                  </a:lnTo>
                  <a:lnTo>
                    <a:pt x="3953352" y="142365"/>
                  </a:lnTo>
                  <a:lnTo>
                    <a:pt x="3953352" y="3429"/>
                  </a:lnTo>
                  <a:lnTo>
                    <a:pt x="3986177" y="3429"/>
                  </a:lnTo>
                  <a:lnTo>
                    <a:pt x="3986177" y="203132"/>
                  </a:lnTo>
                  <a:lnTo>
                    <a:pt x="3958204" y="203132"/>
                  </a:lnTo>
                  <a:lnTo>
                    <a:pt x="3848160" y="64765"/>
                  </a:lnTo>
                  <a:lnTo>
                    <a:pt x="3848160" y="203132"/>
                  </a:lnTo>
                  <a:lnTo>
                    <a:pt x="3815334" y="203132"/>
                  </a:lnTo>
                  <a:close/>
                  <a:moveTo>
                    <a:pt x="3724371" y="3429"/>
                  </a:moveTo>
                  <a:lnTo>
                    <a:pt x="3759482" y="3429"/>
                  </a:lnTo>
                  <a:lnTo>
                    <a:pt x="3759482" y="203132"/>
                  </a:lnTo>
                  <a:lnTo>
                    <a:pt x="3724371" y="203132"/>
                  </a:lnTo>
                  <a:close/>
                  <a:moveTo>
                    <a:pt x="3139059" y="3429"/>
                  </a:moveTo>
                  <a:lnTo>
                    <a:pt x="3174171" y="3429"/>
                  </a:lnTo>
                  <a:lnTo>
                    <a:pt x="3174171" y="98145"/>
                  </a:lnTo>
                  <a:lnTo>
                    <a:pt x="3253038" y="3429"/>
                  </a:lnTo>
                  <a:lnTo>
                    <a:pt x="3295329" y="3429"/>
                  </a:lnTo>
                  <a:lnTo>
                    <a:pt x="3213033" y="96433"/>
                  </a:lnTo>
                  <a:lnTo>
                    <a:pt x="3300472" y="203132"/>
                  </a:lnTo>
                  <a:lnTo>
                    <a:pt x="3255895" y="203132"/>
                  </a:lnTo>
                  <a:lnTo>
                    <a:pt x="3174171" y="100142"/>
                  </a:lnTo>
                  <a:lnTo>
                    <a:pt x="3174171" y="203132"/>
                  </a:lnTo>
                  <a:lnTo>
                    <a:pt x="3139059" y="203132"/>
                  </a:lnTo>
                  <a:close/>
                  <a:moveTo>
                    <a:pt x="2917127" y="3429"/>
                  </a:moveTo>
                  <a:lnTo>
                    <a:pt x="2952238" y="3429"/>
                  </a:lnTo>
                  <a:lnTo>
                    <a:pt x="2952238" y="110976"/>
                  </a:lnTo>
                  <a:cubicBezTo>
                    <a:pt x="2952161" y="129928"/>
                    <a:pt x="2956175" y="145012"/>
                    <a:pt x="2964280" y="156227"/>
                  </a:cubicBezTo>
                  <a:cubicBezTo>
                    <a:pt x="2972385" y="167441"/>
                    <a:pt x="2985047" y="173182"/>
                    <a:pt x="3002264" y="173450"/>
                  </a:cubicBezTo>
                  <a:cubicBezTo>
                    <a:pt x="3017379" y="173367"/>
                    <a:pt x="3028599" y="168184"/>
                    <a:pt x="3035923" y="157903"/>
                  </a:cubicBezTo>
                  <a:cubicBezTo>
                    <a:pt x="3043249" y="147621"/>
                    <a:pt x="3046893" y="132739"/>
                    <a:pt x="3046857" y="113258"/>
                  </a:cubicBezTo>
                  <a:lnTo>
                    <a:pt x="3046857" y="3429"/>
                  </a:lnTo>
                  <a:lnTo>
                    <a:pt x="3081683" y="3429"/>
                  </a:lnTo>
                  <a:lnTo>
                    <a:pt x="3081683" y="120390"/>
                  </a:lnTo>
                  <a:cubicBezTo>
                    <a:pt x="3081481" y="140670"/>
                    <a:pt x="3077730" y="157137"/>
                    <a:pt x="3070431" y="169791"/>
                  </a:cubicBezTo>
                  <a:cubicBezTo>
                    <a:pt x="3063132" y="182444"/>
                    <a:pt x="3053498" y="191706"/>
                    <a:pt x="3041530" y="197576"/>
                  </a:cubicBezTo>
                  <a:cubicBezTo>
                    <a:pt x="3029562" y="203446"/>
                    <a:pt x="3016473" y="206346"/>
                    <a:pt x="3002264" y="206275"/>
                  </a:cubicBezTo>
                  <a:cubicBezTo>
                    <a:pt x="2976955" y="206269"/>
                    <a:pt x="2956548" y="198932"/>
                    <a:pt x="2941043" y="184265"/>
                  </a:cubicBezTo>
                  <a:cubicBezTo>
                    <a:pt x="2925538" y="169598"/>
                    <a:pt x="2917566" y="147641"/>
                    <a:pt x="2917127" y="118393"/>
                  </a:cubicBezTo>
                  <a:close/>
                  <a:moveTo>
                    <a:pt x="2624709" y="3429"/>
                  </a:moveTo>
                  <a:lnTo>
                    <a:pt x="2652683" y="3429"/>
                  </a:lnTo>
                  <a:lnTo>
                    <a:pt x="2762726" y="142365"/>
                  </a:lnTo>
                  <a:lnTo>
                    <a:pt x="2762726" y="3429"/>
                  </a:lnTo>
                  <a:lnTo>
                    <a:pt x="2795552" y="3429"/>
                  </a:lnTo>
                  <a:lnTo>
                    <a:pt x="2795552" y="203132"/>
                  </a:lnTo>
                  <a:lnTo>
                    <a:pt x="2767579" y="203132"/>
                  </a:lnTo>
                  <a:lnTo>
                    <a:pt x="2657535" y="64765"/>
                  </a:lnTo>
                  <a:lnTo>
                    <a:pt x="2657535" y="203132"/>
                  </a:lnTo>
                  <a:lnTo>
                    <a:pt x="2624709" y="203132"/>
                  </a:lnTo>
                  <a:close/>
                  <a:moveTo>
                    <a:pt x="2533746" y="3429"/>
                  </a:moveTo>
                  <a:lnTo>
                    <a:pt x="2568857" y="3429"/>
                  </a:lnTo>
                  <a:lnTo>
                    <a:pt x="2568857" y="203132"/>
                  </a:lnTo>
                  <a:lnTo>
                    <a:pt x="2533746" y="203132"/>
                  </a:lnTo>
                  <a:close/>
                  <a:moveTo>
                    <a:pt x="2243709" y="3429"/>
                  </a:moveTo>
                  <a:lnTo>
                    <a:pt x="2271683" y="3429"/>
                  </a:lnTo>
                  <a:lnTo>
                    <a:pt x="2381726" y="142365"/>
                  </a:lnTo>
                  <a:lnTo>
                    <a:pt x="2381726" y="3429"/>
                  </a:lnTo>
                  <a:lnTo>
                    <a:pt x="2414552" y="3429"/>
                  </a:lnTo>
                  <a:lnTo>
                    <a:pt x="2414552" y="203132"/>
                  </a:lnTo>
                  <a:lnTo>
                    <a:pt x="2386579" y="203132"/>
                  </a:lnTo>
                  <a:lnTo>
                    <a:pt x="2276535" y="64765"/>
                  </a:lnTo>
                  <a:lnTo>
                    <a:pt x="2276535" y="203132"/>
                  </a:lnTo>
                  <a:lnTo>
                    <a:pt x="2243709" y="203132"/>
                  </a:lnTo>
                  <a:close/>
                  <a:moveTo>
                    <a:pt x="1914621" y="3429"/>
                  </a:moveTo>
                  <a:lnTo>
                    <a:pt x="1949732" y="3429"/>
                  </a:lnTo>
                  <a:lnTo>
                    <a:pt x="1949732" y="203132"/>
                  </a:lnTo>
                  <a:lnTo>
                    <a:pt x="1914621" y="203132"/>
                  </a:lnTo>
                  <a:close/>
                  <a:moveTo>
                    <a:pt x="1714024" y="3429"/>
                  </a:moveTo>
                  <a:lnTo>
                    <a:pt x="1878866" y="3429"/>
                  </a:lnTo>
                  <a:lnTo>
                    <a:pt x="1878866" y="36254"/>
                  </a:lnTo>
                  <a:lnTo>
                    <a:pt x="1814001" y="36254"/>
                  </a:lnTo>
                  <a:lnTo>
                    <a:pt x="1814001" y="203132"/>
                  </a:lnTo>
                  <a:lnTo>
                    <a:pt x="1778889" y="203132"/>
                  </a:lnTo>
                  <a:lnTo>
                    <a:pt x="1778889" y="36254"/>
                  </a:lnTo>
                  <a:lnTo>
                    <a:pt x="1714024" y="36254"/>
                  </a:lnTo>
                  <a:close/>
                  <a:moveTo>
                    <a:pt x="1405509" y="3429"/>
                  </a:moveTo>
                  <a:lnTo>
                    <a:pt x="1440621" y="3429"/>
                  </a:lnTo>
                  <a:lnTo>
                    <a:pt x="1440621" y="170307"/>
                  </a:lnTo>
                  <a:lnTo>
                    <a:pt x="1530632" y="170307"/>
                  </a:lnTo>
                  <a:lnTo>
                    <a:pt x="1530632" y="203132"/>
                  </a:lnTo>
                  <a:lnTo>
                    <a:pt x="1405509" y="203132"/>
                  </a:lnTo>
                  <a:close/>
                  <a:moveTo>
                    <a:pt x="1183577" y="3429"/>
                  </a:moveTo>
                  <a:lnTo>
                    <a:pt x="1218688" y="3429"/>
                  </a:lnTo>
                  <a:lnTo>
                    <a:pt x="1218688" y="110976"/>
                  </a:lnTo>
                  <a:cubicBezTo>
                    <a:pt x="1218611" y="129928"/>
                    <a:pt x="1222625" y="145012"/>
                    <a:pt x="1230730" y="156227"/>
                  </a:cubicBezTo>
                  <a:cubicBezTo>
                    <a:pt x="1238835" y="167441"/>
                    <a:pt x="1251496" y="173182"/>
                    <a:pt x="1268714" y="173450"/>
                  </a:cubicBezTo>
                  <a:cubicBezTo>
                    <a:pt x="1283828" y="173367"/>
                    <a:pt x="1295048" y="168184"/>
                    <a:pt x="1302373" y="157903"/>
                  </a:cubicBezTo>
                  <a:cubicBezTo>
                    <a:pt x="1309698" y="147621"/>
                    <a:pt x="1313343" y="132739"/>
                    <a:pt x="1313307" y="113258"/>
                  </a:cubicBezTo>
                  <a:lnTo>
                    <a:pt x="1313307" y="3429"/>
                  </a:lnTo>
                  <a:lnTo>
                    <a:pt x="1348133" y="3429"/>
                  </a:lnTo>
                  <a:lnTo>
                    <a:pt x="1348133" y="120390"/>
                  </a:lnTo>
                  <a:cubicBezTo>
                    <a:pt x="1347931" y="140670"/>
                    <a:pt x="1344180" y="157137"/>
                    <a:pt x="1336881" y="169791"/>
                  </a:cubicBezTo>
                  <a:cubicBezTo>
                    <a:pt x="1329582" y="182444"/>
                    <a:pt x="1319948" y="191706"/>
                    <a:pt x="1307980" y="197576"/>
                  </a:cubicBezTo>
                  <a:cubicBezTo>
                    <a:pt x="1296012" y="203446"/>
                    <a:pt x="1282923" y="206346"/>
                    <a:pt x="1268714" y="206275"/>
                  </a:cubicBezTo>
                  <a:cubicBezTo>
                    <a:pt x="1243405" y="206269"/>
                    <a:pt x="1222998" y="198932"/>
                    <a:pt x="1207493" y="184265"/>
                  </a:cubicBezTo>
                  <a:cubicBezTo>
                    <a:pt x="1191987" y="169598"/>
                    <a:pt x="1184016" y="147641"/>
                    <a:pt x="1183577" y="118393"/>
                  </a:cubicBezTo>
                  <a:close/>
                  <a:moveTo>
                    <a:pt x="814959" y="3429"/>
                  </a:moveTo>
                  <a:lnTo>
                    <a:pt x="930652" y="3429"/>
                  </a:lnTo>
                  <a:lnTo>
                    <a:pt x="930652" y="36254"/>
                  </a:lnTo>
                  <a:lnTo>
                    <a:pt x="850071" y="36254"/>
                  </a:lnTo>
                  <a:lnTo>
                    <a:pt x="850071" y="85725"/>
                  </a:lnTo>
                  <a:lnTo>
                    <a:pt x="922080" y="85725"/>
                  </a:lnTo>
                  <a:lnTo>
                    <a:pt x="922080" y="118550"/>
                  </a:lnTo>
                  <a:lnTo>
                    <a:pt x="850071" y="118550"/>
                  </a:lnTo>
                  <a:lnTo>
                    <a:pt x="850071" y="170307"/>
                  </a:lnTo>
                  <a:lnTo>
                    <a:pt x="933510" y="170307"/>
                  </a:lnTo>
                  <a:lnTo>
                    <a:pt x="933510" y="203132"/>
                  </a:lnTo>
                  <a:lnTo>
                    <a:pt x="814959" y="203132"/>
                  </a:lnTo>
                  <a:close/>
                  <a:moveTo>
                    <a:pt x="3578906" y="2571"/>
                  </a:moveTo>
                  <a:lnTo>
                    <a:pt x="3609767" y="2571"/>
                  </a:lnTo>
                  <a:lnTo>
                    <a:pt x="3694349" y="203132"/>
                  </a:lnTo>
                  <a:lnTo>
                    <a:pt x="3656916" y="203132"/>
                  </a:lnTo>
                  <a:lnTo>
                    <a:pt x="3636056" y="151983"/>
                  </a:lnTo>
                  <a:lnTo>
                    <a:pt x="3550617" y="151983"/>
                  </a:lnTo>
                  <a:lnTo>
                    <a:pt x="3529757" y="203132"/>
                  </a:lnTo>
                  <a:lnTo>
                    <a:pt x="3494324" y="203132"/>
                  </a:lnTo>
                  <a:close/>
                  <a:moveTo>
                    <a:pt x="3390403" y="2571"/>
                  </a:moveTo>
                  <a:cubicBezTo>
                    <a:pt x="3417306" y="2981"/>
                    <a:pt x="3436223" y="8941"/>
                    <a:pt x="3447154" y="20453"/>
                  </a:cubicBezTo>
                  <a:cubicBezTo>
                    <a:pt x="3458085" y="31965"/>
                    <a:pt x="3463357" y="46572"/>
                    <a:pt x="3462969" y="64275"/>
                  </a:cubicBezTo>
                  <a:cubicBezTo>
                    <a:pt x="3462800" y="75674"/>
                    <a:pt x="3460696" y="85272"/>
                    <a:pt x="3456657" y="93067"/>
                  </a:cubicBezTo>
                  <a:cubicBezTo>
                    <a:pt x="3452618" y="100862"/>
                    <a:pt x="3447659" y="107069"/>
                    <a:pt x="3441780" y="111687"/>
                  </a:cubicBezTo>
                  <a:cubicBezTo>
                    <a:pt x="3435901" y="116305"/>
                    <a:pt x="3430116" y="119548"/>
                    <a:pt x="3424427" y="121415"/>
                  </a:cubicBezTo>
                  <a:lnTo>
                    <a:pt x="3486972" y="203132"/>
                  </a:lnTo>
                  <a:lnTo>
                    <a:pt x="3444413" y="203132"/>
                  </a:lnTo>
                  <a:lnTo>
                    <a:pt x="3389260" y="128266"/>
                  </a:lnTo>
                  <a:lnTo>
                    <a:pt x="3364671" y="128266"/>
                  </a:lnTo>
                  <a:lnTo>
                    <a:pt x="3364671" y="203132"/>
                  </a:lnTo>
                  <a:lnTo>
                    <a:pt x="3329559" y="203132"/>
                  </a:lnTo>
                  <a:lnTo>
                    <a:pt x="3329559" y="3142"/>
                  </a:lnTo>
                  <a:cubicBezTo>
                    <a:pt x="3333709" y="3135"/>
                    <a:pt x="3340193" y="3086"/>
                    <a:pt x="3349011" y="2994"/>
                  </a:cubicBezTo>
                  <a:cubicBezTo>
                    <a:pt x="3357829" y="2903"/>
                    <a:pt x="3366346" y="2811"/>
                    <a:pt x="3374562" y="2719"/>
                  </a:cubicBezTo>
                  <a:cubicBezTo>
                    <a:pt x="3382778" y="2628"/>
                    <a:pt x="3388058" y="2578"/>
                    <a:pt x="3390403" y="2571"/>
                  </a:cubicBezTo>
                  <a:close/>
                  <a:moveTo>
                    <a:pt x="1616756" y="2571"/>
                  </a:moveTo>
                  <a:lnTo>
                    <a:pt x="1647617" y="2571"/>
                  </a:lnTo>
                  <a:lnTo>
                    <a:pt x="1732199" y="203132"/>
                  </a:lnTo>
                  <a:lnTo>
                    <a:pt x="1694766" y="203132"/>
                  </a:lnTo>
                  <a:lnTo>
                    <a:pt x="1673906" y="151983"/>
                  </a:lnTo>
                  <a:lnTo>
                    <a:pt x="1588467" y="151983"/>
                  </a:lnTo>
                  <a:lnTo>
                    <a:pt x="1567607" y="203132"/>
                  </a:lnTo>
                  <a:lnTo>
                    <a:pt x="1532174" y="203132"/>
                  </a:lnTo>
                  <a:close/>
                  <a:moveTo>
                    <a:pt x="685303" y="2571"/>
                  </a:moveTo>
                  <a:cubicBezTo>
                    <a:pt x="712206" y="2981"/>
                    <a:pt x="731123" y="8941"/>
                    <a:pt x="742054" y="20453"/>
                  </a:cubicBezTo>
                  <a:cubicBezTo>
                    <a:pt x="752985" y="31965"/>
                    <a:pt x="758257" y="46572"/>
                    <a:pt x="757869" y="64275"/>
                  </a:cubicBezTo>
                  <a:cubicBezTo>
                    <a:pt x="757700" y="75674"/>
                    <a:pt x="755596" y="85272"/>
                    <a:pt x="751557" y="93067"/>
                  </a:cubicBezTo>
                  <a:cubicBezTo>
                    <a:pt x="747518" y="100862"/>
                    <a:pt x="742559" y="107069"/>
                    <a:pt x="736680" y="111687"/>
                  </a:cubicBezTo>
                  <a:cubicBezTo>
                    <a:pt x="730800" y="116305"/>
                    <a:pt x="725016" y="119548"/>
                    <a:pt x="719327" y="121415"/>
                  </a:cubicBezTo>
                  <a:lnTo>
                    <a:pt x="781872" y="203132"/>
                  </a:lnTo>
                  <a:lnTo>
                    <a:pt x="739313" y="203132"/>
                  </a:lnTo>
                  <a:lnTo>
                    <a:pt x="684160" y="128266"/>
                  </a:lnTo>
                  <a:lnTo>
                    <a:pt x="659571" y="128266"/>
                  </a:lnTo>
                  <a:lnTo>
                    <a:pt x="659571" y="203132"/>
                  </a:lnTo>
                  <a:lnTo>
                    <a:pt x="624459" y="203132"/>
                  </a:lnTo>
                  <a:lnTo>
                    <a:pt x="624459" y="3142"/>
                  </a:lnTo>
                  <a:cubicBezTo>
                    <a:pt x="628609" y="3135"/>
                    <a:pt x="635093" y="3086"/>
                    <a:pt x="643911" y="2994"/>
                  </a:cubicBezTo>
                  <a:cubicBezTo>
                    <a:pt x="652729" y="2903"/>
                    <a:pt x="661245" y="2811"/>
                    <a:pt x="669462" y="2719"/>
                  </a:cubicBezTo>
                  <a:cubicBezTo>
                    <a:pt x="677677" y="2628"/>
                    <a:pt x="682958" y="2578"/>
                    <a:pt x="685303" y="2571"/>
                  </a:cubicBezTo>
                  <a:close/>
                  <a:moveTo>
                    <a:pt x="2094720" y="0"/>
                  </a:moveTo>
                  <a:cubicBezTo>
                    <a:pt x="2114724" y="119"/>
                    <a:pt x="2132543" y="4417"/>
                    <a:pt x="2148179" y="12892"/>
                  </a:cubicBezTo>
                  <a:cubicBezTo>
                    <a:pt x="2163814" y="21368"/>
                    <a:pt x="2176147" y="33306"/>
                    <a:pt x="2185177" y="48705"/>
                  </a:cubicBezTo>
                  <a:cubicBezTo>
                    <a:pt x="2194207" y="64104"/>
                    <a:pt x="2198815" y="82248"/>
                    <a:pt x="2199001" y="103137"/>
                  </a:cubicBezTo>
                  <a:cubicBezTo>
                    <a:pt x="2198815" y="123307"/>
                    <a:pt x="2194207" y="141112"/>
                    <a:pt x="2185177" y="156554"/>
                  </a:cubicBezTo>
                  <a:cubicBezTo>
                    <a:pt x="2176147" y="171995"/>
                    <a:pt x="2163814" y="184102"/>
                    <a:pt x="2148179" y="192874"/>
                  </a:cubicBezTo>
                  <a:cubicBezTo>
                    <a:pt x="2132543" y="201647"/>
                    <a:pt x="2114724" y="206114"/>
                    <a:pt x="2094720" y="206275"/>
                  </a:cubicBezTo>
                  <a:cubicBezTo>
                    <a:pt x="2074720" y="206156"/>
                    <a:pt x="2056925" y="201858"/>
                    <a:pt x="2041336" y="193382"/>
                  </a:cubicBezTo>
                  <a:cubicBezTo>
                    <a:pt x="2025746" y="184907"/>
                    <a:pt x="2013459" y="172969"/>
                    <a:pt x="2004475" y="157570"/>
                  </a:cubicBezTo>
                  <a:cubicBezTo>
                    <a:pt x="1995492" y="142171"/>
                    <a:pt x="1990908" y="124026"/>
                    <a:pt x="1990725" y="103137"/>
                  </a:cubicBezTo>
                  <a:cubicBezTo>
                    <a:pt x="1990871" y="83598"/>
                    <a:pt x="1995306" y="66089"/>
                    <a:pt x="2004031" y="50610"/>
                  </a:cubicBezTo>
                  <a:cubicBezTo>
                    <a:pt x="2012755" y="35132"/>
                    <a:pt x="2024894" y="22877"/>
                    <a:pt x="2040446" y="13845"/>
                  </a:cubicBezTo>
                  <a:cubicBezTo>
                    <a:pt x="2055999" y="4814"/>
                    <a:pt x="2074090" y="198"/>
                    <a:pt x="2094720" y="0"/>
                  </a:cubicBezTo>
                  <a:close/>
                  <a:moveTo>
                    <a:pt x="1061736" y="0"/>
                  </a:moveTo>
                  <a:cubicBezTo>
                    <a:pt x="1075904" y="41"/>
                    <a:pt x="1088158" y="1813"/>
                    <a:pt x="1098499" y="5316"/>
                  </a:cubicBezTo>
                  <a:cubicBezTo>
                    <a:pt x="1108841" y="8818"/>
                    <a:pt x="1118016" y="13802"/>
                    <a:pt x="1126027" y="20266"/>
                  </a:cubicBezTo>
                  <a:lnTo>
                    <a:pt x="1111184" y="48265"/>
                  </a:lnTo>
                  <a:cubicBezTo>
                    <a:pt x="1106016" y="43494"/>
                    <a:pt x="1099419" y="39741"/>
                    <a:pt x="1091392" y="37007"/>
                  </a:cubicBezTo>
                  <a:cubicBezTo>
                    <a:pt x="1083365" y="34273"/>
                    <a:pt x="1074909" y="32879"/>
                    <a:pt x="1066024" y="32825"/>
                  </a:cubicBezTo>
                  <a:cubicBezTo>
                    <a:pt x="1046355" y="32968"/>
                    <a:pt x="1030383" y="39115"/>
                    <a:pt x="1018110" y="51265"/>
                  </a:cubicBezTo>
                  <a:cubicBezTo>
                    <a:pt x="1005836" y="63415"/>
                    <a:pt x="999512" y="80709"/>
                    <a:pt x="999137" y="103147"/>
                  </a:cubicBezTo>
                  <a:cubicBezTo>
                    <a:pt x="999423" y="124698"/>
                    <a:pt x="1005640" y="141735"/>
                    <a:pt x="1017788" y="154260"/>
                  </a:cubicBezTo>
                  <a:cubicBezTo>
                    <a:pt x="1029937" y="166784"/>
                    <a:pt x="1046301" y="173181"/>
                    <a:pt x="1066882" y="173450"/>
                  </a:cubicBezTo>
                  <a:cubicBezTo>
                    <a:pt x="1074897" y="173325"/>
                    <a:pt x="1082805" y="171931"/>
                    <a:pt x="1090607" y="169267"/>
                  </a:cubicBezTo>
                  <a:cubicBezTo>
                    <a:pt x="1098408" y="166604"/>
                    <a:pt x="1104315" y="163423"/>
                    <a:pt x="1108329" y="159723"/>
                  </a:cubicBezTo>
                  <a:lnTo>
                    <a:pt x="1108329" y="128266"/>
                  </a:lnTo>
                  <a:lnTo>
                    <a:pt x="1060021" y="128266"/>
                  </a:lnTo>
                  <a:lnTo>
                    <a:pt x="1060021" y="95440"/>
                  </a:lnTo>
                  <a:lnTo>
                    <a:pt x="1141155" y="95440"/>
                  </a:lnTo>
                  <a:lnTo>
                    <a:pt x="1141155" y="178302"/>
                  </a:lnTo>
                  <a:cubicBezTo>
                    <a:pt x="1131848" y="187210"/>
                    <a:pt x="1120270" y="194085"/>
                    <a:pt x="1106422" y="198925"/>
                  </a:cubicBezTo>
                  <a:cubicBezTo>
                    <a:pt x="1092573" y="203766"/>
                    <a:pt x="1079202" y="206216"/>
                    <a:pt x="1066310" y="206275"/>
                  </a:cubicBezTo>
                  <a:cubicBezTo>
                    <a:pt x="1033327" y="205872"/>
                    <a:pt x="1007764" y="196471"/>
                    <a:pt x="989621" y="178072"/>
                  </a:cubicBezTo>
                  <a:cubicBezTo>
                    <a:pt x="971478" y="159673"/>
                    <a:pt x="962280" y="134698"/>
                    <a:pt x="962025" y="103147"/>
                  </a:cubicBezTo>
                  <a:cubicBezTo>
                    <a:pt x="962124" y="83786"/>
                    <a:pt x="966210" y="66360"/>
                    <a:pt x="974283" y="50869"/>
                  </a:cubicBezTo>
                  <a:cubicBezTo>
                    <a:pt x="982357" y="35379"/>
                    <a:pt x="993828" y="23080"/>
                    <a:pt x="1008699" y="13974"/>
                  </a:cubicBezTo>
                  <a:cubicBezTo>
                    <a:pt x="1023569" y="4867"/>
                    <a:pt x="1041248" y="209"/>
                    <a:pt x="1061736" y="0"/>
                  </a:cubicBezTo>
                  <a:close/>
                  <a:moveTo>
                    <a:pt x="427845" y="0"/>
                  </a:moveTo>
                  <a:cubicBezTo>
                    <a:pt x="447849" y="119"/>
                    <a:pt x="465668" y="4417"/>
                    <a:pt x="481304" y="12892"/>
                  </a:cubicBezTo>
                  <a:cubicBezTo>
                    <a:pt x="496939" y="21368"/>
                    <a:pt x="509272" y="33306"/>
                    <a:pt x="518302" y="48705"/>
                  </a:cubicBezTo>
                  <a:cubicBezTo>
                    <a:pt x="527332" y="64104"/>
                    <a:pt x="531940" y="82248"/>
                    <a:pt x="532126" y="103137"/>
                  </a:cubicBezTo>
                  <a:cubicBezTo>
                    <a:pt x="531940" y="123307"/>
                    <a:pt x="527332" y="141112"/>
                    <a:pt x="518302" y="156554"/>
                  </a:cubicBezTo>
                  <a:cubicBezTo>
                    <a:pt x="509272" y="171995"/>
                    <a:pt x="496939" y="184102"/>
                    <a:pt x="481304" y="192874"/>
                  </a:cubicBezTo>
                  <a:cubicBezTo>
                    <a:pt x="465668" y="201647"/>
                    <a:pt x="447849" y="206114"/>
                    <a:pt x="427845" y="206275"/>
                  </a:cubicBezTo>
                  <a:cubicBezTo>
                    <a:pt x="407845" y="206156"/>
                    <a:pt x="390050" y="201858"/>
                    <a:pt x="374460" y="193382"/>
                  </a:cubicBezTo>
                  <a:cubicBezTo>
                    <a:pt x="358871" y="184907"/>
                    <a:pt x="346584" y="172969"/>
                    <a:pt x="337600" y="157570"/>
                  </a:cubicBezTo>
                  <a:cubicBezTo>
                    <a:pt x="328617" y="142171"/>
                    <a:pt x="324033" y="124026"/>
                    <a:pt x="323850" y="103137"/>
                  </a:cubicBezTo>
                  <a:cubicBezTo>
                    <a:pt x="323996" y="83598"/>
                    <a:pt x="328431" y="66089"/>
                    <a:pt x="337156" y="50610"/>
                  </a:cubicBezTo>
                  <a:cubicBezTo>
                    <a:pt x="345880" y="35132"/>
                    <a:pt x="358019" y="22877"/>
                    <a:pt x="373571" y="13845"/>
                  </a:cubicBezTo>
                  <a:cubicBezTo>
                    <a:pt x="389124" y="4814"/>
                    <a:pt x="407215" y="198"/>
                    <a:pt x="427845" y="0"/>
                  </a:cubicBezTo>
                  <a:close/>
                  <a:moveTo>
                    <a:pt x="228772" y="0"/>
                  </a:moveTo>
                  <a:cubicBezTo>
                    <a:pt x="241162" y="71"/>
                    <a:pt x="252261" y="1998"/>
                    <a:pt x="262068" y="5780"/>
                  </a:cubicBezTo>
                  <a:cubicBezTo>
                    <a:pt x="271875" y="9562"/>
                    <a:pt x="279824" y="14771"/>
                    <a:pt x="285913" y="21408"/>
                  </a:cubicBezTo>
                  <a:lnTo>
                    <a:pt x="267072" y="47687"/>
                  </a:lnTo>
                  <a:cubicBezTo>
                    <a:pt x="262349" y="42941"/>
                    <a:pt x="257231" y="39285"/>
                    <a:pt x="251717" y="36719"/>
                  </a:cubicBezTo>
                  <a:cubicBezTo>
                    <a:pt x="246202" y="34153"/>
                    <a:pt x="239507" y="32855"/>
                    <a:pt x="231631" y="32825"/>
                  </a:cubicBezTo>
                  <a:cubicBezTo>
                    <a:pt x="222833" y="32920"/>
                    <a:pt x="215982" y="34945"/>
                    <a:pt x="211079" y="38899"/>
                  </a:cubicBezTo>
                  <a:cubicBezTo>
                    <a:pt x="206177" y="42852"/>
                    <a:pt x="203687" y="48164"/>
                    <a:pt x="203609" y="54833"/>
                  </a:cubicBezTo>
                  <a:cubicBezTo>
                    <a:pt x="204081" y="64844"/>
                    <a:pt x="208799" y="72493"/>
                    <a:pt x="217763" y="77779"/>
                  </a:cubicBezTo>
                  <a:cubicBezTo>
                    <a:pt x="226727" y="83065"/>
                    <a:pt x="237106" y="88088"/>
                    <a:pt x="248900" y="92847"/>
                  </a:cubicBezTo>
                  <a:cubicBezTo>
                    <a:pt x="260695" y="97607"/>
                    <a:pt x="271074" y="104202"/>
                    <a:pt x="280038" y="112632"/>
                  </a:cubicBezTo>
                  <a:cubicBezTo>
                    <a:pt x="289002" y="121062"/>
                    <a:pt x="293720" y="133427"/>
                    <a:pt x="294192" y="149726"/>
                  </a:cubicBezTo>
                  <a:cubicBezTo>
                    <a:pt x="293747" y="166832"/>
                    <a:pt x="287286" y="180471"/>
                    <a:pt x="274809" y="190644"/>
                  </a:cubicBezTo>
                  <a:cubicBezTo>
                    <a:pt x="262332" y="200816"/>
                    <a:pt x="246510" y="206026"/>
                    <a:pt x="227342" y="206275"/>
                  </a:cubicBezTo>
                  <a:cubicBezTo>
                    <a:pt x="218614" y="206263"/>
                    <a:pt x="209868" y="205051"/>
                    <a:pt x="201104" y="202639"/>
                  </a:cubicBezTo>
                  <a:cubicBezTo>
                    <a:pt x="192340" y="200227"/>
                    <a:pt x="184467" y="196688"/>
                    <a:pt x="177483" y="192025"/>
                  </a:cubicBezTo>
                  <a:cubicBezTo>
                    <a:pt x="170499" y="187361"/>
                    <a:pt x="165314" y="181645"/>
                    <a:pt x="161925" y="174877"/>
                  </a:cubicBezTo>
                  <a:lnTo>
                    <a:pt x="181913" y="150870"/>
                  </a:lnTo>
                  <a:cubicBezTo>
                    <a:pt x="187985" y="158438"/>
                    <a:pt x="195185" y="164095"/>
                    <a:pt x="203512" y="167841"/>
                  </a:cubicBezTo>
                  <a:cubicBezTo>
                    <a:pt x="211840" y="171586"/>
                    <a:pt x="219974" y="173456"/>
                    <a:pt x="227914" y="173450"/>
                  </a:cubicBezTo>
                  <a:cubicBezTo>
                    <a:pt x="236385" y="173420"/>
                    <a:pt x="243319" y="171407"/>
                    <a:pt x="248716" y="167412"/>
                  </a:cubicBezTo>
                  <a:cubicBezTo>
                    <a:pt x="254113" y="163416"/>
                    <a:pt x="256901" y="157616"/>
                    <a:pt x="257080" y="150012"/>
                  </a:cubicBezTo>
                  <a:cubicBezTo>
                    <a:pt x="256608" y="140474"/>
                    <a:pt x="251890" y="133040"/>
                    <a:pt x="242927" y="127709"/>
                  </a:cubicBezTo>
                  <a:cubicBezTo>
                    <a:pt x="233963" y="122378"/>
                    <a:pt x="223583" y="117212"/>
                    <a:pt x="211789" y="112212"/>
                  </a:cubicBezTo>
                  <a:cubicBezTo>
                    <a:pt x="199994" y="107212"/>
                    <a:pt x="189615" y="100438"/>
                    <a:pt x="180651" y="91892"/>
                  </a:cubicBezTo>
                  <a:cubicBezTo>
                    <a:pt x="171687" y="83345"/>
                    <a:pt x="166969" y="71088"/>
                    <a:pt x="166497" y="55119"/>
                  </a:cubicBezTo>
                  <a:cubicBezTo>
                    <a:pt x="166663" y="39697"/>
                    <a:pt x="172184" y="26760"/>
                    <a:pt x="183060" y="16309"/>
                  </a:cubicBezTo>
                  <a:cubicBezTo>
                    <a:pt x="193936" y="5858"/>
                    <a:pt x="209173" y="421"/>
                    <a:pt x="228772" y="0"/>
                  </a:cubicBezTo>
                  <a:close/>
                  <a:moveTo>
                    <a:pt x="66847" y="0"/>
                  </a:moveTo>
                  <a:cubicBezTo>
                    <a:pt x="79237" y="71"/>
                    <a:pt x="90336" y="1998"/>
                    <a:pt x="100143" y="5780"/>
                  </a:cubicBezTo>
                  <a:cubicBezTo>
                    <a:pt x="109950" y="9562"/>
                    <a:pt x="117899" y="14771"/>
                    <a:pt x="123988" y="21408"/>
                  </a:cubicBezTo>
                  <a:lnTo>
                    <a:pt x="105147" y="47687"/>
                  </a:lnTo>
                  <a:cubicBezTo>
                    <a:pt x="100424" y="42941"/>
                    <a:pt x="95306" y="39285"/>
                    <a:pt x="89792" y="36719"/>
                  </a:cubicBezTo>
                  <a:cubicBezTo>
                    <a:pt x="84277" y="34153"/>
                    <a:pt x="77582" y="32855"/>
                    <a:pt x="69706" y="32825"/>
                  </a:cubicBezTo>
                  <a:cubicBezTo>
                    <a:pt x="60908" y="32920"/>
                    <a:pt x="54057" y="34945"/>
                    <a:pt x="49154" y="38899"/>
                  </a:cubicBezTo>
                  <a:cubicBezTo>
                    <a:pt x="44252" y="42852"/>
                    <a:pt x="41762" y="48164"/>
                    <a:pt x="41684" y="54833"/>
                  </a:cubicBezTo>
                  <a:cubicBezTo>
                    <a:pt x="42156" y="64844"/>
                    <a:pt x="46874" y="72493"/>
                    <a:pt x="55838" y="77779"/>
                  </a:cubicBezTo>
                  <a:cubicBezTo>
                    <a:pt x="64802" y="83065"/>
                    <a:pt x="75181" y="88088"/>
                    <a:pt x="86975" y="92847"/>
                  </a:cubicBezTo>
                  <a:cubicBezTo>
                    <a:pt x="98770" y="97607"/>
                    <a:pt x="109149" y="104202"/>
                    <a:pt x="118113" y="112632"/>
                  </a:cubicBezTo>
                  <a:cubicBezTo>
                    <a:pt x="127077" y="121062"/>
                    <a:pt x="131795" y="133427"/>
                    <a:pt x="132267" y="149726"/>
                  </a:cubicBezTo>
                  <a:cubicBezTo>
                    <a:pt x="131822" y="166832"/>
                    <a:pt x="125361" y="180471"/>
                    <a:pt x="112884" y="190644"/>
                  </a:cubicBezTo>
                  <a:cubicBezTo>
                    <a:pt x="100407" y="200816"/>
                    <a:pt x="84585" y="206026"/>
                    <a:pt x="65417" y="206275"/>
                  </a:cubicBezTo>
                  <a:cubicBezTo>
                    <a:pt x="56689" y="206263"/>
                    <a:pt x="47943" y="205051"/>
                    <a:pt x="39179" y="202639"/>
                  </a:cubicBezTo>
                  <a:cubicBezTo>
                    <a:pt x="30415" y="200227"/>
                    <a:pt x="22542" y="196688"/>
                    <a:pt x="15558" y="192025"/>
                  </a:cubicBezTo>
                  <a:cubicBezTo>
                    <a:pt x="8574" y="187361"/>
                    <a:pt x="3388" y="181645"/>
                    <a:pt x="0" y="174877"/>
                  </a:cubicBezTo>
                  <a:lnTo>
                    <a:pt x="19988" y="150870"/>
                  </a:lnTo>
                  <a:cubicBezTo>
                    <a:pt x="26060" y="158438"/>
                    <a:pt x="33260" y="164095"/>
                    <a:pt x="41587" y="167841"/>
                  </a:cubicBezTo>
                  <a:cubicBezTo>
                    <a:pt x="49915" y="171586"/>
                    <a:pt x="58049" y="173456"/>
                    <a:pt x="65989" y="173450"/>
                  </a:cubicBezTo>
                  <a:cubicBezTo>
                    <a:pt x="74460" y="173420"/>
                    <a:pt x="81394" y="171407"/>
                    <a:pt x="86791" y="167412"/>
                  </a:cubicBezTo>
                  <a:cubicBezTo>
                    <a:pt x="92188" y="163416"/>
                    <a:pt x="94976" y="157616"/>
                    <a:pt x="95155" y="150012"/>
                  </a:cubicBezTo>
                  <a:cubicBezTo>
                    <a:pt x="94683" y="140474"/>
                    <a:pt x="89965" y="133040"/>
                    <a:pt x="81002" y="127709"/>
                  </a:cubicBezTo>
                  <a:cubicBezTo>
                    <a:pt x="72038" y="122378"/>
                    <a:pt x="61658" y="117212"/>
                    <a:pt x="49864" y="112212"/>
                  </a:cubicBezTo>
                  <a:cubicBezTo>
                    <a:pt x="38069" y="107212"/>
                    <a:pt x="27690" y="100438"/>
                    <a:pt x="18726" y="91892"/>
                  </a:cubicBezTo>
                  <a:cubicBezTo>
                    <a:pt x="9762" y="83345"/>
                    <a:pt x="5044" y="71088"/>
                    <a:pt x="4572" y="55119"/>
                  </a:cubicBezTo>
                  <a:cubicBezTo>
                    <a:pt x="4738" y="39697"/>
                    <a:pt x="10259" y="26760"/>
                    <a:pt x="21135" y="16309"/>
                  </a:cubicBezTo>
                  <a:cubicBezTo>
                    <a:pt x="32011" y="5858"/>
                    <a:pt x="47249" y="421"/>
                    <a:pt x="66847" y="0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uk-UA" sz="2250" dirty="0"/>
            </a:p>
          </p:txBody>
        </p:sp>
        <p:sp>
          <p:nvSpPr>
            <p:cNvPr id="1028" name="TextBox 1027">
              <a:extLst>
                <a:ext uri="{FF2B5EF4-FFF2-40B4-BE49-F238E27FC236}">
                  <a16:creationId xmlns:a16="http://schemas.microsoft.com/office/drawing/2014/main" id="{4D79E179-3CF5-D262-C5CB-3C154CB65616}"/>
                </a:ext>
              </a:extLst>
            </p:cNvPr>
            <p:cNvSpPr txBox="1"/>
            <p:nvPr/>
          </p:nvSpPr>
          <p:spPr>
            <a:xfrm>
              <a:off x="2428182" y="837736"/>
              <a:ext cx="721111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sz="1800" b="1" dirty="0">
                  <a:solidFill>
                    <a:srgbClr val="004D6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krainian SSO is regulated by the </a:t>
              </a:r>
              <a:endParaRPr lang="ru-RU" sz="1800" b="1" dirty="0">
                <a:solidFill>
                  <a:srgbClr val="004D6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sz="1800" b="1" dirty="0">
                  <a:solidFill>
                    <a:srgbClr val="004D6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National Energy and Utilities Regulatory Commition (NEURC)</a:t>
              </a:r>
            </a:p>
          </p:txBody>
        </p:sp>
        <p:sp>
          <p:nvSpPr>
            <p:cNvPr id="1030" name="TextBox 1029">
              <a:extLst>
                <a:ext uri="{FF2B5EF4-FFF2-40B4-BE49-F238E27FC236}">
                  <a16:creationId xmlns:a16="http://schemas.microsoft.com/office/drawing/2014/main" id="{40B574B6-AC35-5EF4-768B-8D9867F7F35B}"/>
                </a:ext>
              </a:extLst>
            </p:cNvPr>
            <p:cNvSpPr txBox="1"/>
            <p:nvPr/>
          </p:nvSpPr>
          <p:spPr>
            <a:xfrm>
              <a:off x="400379" y="3604739"/>
              <a:ext cx="2999998" cy="16004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b="1" dirty="0">
                  <a:latin typeface="Calibri" panose="020F0502020204030204" pitchFamily="34" charset="0"/>
                  <a:cs typeface="Calibri" panose="020F0502020204030204" pitchFamily="34" charset="0"/>
                </a:rPr>
                <a:t>Gas Storage Code</a:t>
              </a: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9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7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7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7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7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7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dopted NEURC 30</a:t>
              </a:r>
              <a:r>
                <a:rPr lang="uk-UA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</a:t>
              </a:r>
              <a:r>
                <a:rPr lang="en-US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09</a:t>
              </a:r>
              <a:r>
                <a:rPr lang="uk-UA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2015</a:t>
              </a:r>
              <a:endParaRPr lang="en-US" sz="1800" i="1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Latest update 03.04.2024</a:t>
              </a:r>
              <a:endParaRPr lang="uk-UA" sz="18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2" name="TextBox 1031">
              <a:extLst>
                <a:ext uri="{FF2B5EF4-FFF2-40B4-BE49-F238E27FC236}">
                  <a16:creationId xmlns:a16="http://schemas.microsoft.com/office/drawing/2014/main" id="{C00DBE96-AD3E-0C96-8A68-6B2DBFC9C2E1}"/>
                </a:ext>
              </a:extLst>
            </p:cNvPr>
            <p:cNvSpPr txBox="1"/>
            <p:nvPr/>
          </p:nvSpPr>
          <p:spPr>
            <a:xfrm>
              <a:off x="4645901" y="3604739"/>
              <a:ext cx="2936277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b="1" dirty="0">
                  <a:latin typeface="Calibri" panose="020F0502020204030204" pitchFamily="34" charset="0"/>
                  <a:cs typeface="Calibri" panose="020F0502020204030204" pitchFamily="34" charset="0"/>
                </a:rPr>
                <a:t>Standard Storage Agreement </a:t>
              </a: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8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8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8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dopted NEURC 30</a:t>
              </a:r>
              <a:r>
                <a:rPr lang="uk-UA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</a:t>
              </a:r>
              <a:r>
                <a:rPr lang="en-US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09</a:t>
              </a:r>
              <a:r>
                <a:rPr lang="uk-UA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.2015</a:t>
              </a:r>
              <a:endParaRPr lang="en-US" sz="1800" i="1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Latest update 03.04.2024</a:t>
              </a:r>
              <a:endParaRPr lang="uk-UA" sz="18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4" name="TextBox 1033">
              <a:extLst>
                <a:ext uri="{FF2B5EF4-FFF2-40B4-BE49-F238E27FC236}">
                  <a16:creationId xmlns:a16="http://schemas.microsoft.com/office/drawing/2014/main" id="{B4A1CFBE-A166-E6CA-933C-708BEEA539B3}"/>
                </a:ext>
              </a:extLst>
            </p:cNvPr>
            <p:cNvSpPr txBox="1"/>
            <p:nvPr/>
          </p:nvSpPr>
          <p:spPr>
            <a:xfrm>
              <a:off x="8643609" y="3604739"/>
              <a:ext cx="3148012" cy="13542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b="1" dirty="0">
                  <a:latin typeface="Calibri" panose="020F0502020204030204" pitchFamily="34" charset="0"/>
                  <a:cs typeface="Calibri" panose="020F0502020204030204" pitchFamily="34" charset="0"/>
                </a:rPr>
                <a:t>Tariffs for natural gas storage (injection, withdrawal) services</a:t>
              </a:r>
              <a:endParaRPr lang="en-US" b="1" dirty="0">
                <a:latin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endParaRPr lang="en-US" sz="800" i="1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95250" algn="ctr">
                <a:buClr>
                  <a:schemeClr val="bg2">
                    <a:lumMod val="50000"/>
                  </a:schemeClr>
                </a:buClr>
                <a:buSzPct val="120000"/>
              </a:pPr>
              <a:r>
                <a:rPr lang="en-US" sz="1800" i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dopted NEURC </a:t>
              </a:r>
              <a:r>
                <a:rPr lang="en-US" sz="18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30.06.2022</a:t>
              </a:r>
              <a:endParaRPr lang="uk-UA" sz="18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35" name="TextBox 1034">
              <a:extLst>
                <a:ext uri="{FF2B5EF4-FFF2-40B4-BE49-F238E27FC236}">
                  <a16:creationId xmlns:a16="http://schemas.microsoft.com/office/drawing/2014/main" id="{28284B93-74DA-8110-5288-047E91DC6BE5}"/>
                </a:ext>
              </a:extLst>
            </p:cNvPr>
            <p:cNvSpPr txBox="1"/>
            <p:nvPr/>
          </p:nvSpPr>
          <p:spPr>
            <a:xfrm>
              <a:off x="4590091" y="2941752"/>
              <a:ext cx="29999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Access to Services Regulation </a:t>
              </a:r>
              <a:endParaRPr lang="uk-UA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6" name="TextBox 1035">
              <a:extLst>
                <a:ext uri="{FF2B5EF4-FFF2-40B4-BE49-F238E27FC236}">
                  <a16:creationId xmlns:a16="http://schemas.microsoft.com/office/drawing/2014/main" id="{FEAAC184-8F47-70F7-1681-064C62C256D8}"/>
                </a:ext>
              </a:extLst>
            </p:cNvPr>
            <p:cNvSpPr txBox="1"/>
            <p:nvPr/>
          </p:nvSpPr>
          <p:spPr>
            <a:xfrm>
              <a:off x="455884" y="2899725"/>
              <a:ext cx="29999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Storage Activity Regulation </a:t>
              </a:r>
              <a:endParaRPr lang="uk-UA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37" name="TextBox 1036">
              <a:extLst>
                <a:ext uri="{FF2B5EF4-FFF2-40B4-BE49-F238E27FC236}">
                  <a16:creationId xmlns:a16="http://schemas.microsoft.com/office/drawing/2014/main" id="{2D3F2F58-AB0D-CFB9-A5E1-8AB0EAD3A3AD}"/>
                </a:ext>
              </a:extLst>
            </p:cNvPr>
            <p:cNvSpPr txBox="1"/>
            <p:nvPr/>
          </p:nvSpPr>
          <p:spPr>
            <a:xfrm>
              <a:off x="8741197" y="2899725"/>
              <a:ext cx="29999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Tariff Regulation </a:t>
              </a:r>
              <a:endParaRPr lang="uk-UA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065" name="Групувати 1064">
              <a:extLst>
                <a:ext uri="{FF2B5EF4-FFF2-40B4-BE49-F238E27FC236}">
                  <a16:creationId xmlns:a16="http://schemas.microsoft.com/office/drawing/2014/main" id="{AAE6947F-CFB5-E3A2-471C-3BEECE0F18CC}"/>
                </a:ext>
              </a:extLst>
            </p:cNvPr>
            <p:cNvGrpSpPr/>
            <p:nvPr/>
          </p:nvGrpSpPr>
          <p:grpSpPr>
            <a:xfrm>
              <a:off x="5761814" y="2021412"/>
              <a:ext cx="668372" cy="411472"/>
              <a:chOff x="7967188" y="1798896"/>
              <a:chExt cx="877252" cy="540067"/>
            </a:xfrm>
          </p:grpSpPr>
          <p:grpSp>
            <p:nvGrpSpPr>
              <p:cNvPr id="1063" name="Групувати 1062">
                <a:extLst>
                  <a:ext uri="{FF2B5EF4-FFF2-40B4-BE49-F238E27FC236}">
                    <a16:creationId xmlns:a16="http://schemas.microsoft.com/office/drawing/2014/main" id="{BCFA441E-A6C0-CC43-C971-7BB366B79782}"/>
                  </a:ext>
                </a:extLst>
              </p:cNvPr>
              <p:cNvGrpSpPr/>
              <p:nvPr/>
            </p:nvGrpSpPr>
            <p:grpSpPr>
              <a:xfrm>
                <a:off x="8158772" y="1806289"/>
                <a:ext cx="661250" cy="481012"/>
                <a:chOff x="8158772" y="1806289"/>
                <a:chExt cx="661250" cy="481012"/>
              </a:xfrm>
              <a:solidFill>
                <a:srgbClr val="00A1DF"/>
              </a:solidFill>
            </p:grpSpPr>
            <p:sp>
              <p:nvSpPr>
                <p:cNvPr id="1055" name="Полілінія: фігура 1054">
                  <a:extLst>
                    <a:ext uri="{FF2B5EF4-FFF2-40B4-BE49-F238E27FC236}">
                      <a16:creationId xmlns:a16="http://schemas.microsoft.com/office/drawing/2014/main" id="{16F55C22-6237-E1CB-C0C4-D0BDF72EF699}"/>
                    </a:ext>
                  </a:extLst>
                </p:cNvPr>
                <p:cNvSpPr/>
                <p:nvPr/>
              </p:nvSpPr>
              <p:spPr>
                <a:xfrm>
                  <a:off x="8356459" y="2206643"/>
                  <a:ext cx="74640" cy="80658"/>
                </a:xfrm>
                <a:custGeom>
                  <a:avLst/>
                  <a:gdLst>
                    <a:gd name="connsiteX0" fmla="*/ 20651 w 74640"/>
                    <a:gd name="connsiteY0" fmla="*/ 80659 h 80658"/>
                    <a:gd name="connsiteX1" fmla="*/ 6364 w 74640"/>
                    <a:gd name="connsiteY1" fmla="*/ 75896 h 80658"/>
                    <a:gd name="connsiteX2" fmla="*/ 4459 w 74640"/>
                    <a:gd name="connsiteY2" fmla="*/ 49226 h 80658"/>
                    <a:gd name="connsiteX3" fmla="*/ 41606 w 74640"/>
                    <a:gd name="connsiteY3" fmla="*/ 6364 h 80658"/>
                    <a:gd name="connsiteX4" fmla="*/ 68276 w 74640"/>
                    <a:gd name="connsiteY4" fmla="*/ 4459 h 80658"/>
                    <a:gd name="connsiteX5" fmla="*/ 70181 w 74640"/>
                    <a:gd name="connsiteY5" fmla="*/ 31129 h 80658"/>
                    <a:gd name="connsiteX6" fmla="*/ 33034 w 74640"/>
                    <a:gd name="connsiteY6" fmla="*/ 73991 h 80658"/>
                    <a:gd name="connsiteX7" fmla="*/ 20651 w 74640"/>
                    <a:gd name="connsiteY7" fmla="*/ 80659 h 80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4640" h="80658">
                      <a:moveTo>
                        <a:pt x="20651" y="80659"/>
                      </a:moveTo>
                      <a:cubicBezTo>
                        <a:pt x="15889" y="80659"/>
                        <a:pt x="10174" y="79706"/>
                        <a:pt x="6364" y="75896"/>
                      </a:cubicBezTo>
                      <a:cubicBezTo>
                        <a:pt x="-1256" y="69229"/>
                        <a:pt x="-2209" y="56846"/>
                        <a:pt x="4459" y="49226"/>
                      </a:cubicBezTo>
                      <a:lnTo>
                        <a:pt x="41606" y="6364"/>
                      </a:lnTo>
                      <a:cubicBezTo>
                        <a:pt x="48274" y="-1256"/>
                        <a:pt x="60656" y="-2209"/>
                        <a:pt x="68276" y="4459"/>
                      </a:cubicBezTo>
                      <a:cubicBezTo>
                        <a:pt x="75896" y="11126"/>
                        <a:pt x="76849" y="23509"/>
                        <a:pt x="70181" y="31129"/>
                      </a:cubicBezTo>
                      <a:lnTo>
                        <a:pt x="33034" y="73991"/>
                      </a:lnTo>
                      <a:cubicBezTo>
                        <a:pt x="30176" y="77801"/>
                        <a:pt x="25414" y="79706"/>
                        <a:pt x="20651" y="80659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  <p:sp>
              <p:nvSpPr>
                <p:cNvPr id="1056" name="Полілінія: фігура 1055">
                  <a:extLst>
                    <a:ext uri="{FF2B5EF4-FFF2-40B4-BE49-F238E27FC236}">
                      <a16:creationId xmlns:a16="http://schemas.microsoft.com/office/drawing/2014/main" id="{CA6FF5EB-4727-5406-4845-38EB77EB7C2A}"/>
                    </a:ext>
                  </a:extLst>
                </p:cNvPr>
                <p:cNvSpPr/>
                <p:nvPr/>
              </p:nvSpPr>
              <p:spPr>
                <a:xfrm>
                  <a:off x="8293129" y="2168078"/>
                  <a:ext cx="90810" cy="97554"/>
                </a:xfrm>
                <a:custGeom>
                  <a:avLst/>
                  <a:gdLst>
                    <a:gd name="connsiteX0" fmla="*/ 25879 w 90810"/>
                    <a:gd name="connsiteY0" fmla="*/ 97316 h 97554"/>
                    <a:gd name="connsiteX1" fmla="*/ 7781 w 90810"/>
                    <a:gd name="connsiteY1" fmla="*/ 91601 h 97554"/>
                    <a:gd name="connsiteX2" fmla="*/ 5876 w 90810"/>
                    <a:gd name="connsiteY2" fmla="*/ 58264 h 97554"/>
                    <a:gd name="connsiteX3" fmla="*/ 49691 w 90810"/>
                    <a:gd name="connsiteY3" fmla="*/ 7781 h 97554"/>
                    <a:gd name="connsiteX4" fmla="*/ 83029 w 90810"/>
                    <a:gd name="connsiteY4" fmla="*/ 5876 h 97554"/>
                    <a:gd name="connsiteX5" fmla="*/ 84934 w 90810"/>
                    <a:gd name="connsiteY5" fmla="*/ 39214 h 97554"/>
                    <a:gd name="connsiteX6" fmla="*/ 41119 w 90810"/>
                    <a:gd name="connsiteY6" fmla="*/ 89696 h 97554"/>
                    <a:gd name="connsiteX7" fmla="*/ 25879 w 90810"/>
                    <a:gd name="connsiteY7" fmla="*/ 97316 h 97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0810" h="97554">
                      <a:moveTo>
                        <a:pt x="25879" y="97316"/>
                      </a:moveTo>
                      <a:cubicBezTo>
                        <a:pt x="19211" y="98269"/>
                        <a:pt x="13496" y="96364"/>
                        <a:pt x="7781" y="91601"/>
                      </a:cubicBezTo>
                      <a:cubicBezTo>
                        <a:pt x="-1744" y="83029"/>
                        <a:pt x="-2696" y="67789"/>
                        <a:pt x="5876" y="58264"/>
                      </a:cubicBezTo>
                      <a:lnTo>
                        <a:pt x="49691" y="7781"/>
                      </a:lnTo>
                      <a:cubicBezTo>
                        <a:pt x="58264" y="-1744"/>
                        <a:pt x="73504" y="-2696"/>
                        <a:pt x="83029" y="5876"/>
                      </a:cubicBezTo>
                      <a:cubicBezTo>
                        <a:pt x="92554" y="14449"/>
                        <a:pt x="93506" y="29689"/>
                        <a:pt x="84934" y="39214"/>
                      </a:cubicBezTo>
                      <a:lnTo>
                        <a:pt x="41119" y="89696"/>
                      </a:lnTo>
                      <a:cubicBezTo>
                        <a:pt x="37309" y="94459"/>
                        <a:pt x="31594" y="97316"/>
                        <a:pt x="25879" y="9731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  <p:sp>
              <p:nvSpPr>
                <p:cNvPr id="1057" name="Полілінія: фігура 1056">
                  <a:extLst>
                    <a:ext uri="{FF2B5EF4-FFF2-40B4-BE49-F238E27FC236}">
                      <a16:creationId xmlns:a16="http://schemas.microsoft.com/office/drawing/2014/main" id="{128CE56F-553F-5B24-BD70-29E889F6D1C4}"/>
                    </a:ext>
                  </a:extLst>
                </p:cNvPr>
                <p:cNvSpPr/>
                <p:nvPr/>
              </p:nvSpPr>
              <p:spPr>
                <a:xfrm>
                  <a:off x="8228304" y="2123256"/>
                  <a:ext cx="100443" cy="107078"/>
                </a:xfrm>
                <a:custGeom>
                  <a:avLst/>
                  <a:gdLst>
                    <a:gd name="connsiteX0" fmla="*/ 30696 w 100443"/>
                    <a:gd name="connsiteY0" fmla="*/ 106896 h 107078"/>
                    <a:gd name="connsiteX1" fmla="*/ 9741 w 100443"/>
                    <a:gd name="connsiteY1" fmla="*/ 100228 h 107078"/>
                    <a:gd name="connsiteX2" fmla="*/ 6883 w 100443"/>
                    <a:gd name="connsiteY2" fmla="*/ 60223 h 107078"/>
                    <a:gd name="connsiteX3" fmla="*/ 50698 w 100443"/>
                    <a:gd name="connsiteY3" fmla="*/ 9741 h 107078"/>
                    <a:gd name="connsiteX4" fmla="*/ 90703 w 100443"/>
                    <a:gd name="connsiteY4" fmla="*/ 6883 h 107078"/>
                    <a:gd name="connsiteX5" fmla="*/ 93561 w 100443"/>
                    <a:gd name="connsiteY5" fmla="*/ 46888 h 107078"/>
                    <a:gd name="connsiteX6" fmla="*/ 49746 w 100443"/>
                    <a:gd name="connsiteY6" fmla="*/ 97371 h 107078"/>
                    <a:gd name="connsiteX7" fmla="*/ 30696 w 100443"/>
                    <a:gd name="connsiteY7" fmla="*/ 106896 h 107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0443" h="107078">
                      <a:moveTo>
                        <a:pt x="30696" y="106896"/>
                      </a:moveTo>
                      <a:cubicBezTo>
                        <a:pt x="23076" y="107848"/>
                        <a:pt x="15456" y="104991"/>
                        <a:pt x="9741" y="100228"/>
                      </a:cubicBezTo>
                      <a:cubicBezTo>
                        <a:pt x="-1689" y="89751"/>
                        <a:pt x="-3594" y="71653"/>
                        <a:pt x="6883" y="60223"/>
                      </a:cubicBezTo>
                      <a:lnTo>
                        <a:pt x="50698" y="9741"/>
                      </a:lnTo>
                      <a:cubicBezTo>
                        <a:pt x="61176" y="-1689"/>
                        <a:pt x="79273" y="-3594"/>
                        <a:pt x="90703" y="6883"/>
                      </a:cubicBezTo>
                      <a:cubicBezTo>
                        <a:pt x="102133" y="17361"/>
                        <a:pt x="104038" y="35458"/>
                        <a:pt x="93561" y="46888"/>
                      </a:cubicBezTo>
                      <a:lnTo>
                        <a:pt x="49746" y="97371"/>
                      </a:lnTo>
                      <a:cubicBezTo>
                        <a:pt x="44983" y="103086"/>
                        <a:pt x="37363" y="106896"/>
                        <a:pt x="30696" y="10689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  <p:sp>
              <p:nvSpPr>
                <p:cNvPr id="1058" name="Полілінія: фігура 1057">
                  <a:extLst>
                    <a:ext uri="{FF2B5EF4-FFF2-40B4-BE49-F238E27FC236}">
                      <a16:creationId xmlns:a16="http://schemas.microsoft.com/office/drawing/2014/main" id="{76AD65EB-3A29-371B-DD7B-434D84568078}"/>
                    </a:ext>
                  </a:extLst>
                </p:cNvPr>
                <p:cNvSpPr/>
                <p:nvPr/>
              </p:nvSpPr>
              <p:spPr>
                <a:xfrm>
                  <a:off x="8158772" y="2081346"/>
                  <a:ext cx="107111" cy="113745"/>
                </a:xfrm>
                <a:custGeom>
                  <a:avLst/>
                  <a:gdLst>
                    <a:gd name="connsiteX0" fmla="*/ 30696 w 107111"/>
                    <a:gd name="connsiteY0" fmla="*/ 113563 h 113745"/>
                    <a:gd name="connsiteX1" fmla="*/ 9741 w 107111"/>
                    <a:gd name="connsiteY1" fmla="*/ 106896 h 113745"/>
                    <a:gd name="connsiteX2" fmla="*/ 6883 w 107111"/>
                    <a:gd name="connsiteY2" fmla="*/ 66891 h 113745"/>
                    <a:gd name="connsiteX3" fmla="*/ 57366 w 107111"/>
                    <a:gd name="connsiteY3" fmla="*/ 9741 h 113745"/>
                    <a:gd name="connsiteX4" fmla="*/ 97371 w 107111"/>
                    <a:gd name="connsiteY4" fmla="*/ 6883 h 113745"/>
                    <a:gd name="connsiteX5" fmla="*/ 100228 w 107111"/>
                    <a:gd name="connsiteY5" fmla="*/ 46888 h 113745"/>
                    <a:gd name="connsiteX6" fmla="*/ 49746 w 107111"/>
                    <a:gd name="connsiteY6" fmla="*/ 104038 h 113745"/>
                    <a:gd name="connsiteX7" fmla="*/ 30696 w 107111"/>
                    <a:gd name="connsiteY7" fmla="*/ 113563 h 113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7111" h="113745">
                      <a:moveTo>
                        <a:pt x="30696" y="113563"/>
                      </a:moveTo>
                      <a:cubicBezTo>
                        <a:pt x="23076" y="114516"/>
                        <a:pt x="15456" y="111658"/>
                        <a:pt x="9741" y="106896"/>
                      </a:cubicBezTo>
                      <a:cubicBezTo>
                        <a:pt x="-1689" y="96418"/>
                        <a:pt x="-3594" y="78321"/>
                        <a:pt x="6883" y="66891"/>
                      </a:cubicBezTo>
                      <a:lnTo>
                        <a:pt x="57366" y="9741"/>
                      </a:lnTo>
                      <a:cubicBezTo>
                        <a:pt x="67843" y="-1689"/>
                        <a:pt x="85941" y="-3594"/>
                        <a:pt x="97371" y="6883"/>
                      </a:cubicBezTo>
                      <a:cubicBezTo>
                        <a:pt x="108801" y="17361"/>
                        <a:pt x="110706" y="35458"/>
                        <a:pt x="100228" y="46888"/>
                      </a:cubicBezTo>
                      <a:lnTo>
                        <a:pt x="49746" y="104038"/>
                      </a:lnTo>
                      <a:cubicBezTo>
                        <a:pt x="44031" y="109753"/>
                        <a:pt x="37363" y="112611"/>
                        <a:pt x="30696" y="113563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  <p:sp>
              <p:nvSpPr>
                <p:cNvPr id="1061" name="Полілінія: фігура 1060">
                  <a:extLst>
                    <a:ext uri="{FF2B5EF4-FFF2-40B4-BE49-F238E27FC236}">
                      <a16:creationId xmlns:a16="http://schemas.microsoft.com/office/drawing/2014/main" id="{E1099248-8F82-BC1D-22E6-CE2A4AA47D67}"/>
                    </a:ext>
                  </a:extLst>
                </p:cNvPr>
                <p:cNvSpPr/>
                <p:nvPr/>
              </p:nvSpPr>
              <p:spPr>
                <a:xfrm>
                  <a:off x="8629448" y="1806289"/>
                  <a:ext cx="190574" cy="226769"/>
                </a:xfrm>
                <a:custGeom>
                  <a:avLst/>
                  <a:gdLst>
                    <a:gd name="connsiteX0" fmla="*/ 190575 w 190574"/>
                    <a:gd name="connsiteY0" fmla="*/ 179070 h 226769"/>
                    <a:gd name="connsiteX1" fmla="*/ 117232 w 190574"/>
                    <a:gd name="connsiteY1" fmla="*/ 223838 h 226769"/>
                    <a:gd name="connsiteX2" fmla="*/ 91515 w 190574"/>
                    <a:gd name="connsiteY2" fmla="*/ 217170 h 226769"/>
                    <a:gd name="connsiteX3" fmla="*/ 2932 w 190574"/>
                    <a:gd name="connsiteY3" fmla="*/ 70485 h 226769"/>
                    <a:gd name="connsiteX4" fmla="*/ 9600 w 190574"/>
                    <a:gd name="connsiteY4" fmla="*/ 44768 h 226769"/>
                    <a:gd name="connsiteX5" fmla="*/ 82942 w 190574"/>
                    <a:gd name="connsiteY5" fmla="*/ 0 h 226769"/>
                    <a:gd name="connsiteX6" fmla="*/ 190575 w 190574"/>
                    <a:gd name="connsiteY6" fmla="*/ 179070 h 226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0574" h="226769">
                      <a:moveTo>
                        <a:pt x="190575" y="179070"/>
                      </a:moveTo>
                      <a:lnTo>
                        <a:pt x="117232" y="223838"/>
                      </a:lnTo>
                      <a:cubicBezTo>
                        <a:pt x="108660" y="229553"/>
                        <a:pt x="96277" y="226695"/>
                        <a:pt x="91515" y="217170"/>
                      </a:cubicBezTo>
                      <a:lnTo>
                        <a:pt x="2932" y="70485"/>
                      </a:lnTo>
                      <a:cubicBezTo>
                        <a:pt x="-2783" y="61913"/>
                        <a:pt x="75" y="49530"/>
                        <a:pt x="9600" y="44768"/>
                      </a:cubicBezTo>
                      <a:lnTo>
                        <a:pt x="82942" y="0"/>
                      </a:lnTo>
                      <a:lnTo>
                        <a:pt x="190575" y="17907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  <p:sp>
              <p:nvSpPr>
                <p:cNvPr id="1062" name="Полілінія: фігура 1061">
                  <a:extLst>
                    <a:ext uri="{FF2B5EF4-FFF2-40B4-BE49-F238E27FC236}">
                      <a16:creationId xmlns:a16="http://schemas.microsoft.com/office/drawing/2014/main" id="{6FA9E150-8576-665F-0B55-9AAC134548E1}"/>
                    </a:ext>
                  </a:extLst>
                </p:cNvPr>
                <p:cNvSpPr/>
                <p:nvPr/>
              </p:nvSpPr>
              <p:spPr>
                <a:xfrm>
                  <a:off x="8298905" y="1883300"/>
                  <a:ext cx="403007" cy="223979"/>
                </a:xfrm>
                <a:custGeom>
                  <a:avLst/>
                  <a:gdLst>
                    <a:gd name="connsiteX0" fmla="*/ 322045 w 403007"/>
                    <a:gd name="connsiteY0" fmla="*/ 12524 h 223979"/>
                    <a:gd name="connsiteX1" fmla="*/ 122020 w 403007"/>
                    <a:gd name="connsiteY1" fmla="*/ 1094 h 223979"/>
                    <a:gd name="connsiteX2" fmla="*/ 117258 w 403007"/>
                    <a:gd name="connsiteY2" fmla="*/ 142 h 223979"/>
                    <a:gd name="connsiteX3" fmla="*/ 84873 w 403007"/>
                    <a:gd name="connsiteY3" fmla="*/ 12524 h 223979"/>
                    <a:gd name="connsiteX4" fmla="*/ 9625 w 403007"/>
                    <a:gd name="connsiteY4" fmla="*/ 98249 h 223979"/>
                    <a:gd name="connsiteX5" fmla="*/ 13435 w 403007"/>
                    <a:gd name="connsiteY5" fmla="*/ 151589 h 223979"/>
                    <a:gd name="connsiteX6" fmla="*/ 42010 w 403007"/>
                    <a:gd name="connsiteY6" fmla="*/ 161114 h 223979"/>
                    <a:gd name="connsiteX7" fmla="*/ 67728 w 403007"/>
                    <a:gd name="connsiteY7" fmla="*/ 147779 h 223979"/>
                    <a:gd name="connsiteX8" fmla="*/ 145833 w 403007"/>
                    <a:gd name="connsiteY8" fmla="*/ 58244 h 223979"/>
                    <a:gd name="connsiteX9" fmla="*/ 323950 w 403007"/>
                    <a:gd name="connsiteY9" fmla="*/ 211597 h 223979"/>
                    <a:gd name="connsiteX10" fmla="*/ 323950 w 403007"/>
                    <a:gd name="connsiteY10" fmla="*/ 211597 h 223979"/>
                    <a:gd name="connsiteX11" fmla="*/ 323950 w 403007"/>
                    <a:gd name="connsiteY11" fmla="*/ 211597 h 223979"/>
                    <a:gd name="connsiteX12" fmla="*/ 334428 w 403007"/>
                    <a:gd name="connsiteY12" fmla="*/ 223979 h 223979"/>
                    <a:gd name="connsiteX13" fmla="*/ 403008 w 403007"/>
                    <a:gd name="connsiteY13" fmla="*/ 144922 h 223979"/>
                    <a:gd name="connsiteX14" fmla="*/ 322045 w 403007"/>
                    <a:gd name="connsiteY14" fmla="*/ 12524 h 2239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3007" h="223979">
                      <a:moveTo>
                        <a:pt x="322045" y="12524"/>
                      </a:moveTo>
                      <a:cubicBezTo>
                        <a:pt x="242988" y="41099"/>
                        <a:pt x="185838" y="13477"/>
                        <a:pt x="122020" y="1094"/>
                      </a:cubicBezTo>
                      <a:cubicBezTo>
                        <a:pt x="121068" y="1094"/>
                        <a:pt x="117258" y="142"/>
                        <a:pt x="117258" y="142"/>
                      </a:cubicBezTo>
                      <a:cubicBezTo>
                        <a:pt x="105828" y="-811"/>
                        <a:pt x="93445" y="2999"/>
                        <a:pt x="84873" y="12524"/>
                      </a:cubicBezTo>
                      <a:lnTo>
                        <a:pt x="9625" y="98249"/>
                      </a:lnTo>
                      <a:cubicBezTo>
                        <a:pt x="-4662" y="114442"/>
                        <a:pt x="-2757" y="138254"/>
                        <a:pt x="13435" y="151589"/>
                      </a:cubicBezTo>
                      <a:cubicBezTo>
                        <a:pt x="22008" y="158257"/>
                        <a:pt x="31533" y="162067"/>
                        <a:pt x="42010" y="161114"/>
                      </a:cubicBezTo>
                      <a:cubicBezTo>
                        <a:pt x="51535" y="160162"/>
                        <a:pt x="61060" y="156352"/>
                        <a:pt x="67728" y="147779"/>
                      </a:cubicBezTo>
                      <a:cubicBezTo>
                        <a:pt x="67728" y="147779"/>
                        <a:pt x="145833" y="58244"/>
                        <a:pt x="145833" y="58244"/>
                      </a:cubicBezTo>
                      <a:lnTo>
                        <a:pt x="323950" y="211597"/>
                      </a:lnTo>
                      <a:lnTo>
                        <a:pt x="323950" y="211597"/>
                      </a:lnTo>
                      <a:lnTo>
                        <a:pt x="323950" y="211597"/>
                      </a:lnTo>
                      <a:cubicBezTo>
                        <a:pt x="328713" y="216359"/>
                        <a:pt x="330618" y="218264"/>
                        <a:pt x="334428" y="223979"/>
                      </a:cubicBezTo>
                      <a:lnTo>
                        <a:pt x="403008" y="144922"/>
                      </a:lnTo>
                      <a:lnTo>
                        <a:pt x="322045" y="12524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</p:grpSp>
          <p:sp>
            <p:nvSpPr>
              <p:cNvPr id="1053" name="Графіка 1049" descr="Handshake outline">
                <a:extLst>
                  <a:ext uri="{FF2B5EF4-FFF2-40B4-BE49-F238E27FC236}">
                    <a16:creationId xmlns:a16="http://schemas.microsoft.com/office/drawing/2014/main" id="{78408648-5927-7BA7-96B7-5CD9C5A85393}"/>
                  </a:ext>
                </a:extLst>
              </p:cNvPr>
              <p:cNvSpPr/>
              <p:nvPr/>
            </p:nvSpPr>
            <p:spPr>
              <a:xfrm>
                <a:off x="7967188" y="1798896"/>
                <a:ext cx="877252" cy="540067"/>
              </a:xfrm>
              <a:custGeom>
                <a:avLst/>
                <a:gdLst>
                  <a:gd name="connsiteX0" fmla="*/ 868680 w 877252"/>
                  <a:gd name="connsiteY0" fmla="*/ 195263 h 540067"/>
                  <a:gd name="connsiteX1" fmla="*/ 761048 w 877252"/>
                  <a:gd name="connsiteY1" fmla="*/ 16192 h 540067"/>
                  <a:gd name="connsiteX2" fmla="*/ 751523 w 877252"/>
                  <a:gd name="connsiteY2" fmla="*/ 0 h 540067"/>
                  <a:gd name="connsiteX3" fmla="*/ 735330 w 877252"/>
                  <a:gd name="connsiteY3" fmla="*/ 10477 h 540067"/>
                  <a:gd name="connsiteX4" fmla="*/ 662940 w 877252"/>
                  <a:gd name="connsiteY4" fmla="*/ 55245 h 540067"/>
                  <a:gd name="connsiteX5" fmla="*/ 644843 w 877252"/>
                  <a:gd name="connsiteY5" fmla="*/ 78105 h 540067"/>
                  <a:gd name="connsiteX6" fmla="*/ 645795 w 877252"/>
                  <a:gd name="connsiteY6" fmla="*/ 99060 h 540067"/>
                  <a:gd name="connsiteX7" fmla="*/ 584835 w 877252"/>
                  <a:gd name="connsiteY7" fmla="*/ 109538 h 540067"/>
                  <a:gd name="connsiteX8" fmla="*/ 500063 w 877252"/>
                  <a:gd name="connsiteY8" fmla="*/ 95250 h 540067"/>
                  <a:gd name="connsiteX9" fmla="*/ 458153 w 877252"/>
                  <a:gd name="connsiteY9" fmla="*/ 85725 h 540067"/>
                  <a:gd name="connsiteX10" fmla="*/ 456248 w 877252"/>
                  <a:gd name="connsiteY10" fmla="*/ 85725 h 540067"/>
                  <a:gd name="connsiteX11" fmla="*/ 456248 w 877252"/>
                  <a:gd name="connsiteY11" fmla="*/ 85725 h 540067"/>
                  <a:gd name="connsiteX12" fmla="*/ 454343 w 877252"/>
                  <a:gd name="connsiteY12" fmla="*/ 85725 h 540067"/>
                  <a:gd name="connsiteX13" fmla="*/ 452438 w 877252"/>
                  <a:gd name="connsiteY13" fmla="*/ 85725 h 540067"/>
                  <a:gd name="connsiteX14" fmla="*/ 450533 w 877252"/>
                  <a:gd name="connsiteY14" fmla="*/ 85725 h 540067"/>
                  <a:gd name="connsiteX15" fmla="*/ 445770 w 877252"/>
                  <a:gd name="connsiteY15" fmla="*/ 85725 h 540067"/>
                  <a:gd name="connsiteX16" fmla="*/ 445770 w 877252"/>
                  <a:gd name="connsiteY16" fmla="*/ 85725 h 540067"/>
                  <a:gd name="connsiteX17" fmla="*/ 402908 w 877252"/>
                  <a:gd name="connsiteY17" fmla="*/ 104775 h 540067"/>
                  <a:gd name="connsiteX18" fmla="*/ 395288 w 877252"/>
                  <a:gd name="connsiteY18" fmla="*/ 113348 h 540067"/>
                  <a:gd name="connsiteX19" fmla="*/ 356235 w 877252"/>
                  <a:gd name="connsiteY19" fmla="*/ 105727 h 540067"/>
                  <a:gd name="connsiteX20" fmla="*/ 348615 w 877252"/>
                  <a:gd name="connsiteY20" fmla="*/ 105727 h 540067"/>
                  <a:gd name="connsiteX21" fmla="*/ 332423 w 877252"/>
                  <a:gd name="connsiteY21" fmla="*/ 106680 h 540067"/>
                  <a:gd name="connsiteX22" fmla="*/ 295275 w 877252"/>
                  <a:gd name="connsiteY22" fmla="*/ 108585 h 540067"/>
                  <a:gd name="connsiteX23" fmla="*/ 234315 w 877252"/>
                  <a:gd name="connsiteY23" fmla="*/ 96202 h 540067"/>
                  <a:gd name="connsiteX24" fmla="*/ 234315 w 877252"/>
                  <a:gd name="connsiteY24" fmla="*/ 78105 h 540067"/>
                  <a:gd name="connsiteX25" fmla="*/ 216218 w 877252"/>
                  <a:gd name="connsiteY25" fmla="*/ 55245 h 540067"/>
                  <a:gd name="connsiteX26" fmla="*/ 144780 w 877252"/>
                  <a:gd name="connsiteY26" fmla="*/ 10477 h 540067"/>
                  <a:gd name="connsiteX27" fmla="*/ 128588 w 877252"/>
                  <a:gd name="connsiteY27" fmla="*/ 0 h 540067"/>
                  <a:gd name="connsiteX28" fmla="*/ 119063 w 877252"/>
                  <a:gd name="connsiteY28" fmla="*/ 16192 h 540067"/>
                  <a:gd name="connsiteX29" fmla="*/ 9525 w 877252"/>
                  <a:gd name="connsiteY29" fmla="*/ 195263 h 540067"/>
                  <a:gd name="connsiteX30" fmla="*/ 0 w 877252"/>
                  <a:gd name="connsiteY30" fmla="*/ 211455 h 540067"/>
                  <a:gd name="connsiteX31" fmla="*/ 16192 w 877252"/>
                  <a:gd name="connsiteY31" fmla="*/ 220980 h 540067"/>
                  <a:gd name="connsiteX32" fmla="*/ 89535 w 877252"/>
                  <a:gd name="connsiteY32" fmla="*/ 265747 h 540067"/>
                  <a:gd name="connsiteX33" fmla="*/ 131445 w 877252"/>
                  <a:gd name="connsiteY33" fmla="*/ 263843 h 540067"/>
                  <a:gd name="connsiteX34" fmla="*/ 193358 w 877252"/>
                  <a:gd name="connsiteY34" fmla="*/ 336233 h 540067"/>
                  <a:gd name="connsiteX35" fmla="*/ 194310 w 877252"/>
                  <a:gd name="connsiteY35" fmla="*/ 338138 h 540067"/>
                  <a:gd name="connsiteX36" fmla="*/ 196215 w 877252"/>
                  <a:gd name="connsiteY36" fmla="*/ 339090 h 540067"/>
                  <a:gd name="connsiteX37" fmla="*/ 196215 w 877252"/>
                  <a:gd name="connsiteY37" fmla="*/ 339090 h 540067"/>
                  <a:gd name="connsiteX38" fmla="*/ 182880 w 877252"/>
                  <a:gd name="connsiteY38" fmla="*/ 354330 h 540067"/>
                  <a:gd name="connsiteX39" fmla="*/ 186690 w 877252"/>
                  <a:gd name="connsiteY39" fmla="*/ 421005 h 540067"/>
                  <a:gd name="connsiteX40" fmla="*/ 186690 w 877252"/>
                  <a:gd name="connsiteY40" fmla="*/ 421005 h 540067"/>
                  <a:gd name="connsiteX41" fmla="*/ 186690 w 877252"/>
                  <a:gd name="connsiteY41" fmla="*/ 421005 h 540067"/>
                  <a:gd name="connsiteX42" fmla="*/ 217170 w 877252"/>
                  <a:gd name="connsiteY42" fmla="*/ 432435 h 540067"/>
                  <a:gd name="connsiteX43" fmla="*/ 222885 w 877252"/>
                  <a:gd name="connsiteY43" fmla="*/ 432435 h 540067"/>
                  <a:gd name="connsiteX44" fmla="*/ 240983 w 877252"/>
                  <a:gd name="connsiteY44" fmla="*/ 425768 h 540067"/>
                  <a:gd name="connsiteX45" fmla="*/ 256223 w 877252"/>
                  <a:gd name="connsiteY45" fmla="*/ 456247 h 540067"/>
                  <a:gd name="connsiteX46" fmla="*/ 256223 w 877252"/>
                  <a:gd name="connsiteY46" fmla="*/ 456247 h 540067"/>
                  <a:gd name="connsiteX47" fmla="*/ 256223 w 877252"/>
                  <a:gd name="connsiteY47" fmla="*/ 456247 h 540067"/>
                  <a:gd name="connsiteX48" fmla="*/ 286703 w 877252"/>
                  <a:gd name="connsiteY48" fmla="*/ 467678 h 540067"/>
                  <a:gd name="connsiteX49" fmla="*/ 290513 w 877252"/>
                  <a:gd name="connsiteY49" fmla="*/ 467678 h 540067"/>
                  <a:gd name="connsiteX50" fmla="*/ 304800 w 877252"/>
                  <a:gd name="connsiteY50" fmla="*/ 464820 h 540067"/>
                  <a:gd name="connsiteX51" fmla="*/ 319088 w 877252"/>
                  <a:gd name="connsiteY51" fmla="*/ 492443 h 540067"/>
                  <a:gd name="connsiteX52" fmla="*/ 319088 w 877252"/>
                  <a:gd name="connsiteY52" fmla="*/ 492443 h 540067"/>
                  <a:gd name="connsiteX53" fmla="*/ 319088 w 877252"/>
                  <a:gd name="connsiteY53" fmla="*/ 492443 h 540067"/>
                  <a:gd name="connsiteX54" fmla="*/ 345758 w 877252"/>
                  <a:gd name="connsiteY54" fmla="*/ 502920 h 540067"/>
                  <a:gd name="connsiteX55" fmla="*/ 350520 w 877252"/>
                  <a:gd name="connsiteY55" fmla="*/ 502920 h 540067"/>
                  <a:gd name="connsiteX56" fmla="*/ 368618 w 877252"/>
                  <a:gd name="connsiteY56" fmla="*/ 497205 h 540067"/>
                  <a:gd name="connsiteX57" fmla="*/ 380048 w 877252"/>
                  <a:gd name="connsiteY57" fmla="*/ 515303 h 540067"/>
                  <a:gd name="connsiteX58" fmla="*/ 407670 w 877252"/>
                  <a:gd name="connsiteY58" fmla="*/ 524828 h 540067"/>
                  <a:gd name="connsiteX59" fmla="*/ 409575 w 877252"/>
                  <a:gd name="connsiteY59" fmla="*/ 524828 h 540067"/>
                  <a:gd name="connsiteX60" fmla="*/ 411480 w 877252"/>
                  <a:gd name="connsiteY60" fmla="*/ 524828 h 540067"/>
                  <a:gd name="connsiteX61" fmla="*/ 427673 w 877252"/>
                  <a:gd name="connsiteY61" fmla="*/ 518160 h 540067"/>
                  <a:gd name="connsiteX62" fmla="*/ 428625 w 877252"/>
                  <a:gd name="connsiteY62" fmla="*/ 519112 h 540067"/>
                  <a:gd name="connsiteX63" fmla="*/ 441960 w 877252"/>
                  <a:gd name="connsiteY63" fmla="*/ 529590 h 540067"/>
                  <a:gd name="connsiteX64" fmla="*/ 442913 w 877252"/>
                  <a:gd name="connsiteY64" fmla="*/ 530543 h 540067"/>
                  <a:gd name="connsiteX65" fmla="*/ 443865 w 877252"/>
                  <a:gd name="connsiteY65" fmla="*/ 531495 h 540067"/>
                  <a:gd name="connsiteX66" fmla="*/ 472440 w 877252"/>
                  <a:gd name="connsiteY66" fmla="*/ 540068 h 540067"/>
                  <a:gd name="connsiteX67" fmla="*/ 478155 w 877252"/>
                  <a:gd name="connsiteY67" fmla="*/ 540068 h 540067"/>
                  <a:gd name="connsiteX68" fmla="*/ 527685 w 877252"/>
                  <a:gd name="connsiteY68" fmla="*/ 498158 h 540067"/>
                  <a:gd name="connsiteX69" fmla="*/ 571500 w 877252"/>
                  <a:gd name="connsiteY69" fmla="*/ 457200 h 540067"/>
                  <a:gd name="connsiteX70" fmla="*/ 615315 w 877252"/>
                  <a:gd name="connsiteY70" fmla="*/ 415290 h 540067"/>
                  <a:gd name="connsiteX71" fmla="*/ 619125 w 877252"/>
                  <a:gd name="connsiteY71" fmla="*/ 415290 h 540067"/>
                  <a:gd name="connsiteX72" fmla="*/ 670560 w 877252"/>
                  <a:gd name="connsiteY72" fmla="*/ 355283 h 540067"/>
                  <a:gd name="connsiteX73" fmla="*/ 670560 w 877252"/>
                  <a:gd name="connsiteY73" fmla="*/ 348615 h 540067"/>
                  <a:gd name="connsiteX74" fmla="*/ 678180 w 877252"/>
                  <a:gd name="connsiteY74" fmla="*/ 339090 h 540067"/>
                  <a:gd name="connsiteX75" fmla="*/ 743903 w 877252"/>
                  <a:gd name="connsiteY75" fmla="*/ 262890 h 540067"/>
                  <a:gd name="connsiteX76" fmla="*/ 787718 w 877252"/>
                  <a:gd name="connsiteY76" fmla="*/ 264795 h 540067"/>
                  <a:gd name="connsiteX77" fmla="*/ 861060 w 877252"/>
                  <a:gd name="connsiteY77" fmla="*/ 220027 h 540067"/>
                  <a:gd name="connsiteX78" fmla="*/ 877253 w 877252"/>
                  <a:gd name="connsiteY78" fmla="*/ 210502 h 540067"/>
                  <a:gd name="connsiteX79" fmla="*/ 868680 w 877252"/>
                  <a:gd name="connsiteY79" fmla="*/ 195263 h 540067"/>
                  <a:gd name="connsiteX80" fmla="*/ 99060 w 877252"/>
                  <a:gd name="connsiteY80" fmla="*/ 249555 h 540067"/>
                  <a:gd name="connsiteX81" fmla="*/ 25718 w 877252"/>
                  <a:gd name="connsiteY81" fmla="*/ 204788 h 540067"/>
                  <a:gd name="connsiteX82" fmla="*/ 134303 w 877252"/>
                  <a:gd name="connsiteY82" fmla="*/ 25717 h 540067"/>
                  <a:gd name="connsiteX83" fmla="*/ 206693 w 877252"/>
                  <a:gd name="connsiteY83" fmla="*/ 70485 h 540067"/>
                  <a:gd name="connsiteX84" fmla="*/ 215265 w 877252"/>
                  <a:gd name="connsiteY84" fmla="*/ 91440 h 540067"/>
                  <a:gd name="connsiteX85" fmla="*/ 209550 w 877252"/>
                  <a:gd name="connsiteY85" fmla="*/ 100965 h 540067"/>
                  <a:gd name="connsiteX86" fmla="*/ 126683 w 877252"/>
                  <a:gd name="connsiteY86" fmla="*/ 238125 h 540067"/>
                  <a:gd name="connsiteX87" fmla="*/ 120968 w 877252"/>
                  <a:gd name="connsiteY87" fmla="*/ 246697 h 540067"/>
                  <a:gd name="connsiteX88" fmla="*/ 108585 w 877252"/>
                  <a:gd name="connsiteY88" fmla="*/ 251460 h 540067"/>
                  <a:gd name="connsiteX89" fmla="*/ 99060 w 877252"/>
                  <a:gd name="connsiteY89" fmla="*/ 249555 h 540067"/>
                  <a:gd name="connsiteX90" fmla="*/ 220980 w 877252"/>
                  <a:gd name="connsiteY90" fmla="*/ 413385 h 540067"/>
                  <a:gd name="connsiteX91" fmla="*/ 218123 w 877252"/>
                  <a:gd name="connsiteY91" fmla="*/ 413385 h 540067"/>
                  <a:gd name="connsiteX92" fmla="*/ 190500 w 877252"/>
                  <a:gd name="connsiteY92" fmla="*/ 384810 h 540067"/>
                  <a:gd name="connsiteX93" fmla="*/ 197168 w 877252"/>
                  <a:gd name="connsiteY93" fmla="*/ 366713 h 540067"/>
                  <a:gd name="connsiteX94" fmla="*/ 247650 w 877252"/>
                  <a:gd name="connsiteY94" fmla="*/ 309563 h 540067"/>
                  <a:gd name="connsiteX95" fmla="*/ 269558 w 877252"/>
                  <a:gd name="connsiteY95" fmla="*/ 300038 h 540067"/>
                  <a:gd name="connsiteX96" fmla="*/ 287655 w 877252"/>
                  <a:gd name="connsiteY96" fmla="*/ 306705 h 540067"/>
                  <a:gd name="connsiteX97" fmla="*/ 290513 w 877252"/>
                  <a:gd name="connsiteY97" fmla="*/ 346710 h 540067"/>
                  <a:gd name="connsiteX98" fmla="*/ 240030 w 877252"/>
                  <a:gd name="connsiteY98" fmla="*/ 403860 h 540067"/>
                  <a:gd name="connsiteX99" fmla="*/ 220980 w 877252"/>
                  <a:gd name="connsiteY99" fmla="*/ 413385 h 540067"/>
                  <a:gd name="connsiteX100" fmla="*/ 291465 w 877252"/>
                  <a:gd name="connsiteY100" fmla="*/ 449580 h 540067"/>
                  <a:gd name="connsiteX101" fmla="*/ 288608 w 877252"/>
                  <a:gd name="connsiteY101" fmla="*/ 449580 h 540067"/>
                  <a:gd name="connsiteX102" fmla="*/ 260985 w 877252"/>
                  <a:gd name="connsiteY102" fmla="*/ 421005 h 540067"/>
                  <a:gd name="connsiteX103" fmla="*/ 267653 w 877252"/>
                  <a:gd name="connsiteY103" fmla="*/ 402908 h 540067"/>
                  <a:gd name="connsiteX104" fmla="*/ 311468 w 877252"/>
                  <a:gd name="connsiteY104" fmla="*/ 352425 h 540067"/>
                  <a:gd name="connsiteX105" fmla="*/ 333375 w 877252"/>
                  <a:gd name="connsiteY105" fmla="*/ 342900 h 540067"/>
                  <a:gd name="connsiteX106" fmla="*/ 351473 w 877252"/>
                  <a:gd name="connsiteY106" fmla="*/ 349568 h 540067"/>
                  <a:gd name="connsiteX107" fmla="*/ 354330 w 877252"/>
                  <a:gd name="connsiteY107" fmla="*/ 389572 h 540067"/>
                  <a:gd name="connsiteX108" fmla="*/ 310515 w 877252"/>
                  <a:gd name="connsiteY108" fmla="*/ 440055 h 540067"/>
                  <a:gd name="connsiteX109" fmla="*/ 291465 w 877252"/>
                  <a:gd name="connsiteY109" fmla="*/ 449580 h 540067"/>
                  <a:gd name="connsiteX110" fmla="*/ 291465 w 877252"/>
                  <a:gd name="connsiteY110" fmla="*/ 449580 h 540067"/>
                  <a:gd name="connsiteX111" fmla="*/ 351473 w 877252"/>
                  <a:gd name="connsiteY111" fmla="*/ 484822 h 540067"/>
                  <a:gd name="connsiteX112" fmla="*/ 348615 w 877252"/>
                  <a:gd name="connsiteY112" fmla="*/ 484822 h 540067"/>
                  <a:gd name="connsiteX113" fmla="*/ 333375 w 877252"/>
                  <a:gd name="connsiteY113" fmla="*/ 479108 h 540067"/>
                  <a:gd name="connsiteX114" fmla="*/ 331470 w 877252"/>
                  <a:gd name="connsiteY114" fmla="*/ 445770 h 540067"/>
                  <a:gd name="connsiteX115" fmla="*/ 375285 w 877252"/>
                  <a:gd name="connsiteY115" fmla="*/ 395288 h 540067"/>
                  <a:gd name="connsiteX116" fmla="*/ 393383 w 877252"/>
                  <a:gd name="connsiteY116" fmla="*/ 387668 h 540067"/>
                  <a:gd name="connsiteX117" fmla="*/ 408623 w 877252"/>
                  <a:gd name="connsiteY117" fmla="*/ 393383 h 540067"/>
                  <a:gd name="connsiteX118" fmla="*/ 410528 w 877252"/>
                  <a:gd name="connsiteY118" fmla="*/ 426720 h 540067"/>
                  <a:gd name="connsiteX119" fmla="*/ 366713 w 877252"/>
                  <a:gd name="connsiteY119" fmla="*/ 477203 h 540067"/>
                  <a:gd name="connsiteX120" fmla="*/ 351473 w 877252"/>
                  <a:gd name="connsiteY120" fmla="*/ 484822 h 540067"/>
                  <a:gd name="connsiteX121" fmla="*/ 351473 w 877252"/>
                  <a:gd name="connsiteY121" fmla="*/ 484822 h 540067"/>
                  <a:gd name="connsiteX122" fmla="*/ 409575 w 877252"/>
                  <a:gd name="connsiteY122" fmla="*/ 507683 h 540067"/>
                  <a:gd name="connsiteX123" fmla="*/ 395288 w 877252"/>
                  <a:gd name="connsiteY123" fmla="*/ 502920 h 540067"/>
                  <a:gd name="connsiteX124" fmla="*/ 393383 w 877252"/>
                  <a:gd name="connsiteY124" fmla="*/ 476250 h 540067"/>
                  <a:gd name="connsiteX125" fmla="*/ 430530 w 877252"/>
                  <a:gd name="connsiteY125" fmla="*/ 433387 h 540067"/>
                  <a:gd name="connsiteX126" fmla="*/ 444818 w 877252"/>
                  <a:gd name="connsiteY126" fmla="*/ 426720 h 540067"/>
                  <a:gd name="connsiteX127" fmla="*/ 457200 w 877252"/>
                  <a:gd name="connsiteY127" fmla="*/ 431483 h 540067"/>
                  <a:gd name="connsiteX128" fmla="*/ 459105 w 877252"/>
                  <a:gd name="connsiteY128" fmla="*/ 458153 h 540067"/>
                  <a:gd name="connsiteX129" fmla="*/ 421958 w 877252"/>
                  <a:gd name="connsiteY129" fmla="*/ 501015 h 540067"/>
                  <a:gd name="connsiteX130" fmla="*/ 409575 w 877252"/>
                  <a:gd name="connsiteY130" fmla="*/ 507683 h 540067"/>
                  <a:gd name="connsiteX131" fmla="*/ 409575 w 877252"/>
                  <a:gd name="connsiteY131" fmla="*/ 507683 h 540067"/>
                  <a:gd name="connsiteX132" fmla="*/ 619125 w 877252"/>
                  <a:gd name="connsiteY132" fmla="*/ 396240 h 540067"/>
                  <a:gd name="connsiteX133" fmla="*/ 615315 w 877252"/>
                  <a:gd name="connsiteY133" fmla="*/ 396240 h 540067"/>
                  <a:gd name="connsiteX134" fmla="*/ 599123 w 877252"/>
                  <a:gd name="connsiteY134" fmla="*/ 392430 h 540067"/>
                  <a:gd name="connsiteX135" fmla="*/ 600075 w 877252"/>
                  <a:gd name="connsiteY135" fmla="*/ 398145 h 540067"/>
                  <a:gd name="connsiteX136" fmla="*/ 565785 w 877252"/>
                  <a:gd name="connsiteY136" fmla="*/ 439103 h 540067"/>
                  <a:gd name="connsiteX137" fmla="*/ 565785 w 877252"/>
                  <a:gd name="connsiteY137" fmla="*/ 439103 h 540067"/>
                  <a:gd name="connsiteX138" fmla="*/ 556260 w 877252"/>
                  <a:gd name="connsiteY138" fmla="*/ 438150 h 540067"/>
                  <a:gd name="connsiteX139" fmla="*/ 556260 w 877252"/>
                  <a:gd name="connsiteY139" fmla="*/ 439103 h 540067"/>
                  <a:gd name="connsiteX140" fmla="*/ 521970 w 877252"/>
                  <a:gd name="connsiteY140" fmla="*/ 480060 h 540067"/>
                  <a:gd name="connsiteX141" fmla="*/ 521970 w 877252"/>
                  <a:gd name="connsiteY141" fmla="*/ 480060 h 540067"/>
                  <a:gd name="connsiteX142" fmla="*/ 512445 w 877252"/>
                  <a:gd name="connsiteY142" fmla="*/ 479108 h 540067"/>
                  <a:gd name="connsiteX143" fmla="*/ 512445 w 877252"/>
                  <a:gd name="connsiteY143" fmla="*/ 480060 h 540067"/>
                  <a:gd name="connsiteX144" fmla="*/ 478155 w 877252"/>
                  <a:gd name="connsiteY144" fmla="*/ 521018 h 540067"/>
                  <a:gd name="connsiteX145" fmla="*/ 478155 w 877252"/>
                  <a:gd name="connsiteY145" fmla="*/ 521018 h 540067"/>
                  <a:gd name="connsiteX146" fmla="*/ 475298 w 877252"/>
                  <a:gd name="connsiteY146" fmla="*/ 521018 h 540067"/>
                  <a:gd name="connsiteX147" fmla="*/ 455295 w 877252"/>
                  <a:gd name="connsiteY147" fmla="*/ 515303 h 540067"/>
                  <a:gd name="connsiteX148" fmla="*/ 442913 w 877252"/>
                  <a:gd name="connsiteY148" fmla="*/ 505778 h 540067"/>
                  <a:gd name="connsiteX149" fmla="*/ 473393 w 877252"/>
                  <a:gd name="connsiteY149" fmla="*/ 470535 h 540067"/>
                  <a:gd name="connsiteX150" fmla="*/ 469583 w 877252"/>
                  <a:gd name="connsiteY150" fmla="*/ 417195 h 540067"/>
                  <a:gd name="connsiteX151" fmla="*/ 444818 w 877252"/>
                  <a:gd name="connsiteY151" fmla="*/ 407670 h 540067"/>
                  <a:gd name="connsiteX152" fmla="*/ 435293 w 877252"/>
                  <a:gd name="connsiteY152" fmla="*/ 408622 h 540067"/>
                  <a:gd name="connsiteX153" fmla="*/ 421005 w 877252"/>
                  <a:gd name="connsiteY153" fmla="*/ 379095 h 540067"/>
                  <a:gd name="connsiteX154" fmla="*/ 392430 w 877252"/>
                  <a:gd name="connsiteY154" fmla="*/ 368618 h 540067"/>
                  <a:gd name="connsiteX155" fmla="*/ 392430 w 877252"/>
                  <a:gd name="connsiteY155" fmla="*/ 368618 h 540067"/>
                  <a:gd name="connsiteX156" fmla="*/ 379095 w 877252"/>
                  <a:gd name="connsiteY156" fmla="*/ 370522 h 540067"/>
                  <a:gd name="connsiteX157" fmla="*/ 362903 w 877252"/>
                  <a:gd name="connsiteY157" fmla="*/ 335280 h 540067"/>
                  <a:gd name="connsiteX158" fmla="*/ 332423 w 877252"/>
                  <a:gd name="connsiteY158" fmla="*/ 323850 h 540067"/>
                  <a:gd name="connsiteX159" fmla="*/ 332423 w 877252"/>
                  <a:gd name="connsiteY159" fmla="*/ 323850 h 540067"/>
                  <a:gd name="connsiteX160" fmla="*/ 315278 w 877252"/>
                  <a:gd name="connsiteY160" fmla="*/ 326708 h 540067"/>
                  <a:gd name="connsiteX161" fmla="*/ 299085 w 877252"/>
                  <a:gd name="connsiteY161" fmla="*/ 292418 h 540067"/>
                  <a:gd name="connsiteX162" fmla="*/ 268605 w 877252"/>
                  <a:gd name="connsiteY162" fmla="*/ 280988 h 540067"/>
                  <a:gd name="connsiteX163" fmla="*/ 268605 w 877252"/>
                  <a:gd name="connsiteY163" fmla="*/ 280988 h 540067"/>
                  <a:gd name="connsiteX164" fmla="*/ 232410 w 877252"/>
                  <a:gd name="connsiteY164" fmla="*/ 297180 h 540067"/>
                  <a:gd name="connsiteX165" fmla="*/ 207645 w 877252"/>
                  <a:gd name="connsiteY165" fmla="*/ 325755 h 540067"/>
                  <a:gd name="connsiteX166" fmla="*/ 206693 w 877252"/>
                  <a:gd name="connsiteY166" fmla="*/ 324803 h 540067"/>
                  <a:gd name="connsiteX167" fmla="*/ 141923 w 877252"/>
                  <a:gd name="connsiteY167" fmla="*/ 249555 h 540067"/>
                  <a:gd name="connsiteX168" fmla="*/ 224790 w 877252"/>
                  <a:gd name="connsiteY168" fmla="*/ 112395 h 540067"/>
                  <a:gd name="connsiteX169" fmla="*/ 293370 w 877252"/>
                  <a:gd name="connsiteY169" fmla="*/ 126682 h 540067"/>
                  <a:gd name="connsiteX170" fmla="*/ 348615 w 877252"/>
                  <a:gd name="connsiteY170" fmla="*/ 122872 h 540067"/>
                  <a:gd name="connsiteX171" fmla="*/ 354330 w 877252"/>
                  <a:gd name="connsiteY171" fmla="*/ 122872 h 540067"/>
                  <a:gd name="connsiteX172" fmla="*/ 379095 w 877252"/>
                  <a:gd name="connsiteY172" fmla="*/ 126682 h 540067"/>
                  <a:gd name="connsiteX173" fmla="*/ 326708 w 877252"/>
                  <a:gd name="connsiteY173" fmla="*/ 188595 h 540067"/>
                  <a:gd name="connsiteX174" fmla="*/ 312420 w 877252"/>
                  <a:gd name="connsiteY174" fmla="*/ 230505 h 540067"/>
                  <a:gd name="connsiteX175" fmla="*/ 332423 w 877252"/>
                  <a:gd name="connsiteY175" fmla="*/ 269558 h 540067"/>
                  <a:gd name="connsiteX176" fmla="*/ 332423 w 877252"/>
                  <a:gd name="connsiteY176" fmla="*/ 269558 h 540067"/>
                  <a:gd name="connsiteX177" fmla="*/ 332423 w 877252"/>
                  <a:gd name="connsiteY177" fmla="*/ 269558 h 540067"/>
                  <a:gd name="connsiteX178" fmla="*/ 369570 w 877252"/>
                  <a:gd name="connsiteY178" fmla="*/ 282893 h 540067"/>
                  <a:gd name="connsiteX179" fmla="*/ 374333 w 877252"/>
                  <a:gd name="connsiteY179" fmla="*/ 282893 h 540067"/>
                  <a:gd name="connsiteX180" fmla="*/ 413385 w 877252"/>
                  <a:gd name="connsiteY180" fmla="*/ 262890 h 540067"/>
                  <a:gd name="connsiteX181" fmla="*/ 478155 w 877252"/>
                  <a:gd name="connsiteY181" fmla="*/ 188595 h 540067"/>
                  <a:gd name="connsiteX182" fmla="*/ 478155 w 877252"/>
                  <a:gd name="connsiteY182" fmla="*/ 188595 h 540067"/>
                  <a:gd name="connsiteX183" fmla="*/ 488633 w 877252"/>
                  <a:gd name="connsiteY183" fmla="*/ 198120 h 540067"/>
                  <a:gd name="connsiteX184" fmla="*/ 641985 w 877252"/>
                  <a:gd name="connsiteY184" fmla="*/ 329565 h 540067"/>
                  <a:gd name="connsiteX185" fmla="*/ 652463 w 877252"/>
                  <a:gd name="connsiteY185" fmla="*/ 353378 h 540067"/>
                  <a:gd name="connsiteX186" fmla="*/ 652463 w 877252"/>
                  <a:gd name="connsiteY186" fmla="*/ 357188 h 540067"/>
                  <a:gd name="connsiteX187" fmla="*/ 619125 w 877252"/>
                  <a:gd name="connsiteY187" fmla="*/ 396240 h 540067"/>
                  <a:gd name="connsiteX188" fmla="*/ 619125 w 877252"/>
                  <a:gd name="connsiteY188" fmla="*/ 396240 h 540067"/>
                  <a:gd name="connsiteX189" fmla="*/ 665798 w 877252"/>
                  <a:gd name="connsiteY189" fmla="*/ 326708 h 540067"/>
                  <a:gd name="connsiteX190" fmla="*/ 655320 w 877252"/>
                  <a:gd name="connsiteY190" fmla="*/ 314325 h 540067"/>
                  <a:gd name="connsiteX191" fmla="*/ 477203 w 877252"/>
                  <a:gd name="connsiteY191" fmla="*/ 160972 h 540067"/>
                  <a:gd name="connsiteX192" fmla="*/ 399098 w 877252"/>
                  <a:gd name="connsiteY192" fmla="*/ 250508 h 540067"/>
                  <a:gd name="connsiteX193" fmla="*/ 373380 w 877252"/>
                  <a:gd name="connsiteY193" fmla="*/ 263843 h 540067"/>
                  <a:gd name="connsiteX194" fmla="*/ 370523 w 877252"/>
                  <a:gd name="connsiteY194" fmla="*/ 263843 h 540067"/>
                  <a:gd name="connsiteX195" fmla="*/ 344805 w 877252"/>
                  <a:gd name="connsiteY195" fmla="*/ 254318 h 540067"/>
                  <a:gd name="connsiteX196" fmla="*/ 340043 w 877252"/>
                  <a:gd name="connsiteY196" fmla="*/ 201930 h 540067"/>
                  <a:gd name="connsiteX197" fmla="*/ 340995 w 877252"/>
                  <a:gd name="connsiteY197" fmla="*/ 200977 h 540067"/>
                  <a:gd name="connsiteX198" fmla="*/ 416243 w 877252"/>
                  <a:gd name="connsiteY198" fmla="*/ 115252 h 540067"/>
                  <a:gd name="connsiteX199" fmla="*/ 444818 w 877252"/>
                  <a:gd name="connsiteY199" fmla="*/ 102870 h 540067"/>
                  <a:gd name="connsiteX200" fmla="*/ 448628 w 877252"/>
                  <a:gd name="connsiteY200" fmla="*/ 102870 h 540067"/>
                  <a:gd name="connsiteX201" fmla="*/ 453390 w 877252"/>
                  <a:gd name="connsiteY201" fmla="*/ 103823 h 540067"/>
                  <a:gd name="connsiteX202" fmla="*/ 583883 w 877252"/>
                  <a:gd name="connsiteY202" fmla="*/ 127635 h 540067"/>
                  <a:gd name="connsiteX203" fmla="*/ 653415 w 877252"/>
                  <a:gd name="connsiteY203" fmla="*/ 115252 h 540067"/>
                  <a:gd name="connsiteX204" fmla="*/ 708660 w 877252"/>
                  <a:gd name="connsiteY204" fmla="*/ 204788 h 540067"/>
                  <a:gd name="connsiteX205" fmla="*/ 734378 w 877252"/>
                  <a:gd name="connsiteY205" fmla="*/ 247650 h 540067"/>
                  <a:gd name="connsiteX206" fmla="*/ 665798 w 877252"/>
                  <a:gd name="connsiteY206" fmla="*/ 326708 h 540067"/>
                  <a:gd name="connsiteX207" fmla="*/ 779145 w 877252"/>
                  <a:gd name="connsiteY207" fmla="*/ 249555 h 540067"/>
                  <a:gd name="connsiteX208" fmla="*/ 769620 w 877252"/>
                  <a:gd name="connsiteY208" fmla="*/ 252413 h 540067"/>
                  <a:gd name="connsiteX209" fmla="*/ 756285 w 877252"/>
                  <a:gd name="connsiteY209" fmla="*/ 246697 h 540067"/>
                  <a:gd name="connsiteX210" fmla="*/ 750570 w 877252"/>
                  <a:gd name="connsiteY210" fmla="*/ 237172 h 540067"/>
                  <a:gd name="connsiteX211" fmla="*/ 724853 w 877252"/>
                  <a:gd name="connsiteY211" fmla="*/ 195263 h 540067"/>
                  <a:gd name="connsiteX212" fmla="*/ 664845 w 877252"/>
                  <a:gd name="connsiteY212" fmla="*/ 96202 h 540067"/>
                  <a:gd name="connsiteX213" fmla="*/ 669608 w 877252"/>
                  <a:gd name="connsiteY213" fmla="*/ 71438 h 540067"/>
                  <a:gd name="connsiteX214" fmla="*/ 671513 w 877252"/>
                  <a:gd name="connsiteY214" fmla="*/ 70485 h 540067"/>
                  <a:gd name="connsiteX215" fmla="*/ 744855 w 877252"/>
                  <a:gd name="connsiteY215" fmla="*/ 25717 h 540067"/>
                  <a:gd name="connsiteX216" fmla="*/ 852488 w 877252"/>
                  <a:gd name="connsiteY216" fmla="*/ 204788 h 540067"/>
                  <a:gd name="connsiteX217" fmla="*/ 779145 w 877252"/>
                  <a:gd name="connsiteY217" fmla="*/ 249555 h 540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</a:cxnLst>
                <a:rect l="l" t="t" r="r" b="b"/>
                <a:pathLst>
                  <a:path w="877252" h="540067">
                    <a:moveTo>
                      <a:pt x="868680" y="195263"/>
                    </a:moveTo>
                    <a:lnTo>
                      <a:pt x="761048" y="16192"/>
                    </a:lnTo>
                    <a:lnTo>
                      <a:pt x="751523" y="0"/>
                    </a:lnTo>
                    <a:lnTo>
                      <a:pt x="735330" y="10477"/>
                    </a:lnTo>
                    <a:lnTo>
                      <a:pt x="662940" y="55245"/>
                    </a:lnTo>
                    <a:cubicBezTo>
                      <a:pt x="654368" y="60007"/>
                      <a:pt x="647700" y="68580"/>
                      <a:pt x="644843" y="78105"/>
                    </a:cubicBezTo>
                    <a:cubicBezTo>
                      <a:pt x="642938" y="84773"/>
                      <a:pt x="642938" y="92392"/>
                      <a:pt x="645795" y="99060"/>
                    </a:cubicBezTo>
                    <a:cubicBezTo>
                      <a:pt x="625793" y="105727"/>
                      <a:pt x="605790" y="109538"/>
                      <a:pt x="584835" y="109538"/>
                    </a:cubicBezTo>
                    <a:cubicBezTo>
                      <a:pt x="556260" y="108585"/>
                      <a:pt x="527685" y="103823"/>
                      <a:pt x="500063" y="95250"/>
                    </a:cubicBezTo>
                    <a:cubicBezTo>
                      <a:pt x="486728" y="91440"/>
                      <a:pt x="472440" y="88582"/>
                      <a:pt x="458153" y="85725"/>
                    </a:cubicBezTo>
                    <a:lnTo>
                      <a:pt x="456248" y="85725"/>
                    </a:lnTo>
                    <a:lnTo>
                      <a:pt x="456248" y="85725"/>
                    </a:lnTo>
                    <a:cubicBezTo>
                      <a:pt x="455295" y="85725"/>
                      <a:pt x="454343" y="85725"/>
                      <a:pt x="454343" y="85725"/>
                    </a:cubicBezTo>
                    <a:lnTo>
                      <a:pt x="452438" y="85725"/>
                    </a:lnTo>
                    <a:lnTo>
                      <a:pt x="450533" y="85725"/>
                    </a:lnTo>
                    <a:cubicBezTo>
                      <a:pt x="448628" y="85725"/>
                      <a:pt x="447675" y="85725"/>
                      <a:pt x="445770" y="85725"/>
                    </a:cubicBezTo>
                    <a:lnTo>
                      <a:pt x="445770" y="85725"/>
                    </a:lnTo>
                    <a:cubicBezTo>
                      <a:pt x="429578" y="85725"/>
                      <a:pt x="413385" y="92392"/>
                      <a:pt x="402908" y="104775"/>
                    </a:cubicBezTo>
                    <a:lnTo>
                      <a:pt x="395288" y="113348"/>
                    </a:lnTo>
                    <a:cubicBezTo>
                      <a:pt x="382905" y="108585"/>
                      <a:pt x="369570" y="105727"/>
                      <a:pt x="356235" y="105727"/>
                    </a:cubicBezTo>
                    <a:cubicBezTo>
                      <a:pt x="353378" y="105727"/>
                      <a:pt x="351473" y="105727"/>
                      <a:pt x="348615" y="105727"/>
                    </a:cubicBezTo>
                    <a:cubicBezTo>
                      <a:pt x="342900" y="105727"/>
                      <a:pt x="338138" y="106680"/>
                      <a:pt x="332423" y="106680"/>
                    </a:cubicBezTo>
                    <a:cubicBezTo>
                      <a:pt x="320040" y="107632"/>
                      <a:pt x="307658" y="108585"/>
                      <a:pt x="295275" y="108585"/>
                    </a:cubicBezTo>
                    <a:cubicBezTo>
                      <a:pt x="274320" y="109538"/>
                      <a:pt x="253365" y="104775"/>
                      <a:pt x="234315" y="96202"/>
                    </a:cubicBezTo>
                    <a:cubicBezTo>
                      <a:pt x="235268" y="90488"/>
                      <a:pt x="235268" y="84773"/>
                      <a:pt x="234315" y="78105"/>
                    </a:cubicBezTo>
                    <a:cubicBezTo>
                      <a:pt x="231458" y="68580"/>
                      <a:pt x="224790" y="60007"/>
                      <a:pt x="216218" y="55245"/>
                    </a:cubicBezTo>
                    <a:lnTo>
                      <a:pt x="144780" y="10477"/>
                    </a:lnTo>
                    <a:lnTo>
                      <a:pt x="128588" y="0"/>
                    </a:lnTo>
                    <a:lnTo>
                      <a:pt x="119063" y="16192"/>
                    </a:lnTo>
                    <a:lnTo>
                      <a:pt x="9525" y="195263"/>
                    </a:lnTo>
                    <a:lnTo>
                      <a:pt x="0" y="211455"/>
                    </a:lnTo>
                    <a:lnTo>
                      <a:pt x="16192" y="220980"/>
                    </a:lnTo>
                    <a:lnTo>
                      <a:pt x="89535" y="265747"/>
                    </a:lnTo>
                    <a:cubicBezTo>
                      <a:pt x="102870" y="274320"/>
                      <a:pt x="119063" y="273368"/>
                      <a:pt x="131445" y="263843"/>
                    </a:cubicBezTo>
                    <a:lnTo>
                      <a:pt x="193358" y="336233"/>
                    </a:lnTo>
                    <a:lnTo>
                      <a:pt x="194310" y="338138"/>
                    </a:lnTo>
                    <a:lnTo>
                      <a:pt x="196215" y="339090"/>
                    </a:lnTo>
                    <a:lnTo>
                      <a:pt x="196215" y="339090"/>
                    </a:lnTo>
                    <a:lnTo>
                      <a:pt x="182880" y="354330"/>
                    </a:lnTo>
                    <a:cubicBezTo>
                      <a:pt x="165735" y="374333"/>
                      <a:pt x="167640" y="403860"/>
                      <a:pt x="186690" y="421005"/>
                    </a:cubicBezTo>
                    <a:lnTo>
                      <a:pt x="186690" y="421005"/>
                    </a:lnTo>
                    <a:lnTo>
                      <a:pt x="186690" y="421005"/>
                    </a:lnTo>
                    <a:cubicBezTo>
                      <a:pt x="195263" y="428625"/>
                      <a:pt x="205740" y="432435"/>
                      <a:pt x="217170" y="432435"/>
                    </a:cubicBezTo>
                    <a:cubicBezTo>
                      <a:pt x="219075" y="432435"/>
                      <a:pt x="220980" y="432435"/>
                      <a:pt x="222885" y="432435"/>
                    </a:cubicBezTo>
                    <a:cubicBezTo>
                      <a:pt x="229553" y="431483"/>
                      <a:pt x="235268" y="429578"/>
                      <a:pt x="240983" y="425768"/>
                    </a:cubicBezTo>
                    <a:cubicBezTo>
                      <a:pt x="241935" y="437197"/>
                      <a:pt x="247650" y="448628"/>
                      <a:pt x="256223" y="456247"/>
                    </a:cubicBezTo>
                    <a:lnTo>
                      <a:pt x="256223" y="456247"/>
                    </a:lnTo>
                    <a:lnTo>
                      <a:pt x="256223" y="456247"/>
                    </a:lnTo>
                    <a:cubicBezTo>
                      <a:pt x="264795" y="463868"/>
                      <a:pt x="275273" y="467678"/>
                      <a:pt x="286703" y="467678"/>
                    </a:cubicBezTo>
                    <a:cubicBezTo>
                      <a:pt x="287655" y="467678"/>
                      <a:pt x="289560" y="467678"/>
                      <a:pt x="290513" y="467678"/>
                    </a:cubicBezTo>
                    <a:cubicBezTo>
                      <a:pt x="295275" y="467678"/>
                      <a:pt x="300038" y="466725"/>
                      <a:pt x="304800" y="464820"/>
                    </a:cubicBezTo>
                    <a:cubicBezTo>
                      <a:pt x="305753" y="475297"/>
                      <a:pt x="310515" y="485775"/>
                      <a:pt x="319088" y="492443"/>
                    </a:cubicBezTo>
                    <a:lnTo>
                      <a:pt x="319088" y="492443"/>
                    </a:lnTo>
                    <a:lnTo>
                      <a:pt x="319088" y="492443"/>
                    </a:lnTo>
                    <a:cubicBezTo>
                      <a:pt x="326708" y="499110"/>
                      <a:pt x="336233" y="502920"/>
                      <a:pt x="345758" y="502920"/>
                    </a:cubicBezTo>
                    <a:cubicBezTo>
                      <a:pt x="347663" y="502920"/>
                      <a:pt x="348615" y="502920"/>
                      <a:pt x="350520" y="502920"/>
                    </a:cubicBezTo>
                    <a:cubicBezTo>
                      <a:pt x="357188" y="502920"/>
                      <a:pt x="362903" y="500062"/>
                      <a:pt x="368618" y="497205"/>
                    </a:cubicBezTo>
                    <a:cubicBezTo>
                      <a:pt x="370523" y="503872"/>
                      <a:pt x="374333" y="510540"/>
                      <a:pt x="380048" y="515303"/>
                    </a:cubicBezTo>
                    <a:cubicBezTo>
                      <a:pt x="387668" y="521970"/>
                      <a:pt x="397193" y="525780"/>
                      <a:pt x="407670" y="524828"/>
                    </a:cubicBezTo>
                    <a:lnTo>
                      <a:pt x="409575" y="524828"/>
                    </a:lnTo>
                    <a:lnTo>
                      <a:pt x="411480" y="524828"/>
                    </a:lnTo>
                    <a:cubicBezTo>
                      <a:pt x="417195" y="523875"/>
                      <a:pt x="422910" y="521018"/>
                      <a:pt x="427673" y="518160"/>
                    </a:cubicBezTo>
                    <a:lnTo>
                      <a:pt x="428625" y="519112"/>
                    </a:lnTo>
                    <a:lnTo>
                      <a:pt x="441960" y="529590"/>
                    </a:lnTo>
                    <a:lnTo>
                      <a:pt x="442913" y="530543"/>
                    </a:lnTo>
                    <a:lnTo>
                      <a:pt x="443865" y="531495"/>
                    </a:lnTo>
                    <a:cubicBezTo>
                      <a:pt x="452438" y="537210"/>
                      <a:pt x="462915" y="540068"/>
                      <a:pt x="472440" y="540068"/>
                    </a:cubicBezTo>
                    <a:cubicBezTo>
                      <a:pt x="474345" y="540068"/>
                      <a:pt x="476250" y="540068"/>
                      <a:pt x="478155" y="540068"/>
                    </a:cubicBezTo>
                    <a:cubicBezTo>
                      <a:pt x="501968" y="538162"/>
                      <a:pt x="521018" y="521018"/>
                      <a:pt x="527685" y="498158"/>
                    </a:cubicBezTo>
                    <a:cubicBezTo>
                      <a:pt x="548640" y="494347"/>
                      <a:pt x="565785" y="478155"/>
                      <a:pt x="571500" y="457200"/>
                    </a:cubicBezTo>
                    <a:cubicBezTo>
                      <a:pt x="593408" y="452437"/>
                      <a:pt x="610553" y="436245"/>
                      <a:pt x="615315" y="415290"/>
                    </a:cubicBezTo>
                    <a:cubicBezTo>
                      <a:pt x="616268" y="415290"/>
                      <a:pt x="618173" y="415290"/>
                      <a:pt x="619125" y="415290"/>
                    </a:cubicBezTo>
                    <a:cubicBezTo>
                      <a:pt x="649605" y="412433"/>
                      <a:pt x="672465" y="385763"/>
                      <a:pt x="670560" y="355283"/>
                    </a:cubicBezTo>
                    <a:cubicBezTo>
                      <a:pt x="670560" y="353378"/>
                      <a:pt x="670560" y="350520"/>
                      <a:pt x="670560" y="348615"/>
                    </a:cubicBezTo>
                    <a:lnTo>
                      <a:pt x="678180" y="339090"/>
                    </a:lnTo>
                    <a:lnTo>
                      <a:pt x="743903" y="262890"/>
                    </a:lnTo>
                    <a:cubicBezTo>
                      <a:pt x="756285" y="273368"/>
                      <a:pt x="773430" y="273368"/>
                      <a:pt x="787718" y="264795"/>
                    </a:cubicBezTo>
                    <a:lnTo>
                      <a:pt x="861060" y="220027"/>
                    </a:lnTo>
                    <a:lnTo>
                      <a:pt x="877253" y="210502"/>
                    </a:lnTo>
                    <a:lnTo>
                      <a:pt x="868680" y="195263"/>
                    </a:lnTo>
                    <a:close/>
                    <a:moveTo>
                      <a:pt x="99060" y="249555"/>
                    </a:moveTo>
                    <a:lnTo>
                      <a:pt x="25718" y="204788"/>
                    </a:lnTo>
                    <a:lnTo>
                      <a:pt x="134303" y="25717"/>
                    </a:lnTo>
                    <a:lnTo>
                      <a:pt x="206693" y="70485"/>
                    </a:lnTo>
                    <a:cubicBezTo>
                      <a:pt x="214313" y="74295"/>
                      <a:pt x="218123" y="83820"/>
                      <a:pt x="215265" y="91440"/>
                    </a:cubicBezTo>
                    <a:lnTo>
                      <a:pt x="209550" y="100965"/>
                    </a:lnTo>
                    <a:lnTo>
                      <a:pt x="126683" y="238125"/>
                    </a:lnTo>
                    <a:lnTo>
                      <a:pt x="120968" y="246697"/>
                    </a:lnTo>
                    <a:cubicBezTo>
                      <a:pt x="118110" y="249555"/>
                      <a:pt x="113348" y="251460"/>
                      <a:pt x="108585" y="251460"/>
                    </a:cubicBezTo>
                    <a:cubicBezTo>
                      <a:pt x="105728" y="252413"/>
                      <a:pt x="101918" y="251460"/>
                      <a:pt x="99060" y="249555"/>
                    </a:cubicBezTo>
                    <a:close/>
                    <a:moveTo>
                      <a:pt x="220980" y="413385"/>
                    </a:moveTo>
                    <a:cubicBezTo>
                      <a:pt x="220028" y="413385"/>
                      <a:pt x="219075" y="413385"/>
                      <a:pt x="218123" y="413385"/>
                    </a:cubicBezTo>
                    <a:cubicBezTo>
                      <a:pt x="202883" y="413385"/>
                      <a:pt x="190500" y="400050"/>
                      <a:pt x="190500" y="384810"/>
                    </a:cubicBezTo>
                    <a:cubicBezTo>
                      <a:pt x="190500" y="378143"/>
                      <a:pt x="193358" y="371475"/>
                      <a:pt x="197168" y="366713"/>
                    </a:cubicBezTo>
                    <a:lnTo>
                      <a:pt x="247650" y="309563"/>
                    </a:lnTo>
                    <a:cubicBezTo>
                      <a:pt x="253365" y="303847"/>
                      <a:pt x="260985" y="300038"/>
                      <a:pt x="269558" y="300038"/>
                    </a:cubicBezTo>
                    <a:cubicBezTo>
                      <a:pt x="276225" y="300038"/>
                      <a:pt x="282893" y="302895"/>
                      <a:pt x="287655" y="306705"/>
                    </a:cubicBezTo>
                    <a:cubicBezTo>
                      <a:pt x="299085" y="317183"/>
                      <a:pt x="300990" y="335280"/>
                      <a:pt x="290513" y="346710"/>
                    </a:cubicBezTo>
                    <a:lnTo>
                      <a:pt x="240030" y="403860"/>
                    </a:lnTo>
                    <a:cubicBezTo>
                      <a:pt x="235268" y="409575"/>
                      <a:pt x="228600" y="412433"/>
                      <a:pt x="220980" y="413385"/>
                    </a:cubicBezTo>
                    <a:close/>
                    <a:moveTo>
                      <a:pt x="291465" y="449580"/>
                    </a:moveTo>
                    <a:cubicBezTo>
                      <a:pt x="290513" y="449580"/>
                      <a:pt x="289560" y="449580"/>
                      <a:pt x="288608" y="449580"/>
                    </a:cubicBezTo>
                    <a:cubicBezTo>
                      <a:pt x="273368" y="449580"/>
                      <a:pt x="260985" y="436245"/>
                      <a:pt x="260985" y="421005"/>
                    </a:cubicBezTo>
                    <a:cubicBezTo>
                      <a:pt x="260985" y="414338"/>
                      <a:pt x="263843" y="407670"/>
                      <a:pt x="267653" y="402908"/>
                    </a:cubicBezTo>
                    <a:lnTo>
                      <a:pt x="311468" y="352425"/>
                    </a:lnTo>
                    <a:cubicBezTo>
                      <a:pt x="317183" y="346710"/>
                      <a:pt x="324803" y="342900"/>
                      <a:pt x="333375" y="342900"/>
                    </a:cubicBezTo>
                    <a:cubicBezTo>
                      <a:pt x="340043" y="342900"/>
                      <a:pt x="346710" y="345758"/>
                      <a:pt x="351473" y="349568"/>
                    </a:cubicBezTo>
                    <a:cubicBezTo>
                      <a:pt x="362903" y="360045"/>
                      <a:pt x="364808" y="378143"/>
                      <a:pt x="354330" y="389572"/>
                    </a:cubicBezTo>
                    <a:lnTo>
                      <a:pt x="310515" y="440055"/>
                    </a:lnTo>
                    <a:cubicBezTo>
                      <a:pt x="305753" y="445770"/>
                      <a:pt x="299085" y="449580"/>
                      <a:pt x="291465" y="449580"/>
                    </a:cubicBezTo>
                    <a:lnTo>
                      <a:pt x="291465" y="449580"/>
                    </a:lnTo>
                    <a:close/>
                    <a:moveTo>
                      <a:pt x="351473" y="484822"/>
                    </a:moveTo>
                    <a:cubicBezTo>
                      <a:pt x="350520" y="484822"/>
                      <a:pt x="349568" y="484822"/>
                      <a:pt x="348615" y="484822"/>
                    </a:cubicBezTo>
                    <a:cubicBezTo>
                      <a:pt x="342900" y="484822"/>
                      <a:pt x="338138" y="482918"/>
                      <a:pt x="333375" y="479108"/>
                    </a:cubicBezTo>
                    <a:cubicBezTo>
                      <a:pt x="323850" y="470535"/>
                      <a:pt x="322898" y="455295"/>
                      <a:pt x="331470" y="445770"/>
                    </a:cubicBezTo>
                    <a:lnTo>
                      <a:pt x="375285" y="395288"/>
                    </a:lnTo>
                    <a:cubicBezTo>
                      <a:pt x="380048" y="390525"/>
                      <a:pt x="386715" y="387668"/>
                      <a:pt x="393383" y="387668"/>
                    </a:cubicBezTo>
                    <a:cubicBezTo>
                      <a:pt x="399098" y="387668"/>
                      <a:pt x="404813" y="389572"/>
                      <a:pt x="408623" y="393383"/>
                    </a:cubicBezTo>
                    <a:cubicBezTo>
                      <a:pt x="418148" y="401955"/>
                      <a:pt x="419100" y="417195"/>
                      <a:pt x="410528" y="426720"/>
                    </a:cubicBezTo>
                    <a:lnTo>
                      <a:pt x="366713" y="477203"/>
                    </a:lnTo>
                    <a:cubicBezTo>
                      <a:pt x="362903" y="481965"/>
                      <a:pt x="357188" y="484822"/>
                      <a:pt x="351473" y="484822"/>
                    </a:cubicBezTo>
                    <a:lnTo>
                      <a:pt x="351473" y="484822"/>
                    </a:lnTo>
                    <a:close/>
                    <a:moveTo>
                      <a:pt x="409575" y="507683"/>
                    </a:moveTo>
                    <a:cubicBezTo>
                      <a:pt x="404813" y="507683"/>
                      <a:pt x="399098" y="506730"/>
                      <a:pt x="395288" y="502920"/>
                    </a:cubicBezTo>
                    <a:cubicBezTo>
                      <a:pt x="387668" y="496253"/>
                      <a:pt x="386715" y="483870"/>
                      <a:pt x="393383" y="476250"/>
                    </a:cubicBezTo>
                    <a:lnTo>
                      <a:pt x="430530" y="433387"/>
                    </a:lnTo>
                    <a:cubicBezTo>
                      <a:pt x="434340" y="429578"/>
                      <a:pt x="439103" y="426720"/>
                      <a:pt x="444818" y="426720"/>
                    </a:cubicBezTo>
                    <a:cubicBezTo>
                      <a:pt x="449580" y="426720"/>
                      <a:pt x="453390" y="428625"/>
                      <a:pt x="457200" y="431483"/>
                    </a:cubicBezTo>
                    <a:cubicBezTo>
                      <a:pt x="464820" y="438150"/>
                      <a:pt x="465773" y="450533"/>
                      <a:pt x="459105" y="458153"/>
                    </a:cubicBezTo>
                    <a:lnTo>
                      <a:pt x="421958" y="501015"/>
                    </a:lnTo>
                    <a:cubicBezTo>
                      <a:pt x="419100" y="504825"/>
                      <a:pt x="414338" y="506730"/>
                      <a:pt x="409575" y="507683"/>
                    </a:cubicBezTo>
                    <a:lnTo>
                      <a:pt x="409575" y="507683"/>
                    </a:lnTo>
                    <a:close/>
                    <a:moveTo>
                      <a:pt x="619125" y="396240"/>
                    </a:moveTo>
                    <a:cubicBezTo>
                      <a:pt x="618173" y="396240"/>
                      <a:pt x="616268" y="396240"/>
                      <a:pt x="615315" y="396240"/>
                    </a:cubicBezTo>
                    <a:cubicBezTo>
                      <a:pt x="609600" y="396240"/>
                      <a:pt x="603885" y="394335"/>
                      <a:pt x="599123" y="392430"/>
                    </a:cubicBezTo>
                    <a:cubicBezTo>
                      <a:pt x="599123" y="394335"/>
                      <a:pt x="600075" y="396240"/>
                      <a:pt x="600075" y="398145"/>
                    </a:cubicBezTo>
                    <a:cubicBezTo>
                      <a:pt x="601980" y="419100"/>
                      <a:pt x="586740" y="437197"/>
                      <a:pt x="565785" y="439103"/>
                    </a:cubicBezTo>
                    <a:cubicBezTo>
                      <a:pt x="565785" y="439103"/>
                      <a:pt x="565785" y="439103"/>
                      <a:pt x="565785" y="439103"/>
                    </a:cubicBezTo>
                    <a:cubicBezTo>
                      <a:pt x="562928" y="439103"/>
                      <a:pt x="559118" y="439103"/>
                      <a:pt x="556260" y="438150"/>
                    </a:cubicBezTo>
                    <a:lnTo>
                      <a:pt x="556260" y="439103"/>
                    </a:lnTo>
                    <a:cubicBezTo>
                      <a:pt x="558165" y="460058"/>
                      <a:pt x="542925" y="478155"/>
                      <a:pt x="521970" y="480060"/>
                    </a:cubicBezTo>
                    <a:cubicBezTo>
                      <a:pt x="521970" y="480060"/>
                      <a:pt x="521970" y="480060"/>
                      <a:pt x="521970" y="480060"/>
                    </a:cubicBezTo>
                    <a:cubicBezTo>
                      <a:pt x="519113" y="480060"/>
                      <a:pt x="515303" y="480060"/>
                      <a:pt x="512445" y="479108"/>
                    </a:cubicBezTo>
                    <a:lnTo>
                      <a:pt x="512445" y="480060"/>
                    </a:lnTo>
                    <a:cubicBezTo>
                      <a:pt x="514350" y="501015"/>
                      <a:pt x="499110" y="519112"/>
                      <a:pt x="478155" y="521018"/>
                    </a:cubicBezTo>
                    <a:cubicBezTo>
                      <a:pt x="478155" y="521018"/>
                      <a:pt x="478155" y="521018"/>
                      <a:pt x="478155" y="521018"/>
                    </a:cubicBezTo>
                    <a:cubicBezTo>
                      <a:pt x="477203" y="521018"/>
                      <a:pt x="476250" y="521018"/>
                      <a:pt x="475298" y="521018"/>
                    </a:cubicBezTo>
                    <a:cubicBezTo>
                      <a:pt x="468630" y="521018"/>
                      <a:pt x="461963" y="519112"/>
                      <a:pt x="455295" y="515303"/>
                    </a:cubicBezTo>
                    <a:lnTo>
                      <a:pt x="442913" y="505778"/>
                    </a:lnTo>
                    <a:lnTo>
                      <a:pt x="473393" y="470535"/>
                    </a:lnTo>
                    <a:cubicBezTo>
                      <a:pt x="486728" y="454343"/>
                      <a:pt x="484823" y="430530"/>
                      <a:pt x="469583" y="417195"/>
                    </a:cubicBezTo>
                    <a:cubicBezTo>
                      <a:pt x="462915" y="411480"/>
                      <a:pt x="454343" y="407670"/>
                      <a:pt x="444818" y="407670"/>
                    </a:cubicBezTo>
                    <a:cubicBezTo>
                      <a:pt x="441960" y="407670"/>
                      <a:pt x="438150" y="407670"/>
                      <a:pt x="435293" y="408622"/>
                    </a:cubicBezTo>
                    <a:cubicBezTo>
                      <a:pt x="434340" y="397193"/>
                      <a:pt x="429578" y="386715"/>
                      <a:pt x="421005" y="379095"/>
                    </a:cubicBezTo>
                    <a:cubicBezTo>
                      <a:pt x="413385" y="372428"/>
                      <a:pt x="402908" y="368618"/>
                      <a:pt x="392430" y="368618"/>
                    </a:cubicBezTo>
                    <a:lnTo>
                      <a:pt x="392430" y="368618"/>
                    </a:lnTo>
                    <a:cubicBezTo>
                      <a:pt x="387668" y="368618"/>
                      <a:pt x="383858" y="369570"/>
                      <a:pt x="379095" y="370522"/>
                    </a:cubicBezTo>
                    <a:cubicBezTo>
                      <a:pt x="379095" y="357188"/>
                      <a:pt x="373380" y="344805"/>
                      <a:pt x="362903" y="335280"/>
                    </a:cubicBezTo>
                    <a:cubicBezTo>
                      <a:pt x="354330" y="327660"/>
                      <a:pt x="343853" y="322897"/>
                      <a:pt x="332423" y="323850"/>
                    </a:cubicBezTo>
                    <a:lnTo>
                      <a:pt x="332423" y="323850"/>
                    </a:lnTo>
                    <a:cubicBezTo>
                      <a:pt x="326708" y="323850"/>
                      <a:pt x="320993" y="324803"/>
                      <a:pt x="315278" y="326708"/>
                    </a:cubicBezTo>
                    <a:cubicBezTo>
                      <a:pt x="314325" y="313372"/>
                      <a:pt x="308610" y="300990"/>
                      <a:pt x="299085" y="292418"/>
                    </a:cubicBezTo>
                    <a:cubicBezTo>
                      <a:pt x="290513" y="284797"/>
                      <a:pt x="280035" y="280035"/>
                      <a:pt x="268605" y="280988"/>
                    </a:cubicBezTo>
                    <a:lnTo>
                      <a:pt x="268605" y="280988"/>
                    </a:lnTo>
                    <a:cubicBezTo>
                      <a:pt x="255270" y="280988"/>
                      <a:pt x="241935" y="286703"/>
                      <a:pt x="232410" y="297180"/>
                    </a:cubicBezTo>
                    <a:lnTo>
                      <a:pt x="207645" y="325755"/>
                    </a:lnTo>
                    <a:lnTo>
                      <a:pt x="206693" y="324803"/>
                    </a:lnTo>
                    <a:lnTo>
                      <a:pt x="141923" y="249555"/>
                    </a:lnTo>
                    <a:lnTo>
                      <a:pt x="224790" y="112395"/>
                    </a:lnTo>
                    <a:cubicBezTo>
                      <a:pt x="245745" y="122872"/>
                      <a:pt x="269558" y="127635"/>
                      <a:pt x="293370" y="126682"/>
                    </a:cubicBezTo>
                    <a:cubicBezTo>
                      <a:pt x="312420" y="126682"/>
                      <a:pt x="331470" y="124777"/>
                      <a:pt x="348615" y="122872"/>
                    </a:cubicBezTo>
                    <a:cubicBezTo>
                      <a:pt x="350520" y="122872"/>
                      <a:pt x="352425" y="122872"/>
                      <a:pt x="354330" y="122872"/>
                    </a:cubicBezTo>
                    <a:cubicBezTo>
                      <a:pt x="362903" y="122872"/>
                      <a:pt x="371475" y="123825"/>
                      <a:pt x="379095" y="126682"/>
                    </a:cubicBezTo>
                    <a:lnTo>
                      <a:pt x="326708" y="188595"/>
                    </a:lnTo>
                    <a:cubicBezTo>
                      <a:pt x="316230" y="200025"/>
                      <a:pt x="311468" y="215265"/>
                      <a:pt x="312420" y="230505"/>
                    </a:cubicBezTo>
                    <a:cubicBezTo>
                      <a:pt x="313373" y="245745"/>
                      <a:pt x="320993" y="259080"/>
                      <a:pt x="332423" y="269558"/>
                    </a:cubicBezTo>
                    <a:lnTo>
                      <a:pt x="332423" y="269558"/>
                    </a:lnTo>
                    <a:lnTo>
                      <a:pt x="332423" y="269558"/>
                    </a:lnTo>
                    <a:cubicBezTo>
                      <a:pt x="342900" y="278130"/>
                      <a:pt x="356235" y="282893"/>
                      <a:pt x="369570" y="282893"/>
                    </a:cubicBezTo>
                    <a:cubicBezTo>
                      <a:pt x="371475" y="282893"/>
                      <a:pt x="372428" y="282893"/>
                      <a:pt x="374333" y="282893"/>
                    </a:cubicBezTo>
                    <a:cubicBezTo>
                      <a:pt x="389573" y="281940"/>
                      <a:pt x="403860" y="274320"/>
                      <a:pt x="413385" y="262890"/>
                    </a:cubicBezTo>
                    <a:lnTo>
                      <a:pt x="478155" y="188595"/>
                    </a:lnTo>
                    <a:lnTo>
                      <a:pt x="478155" y="188595"/>
                    </a:lnTo>
                    <a:lnTo>
                      <a:pt x="488633" y="198120"/>
                    </a:lnTo>
                    <a:lnTo>
                      <a:pt x="641985" y="329565"/>
                    </a:lnTo>
                    <a:cubicBezTo>
                      <a:pt x="648653" y="335280"/>
                      <a:pt x="652463" y="344805"/>
                      <a:pt x="652463" y="353378"/>
                    </a:cubicBezTo>
                    <a:cubicBezTo>
                      <a:pt x="652463" y="354330"/>
                      <a:pt x="652463" y="357188"/>
                      <a:pt x="652463" y="357188"/>
                    </a:cubicBezTo>
                    <a:cubicBezTo>
                      <a:pt x="654368" y="377190"/>
                      <a:pt x="639128" y="394335"/>
                      <a:pt x="619125" y="396240"/>
                    </a:cubicBezTo>
                    <a:cubicBezTo>
                      <a:pt x="619125" y="396240"/>
                      <a:pt x="619125" y="396240"/>
                      <a:pt x="619125" y="396240"/>
                    </a:cubicBezTo>
                    <a:close/>
                    <a:moveTo>
                      <a:pt x="665798" y="326708"/>
                    </a:moveTo>
                    <a:cubicBezTo>
                      <a:pt x="662940" y="321945"/>
                      <a:pt x="659130" y="318135"/>
                      <a:pt x="655320" y="314325"/>
                    </a:cubicBezTo>
                    <a:lnTo>
                      <a:pt x="477203" y="160972"/>
                    </a:lnTo>
                    <a:lnTo>
                      <a:pt x="399098" y="250508"/>
                    </a:lnTo>
                    <a:cubicBezTo>
                      <a:pt x="392430" y="258127"/>
                      <a:pt x="383858" y="262890"/>
                      <a:pt x="373380" y="263843"/>
                    </a:cubicBezTo>
                    <a:cubicBezTo>
                      <a:pt x="372428" y="263843"/>
                      <a:pt x="371475" y="263843"/>
                      <a:pt x="370523" y="263843"/>
                    </a:cubicBezTo>
                    <a:cubicBezTo>
                      <a:pt x="360998" y="263843"/>
                      <a:pt x="352425" y="260033"/>
                      <a:pt x="344805" y="254318"/>
                    </a:cubicBezTo>
                    <a:cubicBezTo>
                      <a:pt x="328613" y="240983"/>
                      <a:pt x="326708" y="218122"/>
                      <a:pt x="340043" y="201930"/>
                    </a:cubicBezTo>
                    <a:cubicBezTo>
                      <a:pt x="340043" y="201930"/>
                      <a:pt x="340995" y="200977"/>
                      <a:pt x="340995" y="200977"/>
                    </a:cubicBezTo>
                    <a:lnTo>
                      <a:pt x="416243" y="115252"/>
                    </a:lnTo>
                    <a:cubicBezTo>
                      <a:pt x="423863" y="106680"/>
                      <a:pt x="434340" y="102870"/>
                      <a:pt x="444818" y="102870"/>
                    </a:cubicBezTo>
                    <a:cubicBezTo>
                      <a:pt x="445770" y="102870"/>
                      <a:pt x="446723" y="102870"/>
                      <a:pt x="448628" y="102870"/>
                    </a:cubicBezTo>
                    <a:cubicBezTo>
                      <a:pt x="450533" y="102870"/>
                      <a:pt x="451485" y="103823"/>
                      <a:pt x="453390" y="103823"/>
                    </a:cubicBezTo>
                    <a:cubicBezTo>
                      <a:pt x="497205" y="112395"/>
                      <a:pt x="537210" y="127635"/>
                      <a:pt x="583883" y="127635"/>
                    </a:cubicBezTo>
                    <a:cubicBezTo>
                      <a:pt x="607695" y="127635"/>
                      <a:pt x="631508" y="123825"/>
                      <a:pt x="653415" y="115252"/>
                    </a:cubicBezTo>
                    <a:lnTo>
                      <a:pt x="708660" y="204788"/>
                    </a:lnTo>
                    <a:lnTo>
                      <a:pt x="734378" y="247650"/>
                    </a:lnTo>
                    <a:lnTo>
                      <a:pt x="665798" y="326708"/>
                    </a:lnTo>
                    <a:close/>
                    <a:moveTo>
                      <a:pt x="779145" y="249555"/>
                    </a:moveTo>
                    <a:cubicBezTo>
                      <a:pt x="776288" y="251460"/>
                      <a:pt x="772478" y="252413"/>
                      <a:pt x="769620" y="252413"/>
                    </a:cubicBezTo>
                    <a:cubicBezTo>
                      <a:pt x="764858" y="252413"/>
                      <a:pt x="760095" y="250508"/>
                      <a:pt x="756285" y="246697"/>
                    </a:cubicBezTo>
                    <a:lnTo>
                      <a:pt x="750570" y="237172"/>
                    </a:lnTo>
                    <a:lnTo>
                      <a:pt x="724853" y="195263"/>
                    </a:lnTo>
                    <a:lnTo>
                      <a:pt x="664845" y="96202"/>
                    </a:lnTo>
                    <a:cubicBezTo>
                      <a:pt x="659130" y="87630"/>
                      <a:pt x="661988" y="77152"/>
                      <a:pt x="669608" y="71438"/>
                    </a:cubicBezTo>
                    <a:cubicBezTo>
                      <a:pt x="670560" y="71438"/>
                      <a:pt x="670560" y="70485"/>
                      <a:pt x="671513" y="70485"/>
                    </a:cubicBezTo>
                    <a:lnTo>
                      <a:pt x="744855" y="25717"/>
                    </a:lnTo>
                    <a:lnTo>
                      <a:pt x="852488" y="204788"/>
                    </a:lnTo>
                    <a:lnTo>
                      <a:pt x="779145" y="249555"/>
                    </a:lnTo>
                    <a:close/>
                  </a:path>
                </a:pathLst>
              </a:custGeom>
              <a:solidFill>
                <a:srgbClr val="1018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uk-UA"/>
              </a:p>
            </p:txBody>
          </p:sp>
        </p:grpSp>
        <p:grpSp>
          <p:nvGrpSpPr>
            <p:cNvPr id="1080" name="Групувати 1079">
              <a:extLst>
                <a:ext uri="{FF2B5EF4-FFF2-40B4-BE49-F238E27FC236}">
                  <a16:creationId xmlns:a16="http://schemas.microsoft.com/office/drawing/2014/main" id="{9076E0DA-C266-AA45-F4BC-6050B5E61073}"/>
                </a:ext>
              </a:extLst>
            </p:cNvPr>
            <p:cNvGrpSpPr/>
            <p:nvPr/>
          </p:nvGrpSpPr>
          <p:grpSpPr>
            <a:xfrm>
              <a:off x="10013623" y="2009125"/>
              <a:ext cx="409918" cy="465886"/>
              <a:chOff x="10054005" y="2061310"/>
              <a:chExt cx="276525" cy="314282"/>
            </a:xfrm>
          </p:grpSpPr>
          <p:sp>
            <p:nvSpPr>
              <p:cNvPr id="1045" name="Графіка 1043" descr="Euro with solid fill">
                <a:extLst>
                  <a:ext uri="{FF2B5EF4-FFF2-40B4-BE49-F238E27FC236}">
                    <a16:creationId xmlns:a16="http://schemas.microsoft.com/office/drawing/2014/main" id="{232E3844-3202-33E8-CF0D-8FE538E261EA}"/>
                  </a:ext>
                </a:extLst>
              </p:cNvPr>
              <p:cNvSpPr/>
              <p:nvPr/>
            </p:nvSpPr>
            <p:spPr>
              <a:xfrm>
                <a:off x="10062332" y="2061310"/>
                <a:ext cx="268198" cy="298684"/>
              </a:xfrm>
              <a:custGeom>
                <a:avLst/>
                <a:gdLst>
                  <a:gd name="connsiteX0" fmla="*/ 520351 w 551687"/>
                  <a:gd name="connsiteY0" fmla="*/ 634365 h 742950"/>
                  <a:gd name="connsiteX1" fmla="*/ 357188 w 551687"/>
                  <a:gd name="connsiteY1" fmla="*/ 685800 h 742950"/>
                  <a:gd name="connsiteX2" fmla="*/ 130969 w 551687"/>
                  <a:gd name="connsiteY2" fmla="*/ 457200 h 742950"/>
                  <a:gd name="connsiteX3" fmla="*/ 400050 w 551687"/>
                  <a:gd name="connsiteY3" fmla="*/ 457200 h 742950"/>
                  <a:gd name="connsiteX4" fmla="*/ 400050 w 551687"/>
                  <a:gd name="connsiteY4" fmla="*/ 400050 h 742950"/>
                  <a:gd name="connsiteX5" fmla="*/ 124397 w 551687"/>
                  <a:gd name="connsiteY5" fmla="*/ 400050 h 742950"/>
                  <a:gd name="connsiteX6" fmla="*/ 123825 w 551687"/>
                  <a:gd name="connsiteY6" fmla="*/ 371475 h 742950"/>
                  <a:gd name="connsiteX7" fmla="*/ 124587 w 551687"/>
                  <a:gd name="connsiteY7" fmla="*/ 342900 h 742950"/>
                  <a:gd name="connsiteX8" fmla="*/ 400050 w 551687"/>
                  <a:gd name="connsiteY8" fmla="*/ 342900 h 742950"/>
                  <a:gd name="connsiteX9" fmla="*/ 400050 w 551687"/>
                  <a:gd name="connsiteY9" fmla="*/ 285750 h 742950"/>
                  <a:gd name="connsiteX10" fmla="*/ 130969 w 551687"/>
                  <a:gd name="connsiteY10" fmla="*/ 285750 h 742950"/>
                  <a:gd name="connsiteX11" fmla="*/ 357188 w 551687"/>
                  <a:gd name="connsiteY11" fmla="*/ 57150 h 742950"/>
                  <a:gd name="connsiteX12" fmla="*/ 520351 w 551687"/>
                  <a:gd name="connsiteY12" fmla="*/ 108585 h 742950"/>
                  <a:gd name="connsiteX13" fmla="*/ 551688 w 551687"/>
                  <a:gd name="connsiteY13" fmla="*/ 60960 h 742950"/>
                  <a:gd name="connsiteX14" fmla="*/ 357188 w 551687"/>
                  <a:gd name="connsiteY14" fmla="*/ 0 h 742950"/>
                  <a:gd name="connsiteX15" fmla="*/ 73152 w 551687"/>
                  <a:gd name="connsiteY15" fmla="*/ 285750 h 742950"/>
                  <a:gd name="connsiteX16" fmla="*/ 0 w 551687"/>
                  <a:gd name="connsiteY16" fmla="*/ 285750 h 742950"/>
                  <a:gd name="connsiteX17" fmla="*/ 0 w 551687"/>
                  <a:gd name="connsiteY17" fmla="*/ 342900 h 742950"/>
                  <a:gd name="connsiteX18" fmla="*/ 67628 w 551687"/>
                  <a:gd name="connsiteY18" fmla="*/ 342900 h 742950"/>
                  <a:gd name="connsiteX19" fmla="*/ 66866 w 551687"/>
                  <a:gd name="connsiteY19" fmla="*/ 371475 h 742950"/>
                  <a:gd name="connsiteX20" fmla="*/ 67628 w 551687"/>
                  <a:gd name="connsiteY20" fmla="*/ 400050 h 742950"/>
                  <a:gd name="connsiteX21" fmla="*/ 0 w 551687"/>
                  <a:gd name="connsiteY21" fmla="*/ 400050 h 742950"/>
                  <a:gd name="connsiteX22" fmla="*/ 0 w 551687"/>
                  <a:gd name="connsiteY22" fmla="*/ 457200 h 742950"/>
                  <a:gd name="connsiteX23" fmla="*/ 73152 w 551687"/>
                  <a:gd name="connsiteY23" fmla="*/ 457200 h 742950"/>
                  <a:gd name="connsiteX24" fmla="*/ 357188 w 551687"/>
                  <a:gd name="connsiteY24" fmla="*/ 742950 h 742950"/>
                  <a:gd name="connsiteX25" fmla="*/ 551688 w 551687"/>
                  <a:gd name="connsiteY25" fmla="*/ 681800 h 74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51687" h="742950">
                    <a:moveTo>
                      <a:pt x="520351" y="634365"/>
                    </a:moveTo>
                    <a:cubicBezTo>
                      <a:pt x="472230" y="667235"/>
                      <a:pt x="415460" y="685131"/>
                      <a:pt x="357188" y="685800"/>
                    </a:cubicBezTo>
                    <a:cubicBezTo>
                      <a:pt x="218218" y="685800"/>
                      <a:pt x="151543" y="575882"/>
                      <a:pt x="130969" y="457200"/>
                    </a:cubicBezTo>
                    <a:lnTo>
                      <a:pt x="400050" y="457200"/>
                    </a:lnTo>
                    <a:lnTo>
                      <a:pt x="400050" y="400050"/>
                    </a:lnTo>
                    <a:lnTo>
                      <a:pt x="124397" y="400050"/>
                    </a:lnTo>
                    <a:cubicBezTo>
                      <a:pt x="123825" y="390525"/>
                      <a:pt x="123825" y="381000"/>
                      <a:pt x="123825" y="371475"/>
                    </a:cubicBezTo>
                    <a:cubicBezTo>
                      <a:pt x="123825" y="361950"/>
                      <a:pt x="123825" y="352425"/>
                      <a:pt x="124587" y="342900"/>
                    </a:cubicBezTo>
                    <a:lnTo>
                      <a:pt x="400050" y="342900"/>
                    </a:lnTo>
                    <a:lnTo>
                      <a:pt x="400050" y="285750"/>
                    </a:lnTo>
                    <a:lnTo>
                      <a:pt x="130969" y="285750"/>
                    </a:lnTo>
                    <a:cubicBezTo>
                      <a:pt x="151543" y="167069"/>
                      <a:pt x="218218" y="57150"/>
                      <a:pt x="357188" y="57150"/>
                    </a:cubicBezTo>
                    <a:cubicBezTo>
                      <a:pt x="415454" y="57852"/>
                      <a:pt x="472215" y="75746"/>
                      <a:pt x="520351" y="108585"/>
                    </a:cubicBezTo>
                    <a:lnTo>
                      <a:pt x="551688" y="60960"/>
                    </a:lnTo>
                    <a:cubicBezTo>
                      <a:pt x="494274" y="21926"/>
                      <a:pt x="426610" y="718"/>
                      <a:pt x="357188" y="0"/>
                    </a:cubicBezTo>
                    <a:cubicBezTo>
                      <a:pt x="206978" y="0"/>
                      <a:pt x="99441" y="111919"/>
                      <a:pt x="73152" y="285750"/>
                    </a:cubicBezTo>
                    <a:lnTo>
                      <a:pt x="0" y="285750"/>
                    </a:lnTo>
                    <a:lnTo>
                      <a:pt x="0" y="342900"/>
                    </a:lnTo>
                    <a:lnTo>
                      <a:pt x="67628" y="342900"/>
                    </a:lnTo>
                    <a:cubicBezTo>
                      <a:pt x="67151" y="352425"/>
                      <a:pt x="66866" y="361950"/>
                      <a:pt x="66866" y="371475"/>
                    </a:cubicBezTo>
                    <a:cubicBezTo>
                      <a:pt x="66866" y="381000"/>
                      <a:pt x="66866" y="390525"/>
                      <a:pt x="67628" y="400050"/>
                    </a:cubicBezTo>
                    <a:lnTo>
                      <a:pt x="0" y="400050"/>
                    </a:lnTo>
                    <a:lnTo>
                      <a:pt x="0" y="457200"/>
                    </a:lnTo>
                    <a:lnTo>
                      <a:pt x="73152" y="457200"/>
                    </a:lnTo>
                    <a:cubicBezTo>
                      <a:pt x="99441" y="631031"/>
                      <a:pt x="206502" y="742950"/>
                      <a:pt x="357188" y="742950"/>
                    </a:cubicBezTo>
                    <a:cubicBezTo>
                      <a:pt x="426630" y="742176"/>
                      <a:pt x="494295" y="720902"/>
                      <a:pt x="551688" y="681800"/>
                    </a:cubicBezTo>
                    <a:close/>
                  </a:path>
                </a:pathLst>
              </a:custGeom>
              <a:solidFill>
                <a:srgbClr val="00A1D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uk-UA"/>
              </a:p>
            </p:txBody>
          </p:sp>
          <p:sp>
            <p:nvSpPr>
              <p:cNvPr id="1079" name="Графіка 1043" descr="Euro with solid fill">
                <a:extLst>
                  <a:ext uri="{FF2B5EF4-FFF2-40B4-BE49-F238E27FC236}">
                    <a16:creationId xmlns:a16="http://schemas.microsoft.com/office/drawing/2014/main" id="{2FA67F5A-BBB8-46E3-89D4-FB927E1E2162}"/>
                  </a:ext>
                </a:extLst>
              </p:cNvPr>
              <p:cNvSpPr/>
              <p:nvPr/>
            </p:nvSpPr>
            <p:spPr>
              <a:xfrm>
                <a:off x="10054005" y="2076908"/>
                <a:ext cx="268198" cy="298684"/>
              </a:xfrm>
              <a:custGeom>
                <a:avLst/>
                <a:gdLst>
                  <a:gd name="connsiteX0" fmla="*/ 520351 w 551687"/>
                  <a:gd name="connsiteY0" fmla="*/ 634365 h 742950"/>
                  <a:gd name="connsiteX1" fmla="*/ 357188 w 551687"/>
                  <a:gd name="connsiteY1" fmla="*/ 685800 h 742950"/>
                  <a:gd name="connsiteX2" fmla="*/ 130969 w 551687"/>
                  <a:gd name="connsiteY2" fmla="*/ 457200 h 742950"/>
                  <a:gd name="connsiteX3" fmla="*/ 400050 w 551687"/>
                  <a:gd name="connsiteY3" fmla="*/ 457200 h 742950"/>
                  <a:gd name="connsiteX4" fmla="*/ 400050 w 551687"/>
                  <a:gd name="connsiteY4" fmla="*/ 400050 h 742950"/>
                  <a:gd name="connsiteX5" fmla="*/ 124397 w 551687"/>
                  <a:gd name="connsiteY5" fmla="*/ 400050 h 742950"/>
                  <a:gd name="connsiteX6" fmla="*/ 123825 w 551687"/>
                  <a:gd name="connsiteY6" fmla="*/ 371475 h 742950"/>
                  <a:gd name="connsiteX7" fmla="*/ 124587 w 551687"/>
                  <a:gd name="connsiteY7" fmla="*/ 342900 h 742950"/>
                  <a:gd name="connsiteX8" fmla="*/ 400050 w 551687"/>
                  <a:gd name="connsiteY8" fmla="*/ 342900 h 742950"/>
                  <a:gd name="connsiteX9" fmla="*/ 400050 w 551687"/>
                  <a:gd name="connsiteY9" fmla="*/ 285750 h 742950"/>
                  <a:gd name="connsiteX10" fmla="*/ 130969 w 551687"/>
                  <a:gd name="connsiteY10" fmla="*/ 285750 h 742950"/>
                  <a:gd name="connsiteX11" fmla="*/ 357188 w 551687"/>
                  <a:gd name="connsiteY11" fmla="*/ 57150 h 742950"/>
                  <a:gd name="connsiteX12" fmla="*/ 520351 w 551687"/>
                  <a:gd name="connsiteY12" fmla="*/ 108585 h 742950"/>
                  <a:gd name="connsiteX13" fmla="*/ 551688 w 551687"/>
                  <a:gd name="connsiteY13" fmla="*/ 60960 h 742950"/>
                  <a:gd name="connsiteX14" fmla="*/ 357188 w 551687"/>
                  <a:gd name="connsiteY14" fmla="*/ 0 h 742950"/>
                  <a:gd name="connsiteX15" fmla="*/ 73152 w 551687"/>
                  <a:gd name="connsiteY15" fmla="*/ 285750 h 742950"/>
                  <a:gd name="connsiteX16" fmla="*/ 0 w 551687"/>
                  <a:gd name="connsiteY16" fmla="*/ 285750 h 742950"/>
                  <a:gd name="connsiteX17" fmla="*/ 0 w 551687"/>
                  <a:gd name="connsiteY17" fmla="*/ 342900 h 742950"/>
                  <a:gd name="connsiteX18" fmla="*/ 67628 w 551687"/>
                  <a:gd name="connsiteY18" fmla="*/ 342900 h 742950"/>
                  <a:gd name="connsiteX19" fmla="*/ 66866 w 551687"/>
                  <a:gd name="connsiteY19" fmla="*/ 371475 h 742950"/>
                  <a:gd name="connsiteX20" fmla="*/ 67628 w 551687"/>
                  <a:gd name="connsiteY20" fmla="*/ 400050 h 742950"/>
                  <a:gd name="connsiteX21" fmla="*/ 0 w 551687"/>
                  <a:gd name="connsiteY21" fmla="*/ 400050 h 742950"/>
                  <a:gd name="connsiteX22" fmla="*/ 0 w 551687"/>
                  <a:gd name="connsiteY22" fmla="*/ 457200 h 742950"/>
                  <a:gd name="connsiteX23" fmla="*/ 73152 w 551687"/>
                  <a:gd name="connsiteY23" fmla="*/ 457200 h 742950"/>
                  <a:gd name="connsiteX24" fmla="*/ 357188 w 551687"/>
                  <a:gd name="connsiteY24" fmla="*/ 742950 h 742950"/>
                  <a:gd name="connsiteX25" fmla="*/ 551688 w 551687"/>
                  <a:gd name="connsiteY25" fmla="*/ 681800 h 74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51687" h="742950">
                    <a:moveTo>
                      <a:pt x="520351" y="634365"/>
                    </a:moveTo>
                    <a:cubicBezTo>
                      <a:pt x="472230" y="667235"/>
                      <a:pt x="415460" y="685131"/>
                      <a:pt x="357188" y="685800"/>
                    </a:cubicBezTo>
                    <a:cubicBezTo>
                      <a:pt x="218218" y="685800"/>
                      <a:pt x="151543" y="575882"/>
                      <a:pt x="130969" y="457200"/>
                    </a:cubicBezTo>
                    <a:lnTo>
                      <a:pt x="400050" y="457200"/>
                    </a:lnTo>
                    <a:lnTo>
                      <a:pt x="400050" y="400050"/>
                    </a:lnTo>
                    <a:lnTo>
                      <a:pt x="124397" y="400050"/>
                    </a:lnTo>
                    <a:cubicBezTo>
                      <a:pt x="123825" y="390525"/>
                      <a:pt x="123825" y="381000"/>
                      <a:pt x="123825" y="371475"/>
                    </a:cubicBezTo>
                    <a:cubicBezTo>
                      <a:pt x="123825" y="361950"/>
                      <a:pt x="123825" y="352425"/>
                      <a:pt x="124587" y="342900"/>
                    </a:cubicBezTo>
                    <a:lnTo>
                      <a:pt x="400050" y="342900"/>
                    </a:lnTo>
                    <a:lnTo>
                      <a:pt x="400050" y="285750"/>
                    </a:lnTo>
                    <a:lnTo>
                      <a:pt x="130969" y="285750"/>
                    </a:lnTo>
                    <a:cubicBezTo>
                      <a:pt x="151543" y="167069"/>
                      <a:pt x="218218" y="57150"/>
                      <a:pt x="357188" y="57150"/>
                    </a:cubicBezTo>
                    <a:cubicBezTo>
                      <a:pt x="415454" y="57852"/>
                      <a:pt x="472215" y="75746"/>
                      <a:pt x="520351" y="108585"/>
                    </a:cubicBezTo>
                    <a:lnTo>
                      <a:pt x="551688" y="60960"/>
                    </a:lnTo>
                    <a:cubicBezTo>
                      <a:pt x="494274" y="21926"/>
                      <a:pt x="426610" y="718"/>
                      <a:pt x="357188" y="0"/>
                    </a:cubicBezTo>
                    <a:cubicBezTo>
                      <a:pt x="206978" y="0"/>
                      <a:pt x="99441" y="111919"/>
                      <a:pt x="73152" y="285750"/>
                    </a:cubicBezTo>
                    <a:lnTo>
                      <a:pt x="0" y="285750"/>
                    </a:lnTo>
                    <a:lnTo>
                      <a:pt x="0" y="342900"/>
                    </a:lnTo>
                    <a:lnTo>
                      <a:pt x="67628" y="342900"/>
                    </a:lnTo>
                    <a:cubicBezTo>
                      <a:pt x="67151" y="352425"/>
                      <a:pt x="66866" y="361950"/>
                      <a:pt x="66866" y="371475"/>
                    </a:cubicBezTo>
                    <a:cubicBezTo>
                      <a:pt x="66866" y="381000"/>
                      <a:pt x="66866" y="390525"/>
                      <a:pt x="67628" y="400050"/>
                    </a:cubicBezTo>
                    <a:lnTo>
                      <a:pt x="0" y="400050"/>
                    </a:lnTo>
                    <a:lnTo>
                      <a:pt x="0" y="457200"/>
                    </a:lnTo>
                    <a:lnTo>
                      <a:pt x="73152" y="457200"/>
                    </a:lnTo>
                    <a:cubicBezTo>
                      <a:pt x="99441" y="631031"/>
                      <a:pt x="206502" y="742950"/>
                      <a:pt x="357188" y="742950"/>
                    </a:cubicBezTo>
                    <a:cubicBezTo>
                      <a:pt x="426630" y="742176"/>
                      <a:pt x="494295" y="720902"/>
                      <a:pt x="551688" y="681800"/>
                    </a:cubicBezTo>
                    <a:close/>
                  </a:path>
                </a:pathLst>
              </a:custGeom>
              <a:solidFill>
                <a:srgbClr val="10182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uk-UA"/>
              </a:p>
            </p:txBody>
          </p:sp>
        </p:grpSp>
        <p:grpSp>
          <p:nvGrpSpPr>
            <p:cNvPr id="1092" name="Групувати 1091">
              <a:extLst>
                <a:ext uri="{FF2B5EF4-FFF2-40B4-BE49-F238E27FC236}">
                  <a16:creationId xmlns:a16="http://schemas.microsoft.com/office/drawing/2014/main" id="{CD9E408E-71E6-B249-E554-CA06B59F5DD1}"/>
                </a:ext>
              </a:extLst>
            </p:cNvPr>
            <p:cNvGrpSpPr/>
            <p:nvPr/>
          </p:nvGrpSpPr>
          <p:grpSpPr>
            <a:xfrm>
              <a:off x="1677838" y="1833817"/>
              <a:ext cx="592922" cy="558490"/>
              <a:chOff x="4010633" y="1650091"/>
              <a:chExt cx="471893" cy="444489"/>
            </a:xfrm>
          </p:grpSpPr>
          <p:grpSp>
            <p:nvGrpSpPr>
              <p:cNvPr id="1091" name="Групувати 1090">
                <a:extLst>
                  <a:ext uri="{FF2B5EF4-FFF2-40B4-BE49-F238E27FC236}">
                    <a16:creationId xmlns:a16="http://schemas.microsoft.com/office/drawing/2014/main" id="{F2966480-DB94-B0A1-4871-CA1D554DDB36}"/>
                  </a:ext>
                </a:extLst>
              </p:cNvPr>
              <p:cNvGrpSpPr/>
              <p:nvPr/>
            </p:nvGrpSpPr>
            <p:grpSpPr>
              <a:xfrm>
                <a:off x="4040271" y="1650091"/>
                <a:ext cx="369138" cy="378807"/>
                <a:chOff x="4093353" y="1652072"/>
                <a:chExt cx="316767" cy="325065"/>
              </a:xfrm>
            </p:grpSpPr>
            <p:sp>
              <p:nvSpPr>
                <p:cNvPr id="1089" name="Полілінія: фігура 1088">
                  <a:extLst>
                    <a:ext uri="{FF2B5EF4-FFF2-40B4-BE49-F238E27FC236}">
                      <a16:creationId xmlns:a16="http://schemas.microsoft.com/office/drawing/2014/main" id="{3DCB4D9F-9A23-8AB1-200E-49247DC0768D}"/>
                    </a:ext>
                  </a:extLst>
                </p:cNvPr>
                <p:cNvSpPr/>
                <p:nvPr/>
              </p:nvSpPr>
              <p:spPr>
                <a:xfrm>
                  <a:off x="4093353" y="1825593"/>
                  <a:ext cx="151544" cy="151544"/>
                </a:xfrm>
                <a:custGeom>
                  <a:avLst/>
                  <a:gdLst>
                    <a:gd name="connsiteX0" fmla="*/ 146044 w 151544"/>
                    <a:gd name="connsiteY0" fmla="*/ 127712 h 151544"/>
                    <a:gd name="connsiteX1" fmla="*/ 146044 w 151544"/>
                    <a:gd name="connsiteY1" fmla="*/ 102048 h 151544"/>
                    <a:gd name="connsiteX2" fmla="*/ 49496 w 151544"/>
                    <a:gd name="connsiteY2" fmla="*/ 5500 h 151544"/>
                    <a:gd name="connsiteX3" fmla="*/ 23832 w 151544"/>
                    <a:gd name="connsiteY3" fmla="*/ 5500 h 151544"/>
                    <a:gd name="connsiteX4" fmla="*/ 0 w 151544"/>
                    <a:gd name="connsiteY4" fmla="*/ 29331 h 151544"/>
                    <a:gd name="connsiteX5" fmla="*/ 122213 w 151544"/>
                    <a:gd name="connsiteY5" fmla="*/ 151544 h 151544"/>
                    <a:gd name="connsiteX6" fmla="*/ 146044 w 151544"/>
                    <a:gd name="connsiteY6" fmla="*/ 127712 h 151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1544" h="151544">
                      <a:moveTo>
                        <a:pt x="146044" y="127712"/>
                      </a:moveTo>
                      <a:cubicBezTo>
                        <a:pt x="153377" y="120380"/>
                        <a:pt x="153377" y="108769"/>
                        <a:pt x="146044" y="102048"/>
                      </a:cubicBezTo>
                      <a:lnTo>
                        <a:pt x="49496" y="5500"/>
                      </a:lnTo>
                      <a:cubicBezTo>
                        <a:pt x="42163" y="-1833"/>
                        <a:pt x="30553" y="-1833"/>
                        <a:pt x="23832" y="5500"/>
                      </a:cubicBezTo>
                      <a:lnTo>
                        <a:pt x="0" y="29331"/>
                      </a:lnTo>
                      <a:lnTo>
                        <a:pt x="122213" y="151544"/>
                      </a:lnTo>
                      <a:lnTo>
                        <a:pt x="146044" y="127712"/>
                      </a:lnTo>
                      <a:close/>
                    </a:path>
                  </a:pathLst>
                </a:custGeom>
                <a:solidFill>
                  <a:srgbClr val="00A1DF"/>
                </a:solidFill>
                <a:ln w="60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  <p:sp>
              <p:nvSpPr>
                <p:cNvPr id="1090" name="Полілінія: фігура 1089">
                  <a:extLst>
                    <a:ext uri="{FF2B5EF4-FFF2-40B4-BE49-F238E27FC236}">
                      <a16:creationId xmlns:a16="http://schemas.microsoft.com/office/drawing/2014/main" id="{068EF668-2E30-3F04-BF01-B1A3C70F5E59}"/>
                    </a:ext>
                  </a:extLst>
                </p:cNvPr>
                <p:cNvSpPr/>
                <p:nvPr/>
              </p:nvSpPr>
              <p:spPr>
                <a:xfrm>
                  <a:off x="4258576" y="1652072"/>
                  <a:ext cx="151544" cy="151544"/>
                </a:xfrm>
                <a:custGeom>
                  <a:avLst/>
                  <a:gdLst>
                    <a:gd name="connsiteX0" fmla="*/ 102048 w 151544"/>
                    <a:gd name="connsiteY0" fmla="*/ 146044 h 151544"/>
                    <a:gd name="connsiteX1" fmla="*/ 127712 w 151544"/>
                    <a:gd name="connsiteY1" fmla="*/ 146044 h 151544"/>
                    <a:gd name="connsiteX2" fmla="*/ 151544 w 151544"/>
                    <a:gd name="connsiteY2" fmla="*/ 122213 h 151544"/>
                    <a:gd name="connsiteX3" fmla="*/ 29331 w 151544"/>
                    <a:gd name="connsiteY3" fmla="*/ 0 h 151544"/>
                    <a:gd name="connsiteX4" fmla="*/ 5500 w 151544"/>
                    <a:gd name="connsiteY4" fmla="*/ 23832 h 151544"/>
                    <a:gd name="connsiteX5" fmla="*/ 5500 w 151544"/>
                    <a:gd name="connsiteY5" fmla="*/ 49496 h 151544"/>
                    <a:gd name="connsiteX6" fmla="*/ 102048 w 151544"/>
                    <a:gd name="connsiteY6" fmla="*/ 146044 h 151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1544" h="151544">
                      <a:moveTo>
                        <a:pt x="102048" y="146044"/>
                      </a:moveTo>
                      <a:cubicBezTo>
                        <a:pt x="109381" y="153377"/>
                        <a:pt x="120991" y="153377"/>
                        <a:pt x="127712" y="146044"/>
                      </a:cubicBezTo>
                      <a:lnTo>
                        <a:pt x="151544" y="122213"/>
                      </a:lnTo>
                      <a:lnTo>
                        <a:pt x="29331" y="0"/>
                      </a:lnTo>
                      <a:lnTo>
                        <a:pt x="5500" y="23832"/>
                      </a:lnTo>
                      <a:cubicBezTo>
                        <a:pt x="-1833" y="31164"/>
                        <a:pt x="-1833" y="42775"/>
                        <a:pt x="5500" y="49496"/>
                      </a:cubicBezTo>
                      <a:lnTo>
                        <a:pt x="102048" y="146044"/>
                      </a:lnTo>
                      <a:close/>
                    </a:path>
                  </a:pathLst>
                </a:custGeom>
                <a:solidFill>
                  <a:srgbClr val="00A1DF"/>
                </a:solidFill>
                <a:ln w="605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uk-UA"/>
                </a:p>
              </p:txBody>
            </p:sp>
          </p:grpSp>
          <p:sp>
            <p:nvSpPr>
              <p:cNvPr id="1085" name="Полілінія: фігура 1084">
                <a:extLst>
                  <a:ext uri="{FF2B5EF4-FFF2-40B4-BE49-F238E27FC236}">
                    <a16:creationId xmlns:a16="http://schemas.microsoft.com/office/drawing/2014/main" id="{2772C659-1881-DCDA-87EC-F17D99A7C197}"/>
                  </a:ext>
                </a:extLst>
              </p:cNvPr>
              <p:cNvSpPr/>
              <p:nvPr/>
            </p:nvSpPr>
            <p:spPr>
              <a:xfrm>
                <a:off x="4065322" y="1857390"/>
                <a:ext cx="151544" cy="151544"/>
              </a:xfrm>
              <a:custGeom>
                <a:avLst/>
                <a:gdLst>
                  <a:gd name="connsiteX0" fmla="*/ 146044 w 151544"/>
                  <a:gd name="connsiteY0" fmla="*/ 127712 h 151544"/>
                  <a:gd name="connsiteX1" fmla="*/ 146044 w 151544"/>
                  <a:gd name="connsiteY1" fmla="*/ 102048 h 151544"/>
                  <a:gd name="connsiteX2" fmla="*/ 49496 w 151544"/>
                  <a:gd name="connsiteY2" fmla="*/ 5500 h 151544"/>
                  <a:gd name="connsiteX3" fmla="*/ 23832 w 151544"/>
                  <a:gd name="connsiteY3" fmla="*/ 5500 h 151544"/>
                  <a:gd name="connsiteX4" fmla="*/ 0 w 151544"/>
                  <a:gd name="connsiteY4" fmla="*/ 29331 h 151544"/>
                  <a:gd name="connsiteX5" fmla="*/ 122213 w 151544"/>
                  <a:gd name="connsiteY5" fmla="*/ 151544 h 151544"/>
                  <a:gd name="connsiteX6" fmla="*/ 146044 w 151544"/>
                  <a:gd name="connsiteY6" fmla="*/ 127712 h 15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1544" h="151544">
                    <a:moveTo>
                      <a:pt x="146044" y="127712"/>
                    </a:moveTo>
                    <a:cubicBezTo>
                      <a:pt x="153377" y="120380"/>
                      <a:pt x="153377" y="108769"/>
                      <a:pt x="146044" y="102048"/>
                    </a:cubicBezTo>
                    <a:lnTo>
                      <a:pt x="49496" y="5500"/>
                    </a:lnTo>
                    <a:cubicBezTo>
                      <a:pt x="42163" y="-1833"/>
                      <a:pt x="30553" y="-1833"/>
                      <a:pt x="23832" y="5500"/>
                    </a:cubicBezTo>
                    <a:lnTo>
                      <a:pt x="0" y="29331"/>
                    </a:lnTo>
                    <a:lnTo>
                      <a:pt x="122213" y="151544"/>
                    </a:lnTo>
                    <a:lnTo>
                      <a:pt x="146044" y="127712"/>
                    </a:lnTo>
                    <a:close/>
                  </a:path>
                </a:pathLst>
              </a:custGeom>
              <a:solidFill>
                <a:srgbClr val="101820"/>
              </a:solidFill>
              <a:ln w="60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uk-UA"/>
              </a:p>
            </p:txBody>
          </p:sp>
          <p:sp>
            <p:nvSpPr>
              <p:cNvPr id="1086" name="Полілінія: фігура 1085">
                <a:extLst>
                  <a:ext uri="{FF2B5EF4-FFF2-40B4-BE49-F238E27FC236}">
                    <a16:creationId xmlns:a16="http://schemas.microsoft.com/office/drawing/2014/main" id="{40FCF73E-D518-1419-EB6A-83F25F402113}"/>
                  </a:ext>
                </a:extLst>
              </p:cNvPr>
              <p:cNvSpPr/>
              <p:nvPr/>
            </p:nvSpPr>
            <p:spPr>
              <a:xfrm>
                <a:off x="4255975" y="1666738"/>
                <a:ext cx="151544" cy="151544"/>
              </a:xfrm>
              <a:custGeom>
                <a:avLst/>
                <a:gdLst>
                  <a:gd name="connsiteX0" fmla="*/ 102048 w 151544"/>
                  <a:gd name="connsiteY0" fmla="*/ 146044 h 151544"/>
                  <a:gd name="connsiteX1" fmla="*/ 127712 w 151544"/>
                  <a:gd name="connsiteY1" fmla="*/ 146044 h 151544"/>
                  <a:gd name="connsiteX2" fmla="*/ 151544 w 151544"/>
                  <a:gd name="connsiteY2" fmla="*/ 122213 h 151544"/>
                  <a:gd name="connsiteX3" fmla="*/ 29331 w 151544"/>
                  <a:gd name="connsiteY3" fmla="*/ 0 h 151544"/>
                  <a:gd name="connsiteX4" fmla="*/ 5500 w 151544"/>
                  <a:gd name="connsiteY4" fmla="*/ 23832 h 151544"/>
                  <a:gd name="connsiteX5" fmla="*/ 5500 w 151544"/>
                  <a:gd name="connsiteY5" fmla="*/ 49496 h 151544"/>
                  <a:gd name="connsiteX6" fmla="*/ 102048 w 151544"/>
                  <a:gd name="connsiteY6" fmla="*/ 146044 h 15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1544" h="151544">
                    <a:moveTo>
                      <a:pt x="102048" y="146044"/>
                    </a:moveTo>
                    <a:cubicBezTo>
                      <a:pt x="109381" y="153377"/>
                      <a:pt x="120991" y="153377"/>
                      <a:pt x="127712" y="146044"/>
                    </a:cubicBezTo>
                    <a:lnTo>
                      <a:pt x="151544" y="122213"/>
                    </a:lnTo>
                    <a:lnTo>
                      <a:pt x="29331" y="0"/>
                    </a:lnTo>
                    <a:lnTo>
                      <a:pt x="5500" y="23832"/>
                    </a:lnTo>
                    <a:cubicBezTo>
                      <a:pt x="-1833" y="31164"/>
                      <a:pt x="-1833" y="42775"/>
                      <a:pt x="5500" y="49496"/>
                    </a:cubicBezTo>
                    <a:lnTo>
                      <a:pt x="102048" y="146044"/>
                    </a:lnTo>
                    <a:close/>
                  </a:path>
                </a:pathLst>
              </a:custGeom>
              <a:solidFill>
                <a:srgbClr val="101820"/>
              </a:solidFill>
              <a:ln w="60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uk-UA"/>
              </a:p>
            </p:txBody>
          </p:sp>
          <p:sp>
            <p:nvSpPr>
              <p:cNvPr id="1087" name="Полілінія: фігура 1086">
                <a:extLst>
                  <a:ext uri="{FF2B5EF4-FFF2-40B4-BE49-F238E27FC236}">
                    <a16:creationId xmlns:a16="http://schemas.microsoft.com/office/drawing/2014/main" id="{576D64C5-FDAA-6837-C8A7-A69D3EF071A1}"/>
                  </a:ext>
                </a:extLst>
              </p:cNvPr>
              <p:cNvSpPr/>
              <p:nvPr/>
            </p:nvSpPr>
            <p:spPr>
              <a:xfrm>
                <a:off x="4126429" y="1727844"/>
                <a:ext cx="356097" cy="343876"/>
              </a:xfrm>
              <a:custGeom>
                <a:avLst/>
                <a:gdLst>
                  <a:gd name="connsiteX0" fmla="*/ 348307 w 356097"/>
                  <a:gd name="connsiteY0" fmla="*/ 299422 h 343876"/>
                  <a:gd name="connsiteX1" fmla="*/ 183319 w 356097"/>
                  <a:gd name="connsiteY1" fmla="*/ 134434 h 343876"/>
                  <a:gd name="connsiteX2" fmla="*/ 219983 w 356097"/>
                  <a:gd name="connsiteY2" fmla="*/ 97770 h 343876"/>
                  <a:gd name="connsiteX3" fmla="*/ 122213 w 356097"/>
                  <a:gd name="connsiteY3" fmla="*/ 0 h 343876"/>
                  <a:gd name="connsiteX4" fmla="*/ 0 w 356097"/>
                  <a:gd name="connsiteY4" fmla="*/ 122213 h 343876"/>
                  <a:gd name="connsiteX5" fmla="*/ 97770 w 356097"/>
                  <a:gd name="connsiteY5" fmla="*/ 219983 h 343876"/>
                  <a:gd name="connsiteX6" fmla="*/ 146656 w 356097"/>
                  <a:gd name="connsiteY6" fmla="*/ 171098 h 343876"/>
                  <a:gd name="connsiteX7" fmla="*/ 311643 w 356097"/>
                  <a:gd name="connsiteY7" fmla="*/ 336086 h 343876"/>
                  <a:gd name="connsiteX8" fmla="*/ 348307 w 356097"/>
                  <a:gd name="connsiteY8" fmla="*/ 336086 h 343876"/>
                  <a:gd name="connsiteX9" fmla="*/ 348307 w 356097"/>
                  <a:gd name="connsiteY9" fmla="*/ 299422 h 343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6097" h="343876">
                    <a:moveTo>
                      <a:pt x="348307" y="299422"/>
                    </a:moveTo>
                    <a:lnTo>
                      <a:pt x="183319" y="134434"/>
                    </a:lnTo>
                    <a:lnTo>
                      <a:pt x="219983" y="97770"/>
                    </a:lnTo>
                    <a:lnTo>
                      <a:pt x="122213" y="0"/>
                    </a:lnTo>
                    <a:lnTo>
                      <a:pt x="0" y="122213"/>
                    </a:lnTo>
                    <a:lnTo>
                      <a:pt x="97770" y="219983"/>
                    </a:lnTo>
                    <a:lnTo>
                      <a:pt x="146656" y="171098"/>
                    </a:lnTo>
                    <a:lnTo>
                      <a:pt x="311643" y="336086"/>
                    </a:lnTo>
                    <a:cubicBezTo>
                      <a:pt x="322031" y="346474"/>
                      <a:pt x="337919" y="346474"/>
                      <a:pt x="348307" y="336086"/>
                    </a:cubicBezTo>
                    <a:cubicBezTo>
                      <a:pt x="358695" y="325697"/>
                      <a:pt x="358695" y="309810"/>
                      <a:pt x="348307" y="299422"/>
                    </a:cubicBezTo>
                    <a:close/>
                  </a:path>
                </a:pathLst>
              </a:custGeom>
              <a:solidFill>
                <a:srgbClr val="101820"/>
              </a:solidFill>
              <a:ln w="605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uk-UA"/>
              </a:p>
            </p:txBody>
          </p:sp>
          <p:sp>
            <p:nvSpPr>
              <p:cNvPr id="1088" name="Прямокутник: округлені кути 1087">
                <a:extLst>
                  <a:ext uri="{FF2B5EF4-FFF2-40B4-BE49-F238E27FC236}">
                    <a16:creationId xmlns:a16="http://schemas.microsoft.com/office/drawing/2014/main" id="{4784884B-344B-A0B1-2D05-C8A420BE9D32}"/>
                  </a:ext>
                </a:extLst>
              </p:cNvPr>
              <p:cNvSpPr/>
              <p:nvPr/>
            </p:nvSpPr>
            <p:spPr>
              <a:xfrm>
                <a:off x="4010633" y="2048860"/>
                <a:ext cx="195966" cy="45720"/>
              </a:xfrm>
              <a:prstGeom prst="roundRect">
                <a:avLst>
                  <a:gd name="adj" fmla="val 50000"/>
                </a:avLst>
              </a:prstGeom>
              <a:solidFill>
                <a:srgbClr val="10182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</p:grpSp>
        <p:grpSp>
          <p:nvGrpSpPr>
            <p:cNvPr id="1096" name="Групувати 1095">
              <a:extLst>
                <a:ext uri="{FF2B5EF4-FFF2-40B4-BE49-F238E27FC236}">
                  <a16:creationId xmlns:a16="http://schemas.microsoft.com/office/drawing/2014/main" id="{9FEAFF60-B8C0-A106-76D8-31E677B83C7B}"/>
                </a:ext>
              </a:extLst>
            </p:cNvPr>
            <p:cNvGrpSpPr/>
            <p:nvPr/>
          </p:nvGrpSpPr>
          <p:grpSpPr>
            <a:xfrm>
              <a:off x="10570261" y="104129"/>
              <a:ext cx="1405132" cy="300056"/>
              <a:chOff x="8944864" y="1776832"/>
              <a:chExt cx="1022457" cy="221924"/>
            </a:xfrm>
          </p:grpSpPr>
          <p:sp>
            <p:nvSpPr>
              <p:cNvPr id="1097" name="TextBox 1096">
                <a:extLst>
                  <a:ext uri="{FF2B5EF4-FFF2-40B4-BE49-F238E27FC236}">
                    <a16:creationId xmlns:a16="http://schemas.microsoft.com/office/drawing/2014/main" id="{4EB0E9C0-8D21-8AD3-2E96-1597D2AC86B1}"/>
                  </a:ext>
                </a:extLst>
              </p:cNvPr>
              <p:cNvSpPr txBox="1"/>
              <p:nvPr/>
            </p:nvSpPr>
            <p:spPr>
              <a:xfrm>
                <a:off x="9569202" y="1795187"/>
                <a:ext cx="97196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97196" h="96262">
                    <a:moveTo>
                      <a:pt x="48531" y="0"/>
                    </a:moveTo>
                    <a:cubicBezTo>
                      <a:pt x="57866" y="55"/>
                      <a:pt x="66182" y="2061"/>
                      <a:pt x="73479" y="6016"/>
                    </a:cubicBezTo>
                    <a:cubicBezTo>
                      <a:pt x="80775" y="9972"/>
                      <a:pt x="86530" y="15542"/>
                      <a:pt x="90744" y="22729"/>
                    </a:cubicBezTo>
                    <a:cubicBezTo>
                      <a:pt x="94958" y="29915"/>
                      <a:pt x="97109" y="38382"/>
                      <a:pt x="97196" y="48130"/>
                    </a:cubicBezTo>
                    <a:cubicBezTo>
                      <a:pt x="97109" y="57543"/>
                      <a:pt x="94958" y="65852"/>
                      <a:pt x="90744" y="73058"/>
                    </a:cubicBezTo>
                    <a:cubicBezTo>
                      <a:pt x="86530" y="80264"/>
                      <a:pt x="80775" y="85914"/>
                      <a:pt x="73479" y="90008"/>
                    </a:cubicBezTo>
                    <a:cubicBezTo>
                      <a:pt x="66182" y="94102"/>
                      <a:pt x="57866" y="96186"/>
                      <a:pt x="48531" y="96262"/>
                    </a:cubicBezTo>
                    <a:cubicBezTo>
                      <a:pt x="39198" y="96206"/>
                      <a:pt x="30894" y="94200"/>
                      <a:pt x="23618" y="90245"/>
                    </a:cubicBezTo>
                    <a:cubicBezTo>
                      <a:pt x="16343" y="86290"/>
                      <a:pt x="10610" y="80719"/>
                      <a:pt x="6417" y="73532"/>
                    </a:cubicBezTo>
                    <a:cubicBezTo>
                      <a:pt x="2225" y="66346"/>
                      <a:pt x="86" y="57879"/>
                      <a:pt x="0" y="48130"/>
                    </a:cubicBezTo>
                    <a:cubicBezTo>
                      <a:pt x="68" y="39012"/>
                      <a:pt x="2138" y="30841"/>
                      <a:pt x="6210" y="23618"/>
                    </a:cubicBezTo>
                    <a:cubicBezTo>
                      <a:pt x="10281" y="16395"/>
                      <a:pt x="15946" y="10676"/>
                      <a:pt x="23203" y="6461"/>
                    </a:cubicBezTo>
                    <a:cubicBezTo>
                      <a:pt x="30461" y="2246"/>
                      <a:pt x="38904" y="92"/>
                      <a:pt x="48531" y="0"/>
                    </a:cubicBezTo>
                    <a:close/>
                    <a:moveTo>
                      <a:pt x="48531" y="15318"/>
                    </a:moveTo>
                    <a:cubicBezTo>
                      <a:pt x="39411" y="15477"/>
                      <a:pt x="31975" y="18528"/>
                      <a:pt x="26223" y="24472"/>
                    </a:cubicBezTo>
                    <a:cubicBezTo>
                      <a:pt x="20470" y="30415"/>
                      <a:pt x="17503" y="38302"/>
                      <a:pt x="17319" y="48130"/>
                    </a:cubicBezTo>
                    <a:cubicBezTo>
                      <a:pt x="17528" y="57667"/>
                      <a:pt x="20545" y="65470"/>
                      <a:pt x="26373" y="71539"/>
                    </a:cubicBezTo>
                    <a:cubicBezTo>
                      <a:pt x="32200" y="77608"/>
                      <a:pt x="39586" y="80743"/>
                      <a:pt x="48531" y="80943"/>
                    </a:cubicBezTo>
                    <a:cubicBezTo>
                      <a:pt x="58415" y="80726"/>
                      <a:pt x="66091" y="77558"/>
                      <a:pt x="71557" y="71439"/>
                    </a:cubicBezTo>
                    <a:cubicBezTo>
                      <a:pt x="77023" y="65320"/>
                      <a:pt x="79796" y="57551"/>
                      <a:pt x="79877" y="48130"/>
                    </a:cubicBezTo>
                    <a:cubicBezTo>
                      <a:pt x="79671" y="38302"/>
                      <a:pt x="76648" y="30415"/>
                      <a:pt x="70807" y="24472"/>
                    </a:cubicBezTo>
                    <a:cubicBezTo>
                      <a:pt x="64965" y="18528"/>
                      <a:pt x="57540" y="15477"/>
                      <a:pt x="48531" y="1531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098" name="TextBox 1097">
                <a:extLst>
                  <a:ext uri="{FF2B5EF4-FFF2-40B4-BE49-F238E27FC236}">
                    <a16:creationId xmlns:a16="http://schemas.microsoft.com/office/drawing/2014/main" id="{3B6A5ABF-BE1F-5B61-E2ED-7F9C7865EADD}"/>
                  </a:ext>
                </a:extLst>
              </p:cNvPr>
              <p:cNvSpPr txBox="1"/>
              <p:nvPr/>
            </p:nvSpPr>
            <p:spPr>
              <a:xfrm>
                <a:off x="9683502" y="1795187"/>
                <a:ext cx="83594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83594" h="96262">
                    <a:moveTo>
                      <a:pt x="46532" y="0"/>
                    </a:moveTo>
                    <a:cubicBezTo>
                      <a:pt x="53144" y="19"/>
                      <a:pt x="58862" y="846"/>
                      <a:pt x="63688" y="2481"/>
                    </a:cubicBezTo>
                    <a:cubicBezTo>
                      <a:pt x="68514" y="4115"/>
                      <a:pt x="72796" y="6441"/>
                      <a:pt x="76534" y="9457"/>
                    </a:cubicBezTo>
                    <a:lnTo>
                      <a:pt x="69608" y="22523"/>
                    </a:lnTo>
                    <a:cubicBezTo>
                      <a:pt x="67196" y="20297"/>
                      <a:pt x="64117" y="18546"/>
                      <a:pt x="60371" y="17270"/>
                    </a:cubicBezTo>
                    <a:cubicBezTo>
                      <a:pt x="56625" y="15994"/>
                      <a:pt x="52679" y="15343"/>
                      <a:pt x="48533" y="15318"/>
                    </a:cubicBezTo>
                    <a:cubicBezTo>
                      <a:pt x="39354" y="15385"/>
                      <a:pt x="31901" y="18253"/>
                      <a:pt x="26173" y="23923"/>
                    </a:cubicBezTo>
                    <a:cubicBezTo>
                      <a:pt x="20446" y="29593"/>
                      <a:pt x="17494" y="37664"/>
                      <a:pt x="17319" y="48135"/>
                    </a:cubicBezTo>
                    <a:cubicBezTo>
                      <a:pt x="17453" y="58192"/>
                      <a:pt x="20354" y="66143"/>
                      <a:pt x="26023" y="71988"/>
                    </a:cubicBezTo>
                    <a:cubicBezTo>
                      <a:pt x="31692" y="77832"/>
                      <a:pt x="39329" y="80817"/>
                      <a:pt x="48933" y="80943"/>
                    </a:cubicBezTo>
                    <a:cubicBezTo>
                      <a:pt x="52674" y="80885"/>
                      <a:pt x="56364" y="80234"/>
                      <a:pt x="60005" y="78991"/>
                    </a:cubicBezTo>
                    <a:cubicBezTo>
                      <a:pt x="63645" y="77748"/>
                      <a:pt x="66402" y="76264"/>
                      <a:pt x="68276" y="74537"/>
                    </a:cubicBezTo>
                    <a:lnTo>
                      <a:pt x="68276" y="59857"/>
                    </a:lnTo>
                    <a:lnTo>
                      <a:pt x="45732" y="59857"/>
                    </a:lnTo>
                    <a:lnTo>
                      <a:pt x="45732" y="44539"/>
                    </a:lnTo>
                    <a:lnTo>
                      <a:pt x="83594" y="44539"/>
                    </a:lnTo>
                    <a:lnTo>
                      <a:pt x="83594" y="83208"/>
                    </a:lnTo>
                    <a:cubicBezTo>
                      <a:pt x="79251" y="87365"/>
                      <a:pt x="73848" y="90573"/>
                      <a:pt x="67385" y="92832"/>
                    </a:cubicBezTo>
                    <a:cubicBezTo>
                      <a:pt x="60922" y="95091"/>
                      <a:pt x="54683" y="96234"/>
                      <a:pt x="48666" y="96262"/>
                    </a:cubicBezTo>
                    <a:cubicBezTo>
                      <a:pt x="33274" y="96073"/>
                      <a:pt x="21345" y="91686"/>
                      <a:pt x="12878" y="83100"/>
                    </a:cubicBezTo>
                    <a:cubicBezTo>
                      <a:pt x="4412" y="74514"/>
                      <a:pt x="119" y="62859"/>
                      <a:pt x="0" y="48135"/>
                    </a:cubicBezTo>
                    <a:cubicBezTo>
                      <a:pt x="46" y="39100"/>
                      <a:pt x="1953" y="30968"/>
                      <a:pt x="5721" y="23739"/>
                    </a:cubicBezTo>
                    <a:cubicBezTo>
                      <a:pt x="9488" y="16510"/>
                      <a:pt x="14842" y="10771"/>
                      <a:pt x="21781" y="6521"/>
                    </a:cubicBezTo>
                    <a:cubicBezTo>
                      <a:pt x="28721" y="2271"/>
                      <a:pt x="36971" y="97"/>
                      <a:pt x="46532" y="0"/>
                    </a:cubicBez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1099" name="TextBox 1098">
                <a:extLst>
                  <a:ext uri="{FF2B5EF4-FFF2-40B4-BE49-F238E27FC236}">
                    <a16:creationId xmlns:a16="http://schemas.microsoft.com/office/drawing/2014/main" id="{228380E0-AF09-1C2E-D772-1EFE9EEC2C7E}"/>
                  </a:ext>
                </a:extLst>
              </p:cNvPr>
              <p:cNvSpPr txBox="1"/>
              <p:nvPr/>
            </p:nvSpPr>
            <p:spPr>
              <a:xfrm>
                <a:off x="92879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100" name="TextBox 1099">
                <a:extLst>
                  <a:ext uri="{FF2B5EF4-FFF2-40B4-BE49-F238E27FC236}">
                    <a16:creationId xmlns:a16="http://schemas.microsoft.com/office/drawing/2014/main" id="{5A532FAB-9B88-5DE9-5E60-E05AB8FD2672}"/>
                  </a:ext>
                </a:extLst>
              </p:cNvPr>
              <p:cNvSpPr txBox="1"/>
              <p:nvPr/>
            </p:nvSpPr>
            <p:spPr>
              <a:xfrm>
                <a:off x="97832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1101" name="TextBox 1100">
                <a:extLst>
                  <a:ext uri="{FF2B5EF4-FFF2-40B4-BE49-F238E27FC236}">
                    <a16:creationId xmlns:a16="http://schemas.microsoft.com/office/drawing/2014/main" id="{3C8DA1B5-6550-1EB2-9A5E-C2650377BA02}"/>
                  </a:ext>
                </a:extLst>
              </p:cNvPr>
              <p:cNvSpPr txBox="1"/>
              <p:nvPr/>
            </p:nvSpPr>
            <p:spPr>
              <a:xfrm>
                <a:off x="9185612" y="1796788"/>
                <a:ext cx="797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9726" h="93195">
                    <a:moveTo>
                      <a:pt x="0" y="0"/>
                    </a:moveTo>
                    <a:lnTo>
                      <a:pt x="13054" y="0"/>
                    </a:lnTo>
                    <a:lnTo>
                      <a:pt x="64408" y="64837"/>
                    </a:lnTo>
                    <a:lnTo>
                      <a:pt x="64408" y="0"/>
                    </a:lnTo>
                    <a:lnTo>
                      <a:pt x="79726" y="0"/>
                    </a:lnTo>
                    <a:lnTo>
                      <a:pt x="79726" y="93195"/>
                    </a:lnTo>
                    <a:lnTo>
                      <a:pt x="66672" y="93195"/>
                    </a:lnTo>
                    <a:lnTo>
                      <a:pt x="15318" y="28624"/>
                    </a:lnTo>
                    <a:lnTo>
                      <a:pt x="15318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102" name="TextBox 1101">
                <a:extLst>
                  <a:ext uri="{FF2B5EF4-FFF2-40B4-BE49-F238E27FC236}">
                    <a16:creationId xmlns:a16="http://schemas.microsoft.com/office/drawing/2014/main" id="{5FA8A785-220B-0730-57E5-65412A238B3A}"/>
                  </a:ext>
                </a:extLst>
              </p:cNvPr>
              <p:cNvSpPr txBox="1"/>
              <p:nvPr/>
            </p:nvSpPr>
            <p:spPr>
              <a:xfrm>
                <a:off x="9404688" y="1796788"/>
                <a:ext cx="5332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53323" h="93195">
                    <a:moveTo>
                      <a:pt x="0" y="0"/>
                    </a:moveTo>
                    <a:lnTo>
                      <a:pt x="53323" y="0"/>
                    </a:lnTo>
                    <a:lnTo>
                      <a:pt x="53323" y="15318"/>
                    </a:lnTo>
                    <a:lnTo>
                      <a:pt x="16385" y="15318"/>
                    </a:lnTo>
                    <a:lnTo>
                      <a:pt x="16385" y="41605"/>
                    </a:lnTo>
                    <a:lnTo>
                      <a:pt x="49322" y="41605"/>
                    </a:lnTo>
                    <a:lnTo>
                      <a:pt x="49322" y="56924"/>
                    </a:lnTo>
                    <a:lnTo>
                      <a:pt x="16385" y="56924"/>
                    </a:lnTo>
                    <a:lnTo>
                      <a:pt x="16385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103" name="TextBox 1102">
                <a:extLst>
                  <a:ext uri="{FF2B5EF4-FFF2-40B4-BE49-F238E27FC236}">
                    <a16:creationId xmlns:a16="http://schemas.microsoft.com/office/drawing/2014/main" id="{B8B7847A-FEC3-DF93-65A7-CFC9E83F17F3}"/>
                  </a:ext>
                </a:extLst>
              </p:cNvPr>
              <p:cNvSpPr txBox="1"/>
              <p:nvPr/>
            </p:nvSpPr>
            <p:spPr>
              <a:xfrm>
                <a:off x="9478810" y="1796788"/>
                <a:ext cx="769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6926" h="93195">
                    <a:moveTo>
                      <a:pt x="0" y="0"/>
                    </a:moveTo>
                    <a:lnTo>
                      <a:pt x="76926" y="0"/>
                    </a:lnTo>
                    <a:lnTo>
                      <a:pt x="76926" y="15318"/>
                    </a:lnTo>
                    <a:lnTo>
                      <a:pt x="46656" y="15318"/>
                    </a:lnTo>
                    <a:lnTo>
                      <a:pt x="46656" y="93195"/>
                    </a:lnTo>
                    <a:lnTo>
                      <a:pt x="30270" y="93195"/>
                    </a:lnTo>
                    <a:lnTo>
                      <a:pt x="30270" y="15318"/>
                    </a:lnTo>
                    <a:lnTo>
                      <a:pt x="0" y="153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104" name="TextBox 1103">
                <a:extLst>
                  <a:ext uri="{FF2B5EF4-FFF2-40B4-BE49-F238E27FC236}">
                    <a16:creationId xmlns:a16="http://schemas.microsoft.com/office/drawing/2014/main" id="{4EF10F41-DC6A-F650-24FA-AA0F30428957}"/>
                  </a:ext>
                </a:extLst>
              </p:cNvPr>
              <p:cNvSpPr txBox="1"/>
              <p:nvPr/>
            </p:nvSpPr>
            <p:spPr>
              <a:xfrm>
                <a:off x="9892378" y="1796788"/>
                <a:ext cx="7494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4943" h="93195">
                    <a:moveTo>
                      <a:pt x="2667" y="0"/>
                    </a:moveTo>
                    <a:lnTo>
                      <a:pt x="73609" y="0"/>
                    </a:lnTo>
                    <a:lnTo>
                      <a:pt x="73609" y="11322"/>
                    </a:lnTo>
                    <a:lnTo>
                      <a:pt x="21870" y="77876"/>
                    </a:lnTo>
                    <a:lnTo>
                      <a:pt x="74943" y="77876"/>
                    </a:lnTo>
                    <a:lnTo>
                      <a:pt x="74943" y="93195"/>
                    </a:lnTo>
                    <a:lnTo>
                      <a:pt x="0" y="93195"/>
                    </a:lnTo>
                    <a:lnTo>
                      <a:pt x="0" y="82006"/>
                    </a:lnTo>
                    <a:lnTo>
                      <a:pt x="51607" y="15318"/>
                    </a:lnTo>
                    <a:lnTo>
                      <a:pt x="2667" y="15318"/>
                    </a:lnTo>
                    <a:lnTo>
                      <a:pt x="2667" y="0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1105" name="Freeform 218">
                <a:extLst>
                  <a:ext uri="{FF2B5EF4-FFF2-40B4-BE49-F238E27FC236}">
                    <a16:creationId xmlns:a16="http://schemas.microsoft.com/office/drawing/2014/main" id="{E6072A13-CFEC-70B2-1411-43C5F367242F}"/>
                  </a:ext>
                </a:extLst>
              </p:cNvPr>
              <p:cNvSpPr/>
              <p:nvPr/>
            </p:nvSpPr>
            <p:spPr>
              <a:xfrm>
                <a:off x="9064800" y="1991655"/>
                <a:ext cx="4609" cy="1336"/>
              </a:xfrm>
              <a:custGeom>
                <a:avLst/>
                <a:gdLst/>
                <a:ahLst/>
                <a:cxnLst/>
                <a:rect l="0" t="0" r="0" b="0"/>
                <a:pathLst>
                  <a:path w="13665" h="3962">
                    <a:moveTo>
                      <a:pt x="0" y="3962"/>
                    </a:moveTo>
                    <a:cubicBezTo>
                      <a:pt x="4610" y="2731"/>
                      <a:pt x="9169" y="1626"/>
                      <a:pt x="13665" y="0"/>
                    </a:cubicBezTo>
                    <a:cubicBezTo>
                      <a:pt x="8978" y="1384"/>
                      <a:pt x="4508" y="2731"/>
                      <a:pt x="0" y="3962"/>
                    </a:cubicBezTo>
                  </a:path>
                </a:pathLst>
              </a:custGeom>
              <a:solidFill>
                <a:srgbClr val="000000">
                  <a:alpha val="100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pic>
            <p:nvPicPr>
              <p:cNvPr id="1106" name="Picture 219">
                <a:extLst>
                  <a:ext uri="{FF2B5EF4-FFF2-40B4-BE49-F238E27FC236}">
                    <a16:creationId xmlns:a16="http://schemas.microsoft.com/office/drawing/2014/main" id="{54E3EF1E-6DF6-59F6-F92A-F99134BE69A4}"/>
                  </a:ext>
                </a:extLst>
              </p:cNvPr>
              <p:cNvPicPr/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058175" y="1988501"/>
                <a:ext cx="15518" cy="10255"/>
              </a:xfrm>
              <a:prstGeom prst="rect">
                <a:avLst/>
              </a:prstGeom>
              <a:noFill/>
            </p:spPr>
          </p:pic>
          <p:grpSp>
            <p:nvGrpSpPr>
              <p:cNvPr id="1107" name="Групувати 1106">
                <a:extLst>
                  <a:ext uri="{FF2B5EF4-FFF2-40B4-BE49-F238E27FC236}">
                    <a16:creationId xmlns:a16="http://schemas.microsoft.com/office/drawing/2014/main" id="{19968CDD-6510-4EF1-FB4D-4E615D2D69A1}"/>
                  </a:ext>
                </a:extLst>
              </p:cNvPr>
              <p:cNvGrpSpPr/>
              <p:nvPr/>
            </p:nvGrpSpPr>
            <p:grpSpPr>
              <a:xfrm>
                <a:off x="8944864" y="1776832"/>
                <a:ext cx="207633" cy="206717"/>
                <a:chOff x="5192198" y="3302281"/>
                <a:chExt cx="207633" cy="206717"/>
              </a:xfrm>
            </p:grpSpPr>
            <p:sp>
              <p:nvSpPr>
                <p:cNvPr id="1121" name="Freeform 220">
                  <a:extLst>
                    <a:ext uri="{FF2B5EF4-FFF2-40B4-BE49-F238E27FC236}">
                      <a16:creationId xmlns:a16="http://schemas.microsoft.com/office/drawing/2014/main" id="{8926D345-BE3E-2F9A-1220-F7C44B5ABCE7}"/>
                    </a:ext>
                  </a:extLst>
                </p:cNvPr>
                <p:cNvSpPr/>
                <p:nvPr/>
              </p:nvSpPr>
              <p:spPr>
                <a:xfrm>
                  <a:off x="5309209" y="3316368"/>
                  <a:ext cx="90622" cy="1786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8693" h="529665">
                      <a:moveTo>
                        <a:pt x="249186" y="162356"/>
                      </a:moveTo>
                      <a:cubicBezTo>
                        <a:pt x="249490" y="162482"/>
                        <a:pt x="249770" y="162521"/>
                        <a:pt x="250049" y="162724"/>
                      </a:cubicBezTo>
                      <a:cubicBezTo>
                        <a:pt x="233972" y="106400"/>
                        <a:pt x="199834" y="59042"/>
                        <a:pt x="150126" y="24841"/>
                      </a:cubicBezTo>
                      <a:cubicBezTo>
                        <a:pt x="127165" y="9055"/>
                        <a:pt x="100622" y="0"/>
                        <a:pt x="77356" y="0"/>
                      </a:cubicBezTo>
                      <a:cubicBezTo>
                        <a:pt x="63970" y="0"/>
                        <a:pt x="51701" y="2844"/>
                        <a:pt x="41008" y="8661"/>
                      </a:cubicBezTo>
                      <a:cubicBezTo>
                        <a:pt x="13894" y="24498"/>
                        <a:pt x="0" y="46990"/>
                        <a:pt x="0" y="75565"/>
                      </a:cubicBezTo>
                      <a:cubicBezTo>
                        <a:pt x="0" y="122174"/>
                        <a:pt x="27051" y="149669"/>
                        <a:pt x="67932" y="191324"/>
                      </a:cubicBezTo>
                      <a:cubicBezTo>
                        <a:pt x="89205" y="213003"/>
                        <a:pt x="113068" y="237336"/>
                        <a:pt x="136474" y="268591"/>
                      </a:cubicBezTo>
                      <a:cubicBezTo>
                        <a:pt x="174879" y="319785"/>
                        <a:pt x="184366" y="391375"/>
                        <a:pt x="161239" y="455687"/>
                      </a:cubicBezTo>
                      <a:cubicBezTo>
                        <a:pt x="151143" y="483754"/>
                        <a:pt x="135737" y="508431"/>
                        <a:pt x="115798" y="528992"/>
                      </a:cubicBezTo>
                      <a:cubicBezTo>
                        <a:pt x="115519" y="529068"/>
                        <a:pt x="115468" y="529462"/>
                        <a:pt x="115214" y="529665"/>
                      </a:cubicBezTo>
                      <a:cubicBezTo>
                        <a:pt x="163931" y="502233"/>
                        <a:pt x="200685" y="463269"/>
                        <a:pt x="223342" y="414768"/>
                      </a:cubicBezTo>
                      <a:cubicBezTo>
                        <a:pt x="268693" y="317359"/>
                        <a:pt x="235026" y="249795"/>
                        <a:pt x="214922" y="209384"/>
                      </a:cubicBezTo>
                      <a:cubicBezTo>
                        <a:pt x="204610" y="188670"/>
                        <a:pt x="197193" y="173531"/>
                        <a:pt x="204711" y="162191"/>
                      </a:cubicBezTo>
                      <a:cubicBezTo>
                        <a:pt x="213411" y="149098"/>
                        <a:pt x="229451" y="148463"/>
                        <a:pt x="249186" y="162356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  <p:sp>
              <p:nvSpPr>
                <p:cNvPr id="1122" name="Freeform 221">
                  <a:extLst>
                    <a:ext uri="{FF2B5EF4-FFF2-40B4-BE49-F238E27FC236}">
                      <a16:creationId xmlns:a16="http://schemas.microsoft.com/office/drawing/2014/main" id="{4E5BFBE8-C8D3-9534-AF2E-7D97D16EBDF8}"/>
                    </a:ext>
                  </a:extLst>
                </p:cNvPr>
                <p:cNvSpPr/>
                <p:nvPr/>
              </p:nvSpPr>
              <p:spPr>
                <a:xfrm>
                  <a:off x="5192198" y="3326401"/>
                  <a:ext cx="131219" cy="1799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9064" h="533476">
                      <a:moveTo>
                        <a:pt x="374561" y="363639"/>
                      </a:moveTo>
                      <a:cubicBezTo>
                        <a:pt x="345733" y="318936"/>
                        <a:pt x="304800" y="303162"/>
                        <a:pt x="261519" y="286563"/>
                      </a:cubicBezTo>
                      <a:cubicBezTo>
                        <a:pt x="219050" y="270142"/>
                        <a:pt x="175095" y="253251"/>
                        <a:pt x="137757" y="209398"/>
                      </a:cubicBezTo>
                      <a:cubicBezTo>
                        <a:pt x="101156" y="166739"/>
                        <a:pt x="85764" y="111430"/>
                        <a:pt x="94044" y="53988"/>
                      </a:cubicBezTo>
                      <a:cubicBezTo>
                        <a:pt x="96635" y="36322"/>
                        <a:pt x="101651" y="19495"/>
                        <a:pt x="108243" y="3988"/>
                      </a:cubicBezTo>
                      <a:cubicBezTo>
                        <a:pt x="108509" y="3214"/>
                        <a:pt x="108801" y="2451"/>
                        <a:pt x="108827" y="2439"/>
                      </a:cubicBezTo>
                      <a:cubicBezTo>
                        <a:pt x="109182" y="1486"/>
                        <a:pt x="109386" y="788"/>
                        <a:pt x="109703" y="0"/>
                      </a:cubicBezTo>
                      <a:cubicBezTo>
                        <a:pt x="104902" y="3988"/>
                        <a:pt x="100559" y="8408"/>
                        <a:pt x="96063" y="12675"/>
                      </a:cubicBezTo>
                      <a:cubicBezTo>
                        <a:pt x="96139" y="12599"/>
                        <a:pt x="96241" y="12535"/>
                        <a:pt x="96330" y="12459"/>
                      </a:cubicBezTo>
                      <a:cubicBezTo>
                        <a:pt x="96241" y="12535"/>
                        <a:pt x="96139" y="12612"/>
                        <a:pt x="96063" y="12688"/>
                      </a:cubicBezTo>
                      <a:cubicBezTo>
                        <a:pt x="35345" y="69977"/>
                        <a:pt x="0" y="149556"/>
                        <a:pt x="0" y="234925"/>
                      </a:cubicBezTo>
                      <a:cubicBezTo>
                        <a:pt x="0" y="369468"/>
                        <a:pt x="90031" y="490258"/>
                        <a:pt x="218974" y="528586"/>
                      </a:cubicBezTo>
                      <a:cubicBezTo>
                        <a:pt x="231445" y="531837"/>
                        <a:pt x="244221" y="533476"/>
                        <a:pt x="256972" y="533476"/>
                      </a:cubicBezTo>
                      <a:cubicBezTo>
                        <a:pt x="300482" y="533476"/>
                        <a:pt x="339344" y="514349"/>
                        <a:pt x="363881" y="480910"/>
                      </a:cubicBezTo>
                      <a:cubicBezTo>
                        <a:pt x="376135" y="464070"/>
                        <a:pt x="383044" y="444995"/>
                        <a:pt x="385800" y="426034"/>
                      </a:cubicBezTo>
                      <a:cubicBezTo>
                        <a:pt x="389064" y="403453"/>
                        <a:pt x="385838" y="381190"/>
                        <a:pt x="374561" y="363639"/>
                      </a:cubicBezTo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 dirty="0"/>
                </a:p>
              </p:txBody>
            </p:sp>
            <p:sp>
              <p:nvSpPr>
                <p:cNvPr id="1123" name="Freeform 222">
                  <a:extLst>
                    <a:ext uri="{FF2B5EF4-FFF2-40B4-BE49-F238E27FC236}">
                      <a16:creationId xmlns:a16="http://schemas.microsoft.com/office/drawing/2014/main" id="{AC7C4A63-A21C-8348-5498-7B81CC465819}"/>
                    </a:ext>
                  </a:extLst>
                </p:cNvPr>
                <p:cNvSpPr/>
                <p:nvPr/>
              </p:nvSpPr>
              <p:spPr>
                <a:xfrm>
                  <a:off x="5231948" y="3302281"/>
                  <a:ext cx="129163" cy="20671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2967" h="612914">
                      <a:moveTo>
                        <a:pt x="342366" y="327609"/>
                      </a:moveTo>
                      <a:cubicBezTo>
                        <a:pt x="320078" y="297904"/>
                        <a:pt x="296850" y="274142"/>
                        <a:pt x="276352" y="253340"/>
                      </a:cubicBezTo>
                      <a:cubicBezTo>
                        <a:pt x="233743" y="209868"/>
                        <a:pt x="200215" y="175692"/>
                        <a:pt x="200215" y="117323"/>
                      </a:cubicBezTo>
                      <a:cubicBezTo>
                        <a:pt x="200215" y="57811"/>
                        <a:pt x="243726" y="25121"/>
                        <a:pt x="284543" y="15316"/>
                      </a:cubicBezTo>
                      <a:cubicBezTo>
                        <a:pt x="282499" y="14656"/>
                        <a:pt x="280162" y="14313"/>
                        <a:pt x="278054" y="13742"/>
                      </a:cubicBezTo>
                      <a:cubicBezTo>
                        <a:pt x="249555" y="5157"/>
                        <a:pt x="218605" y="0"/>
                        <a:pt x="188531" y="0"/>
                      </a:cubicBezTo>
                      <a:cubicBezTo>
                        <a:pt x="138582" y="0"/>
                        <a:pt x="99174" y="10275"/>
                        <a:pt x="60719" y="33389"/>
                      </a:cubicBezTo>
                      <a:cubicBezTo>
                        <a:pt x="32842" y="50127"/>
                        <a:pt x="10960" y="87922"/>
                        <a:pt x="4864" y="129718"/>
                      </a:cubicBezTo>
                      <a:cubicBezTo>
                        <a:pt x="686" y="158141"/>
                        <a:pt x="0" y="213157"/>
                        <a:pt x="41846" y="262065"/>
                      </a:cubicBezTo>
                      <a:cubicBezTo>
                        <a:pt x="74536" y="300393"/>
                        <a:pt x="114948" y="316002"/>
                        <a:pt x="153987" y="331038"/>
                      </a:cubicBezTo>
                      <a:cubicBezTo>
                        <a:pt x="199809" y="348652"/>
                        <a:pt x="247002" y="366953"/>
                        <a:pt x="280975" y="419442"/>
                      </a:cubicBezTo>
                      <a:cubicBezTo>
                        <a:pt x="304025" y="455091"/>
                        <a:pt x="303886" y="505104"/>
                        <a:pt x="282499" y="547801"/>
                      </a:cubicBezTo>
                      <a:cubicBezTo>
                        <a:pt x="281102" y="550659"/>
                        <a:pt x="279552" y="553415"/>
                        <a:pt x="277952" y="556132"/>
                      </a:cubicBezTo>
                      <a:cubicBezTo>
                        <a:pt x="277520" y="556932"/>
                        <a:pt x="277038" y="557745"/>
                        <a:pt x="276581" y="558545"/>
                      </a:cubicBezTo>
                      <a:cubicBezTo>
                        <a:pt x="259715" y="585304"/>
                        <a:pt x="231902" y="606069"/>
                        <a:pt x="204165" y="612914"/>
                      </a:cubicBezTo>
                      <a:cubicBezTo>
                        <a:pt x="219011" y="610793"/>
                        <a:pt x="233401" y="607555"/>
                        <a:pt x="247307" y="602856"/>
                      </a:cubicBezTo>
                      <a:cubicBezTo>
                        <a:pt x="248679" y="602462"/>
                        <a:pt x="250038" y="602043"/>
                        <a:pt x="251435" y="601649"/>
                      </a:cubicBezTo>
                      <a:cubicBezTo>
                        <a:pt x="253213" y="601001"/>
                        <a:pt x="254864" y="600100"/>
                        <a:pt x="256603" y="599427"/>
                      </a:cubicBezTo>
                      <a:cubicBezTo>
                        <a:pt x="259804" y="598157"/>
                        <a:pt x="262979" y="596823"/>
                        <a:pt x="266103" y="595375"/>
                      </a:cubicBezTo>
                      <a:cubicBezTo>
                        <a:pt x="268084" y="594448"/>
                        <a:pt x="270091" y="593559"/>
                        <a:pt x="272110" y="592505"/>
                      </a:cubicBezTo>
                      <a:cubicBezTo>
                        <a:pt x="276936" y="590092"/>
                        <a:pt x="281686" y="587336"/>
                        <a:pt x="286334" y="584453"/>
                      </a:cubicBezTo>
                      <a:cubicBezTo>
                        <a:pt x="287007" y="584022"/>
                        <a:pt x="287642" y="583590"/>
                        <a:pt x="288252" y="583183"/>
                      </a:cubicBezTo>
                      <a:cubicBezTo>
                        <a:pt x="293408" y="579894"/>
                        <a:pt x="298386" y="576198"/>
                        <a:pt x="303301" y="572274"/>
                      </a:cubicBezTo>
                      <a:cubicBezTo>
                        <a:pt x="303695" y="571944"/>
                        <a:pt x="304101" y="571601"/>
                        <a:pt x="304495" y="571296"/>
                      </a:cubicBezTo>
                      <a:cubicBezTo>
                        <a:pt x="308991" y="567575"/>
                        <a:pt x="313398" y="563587"/>
                        <a:pt x="317716" y="559282"/>
                      </a:cubicBezTo>
                      <a:cubicBezTo>
                        <a:pt x="318795" y="558139"/>
                        <a:pt x="319900" y="556932"/>
                        <a:pt x="321018" y="555789"/>
                      </a:cubicBezTo>
                      <a:cubicBezTo>
                        <a:pt x="323939" y="552703"/>
                        <a:pt x="326796" y="549477"/>
                        <a:pt x="329565" y="546087"/>
                      </a:cubicBezTo>
                      <a:cubicBezTo>
                        <a:pt x="331787" y="543470"/>
                        <a:pt x="333832" y="540753"/>
                        <a:pt x="335877" y="538022"/>
                      </a:cubicBezTo>
                      <a:cubicBezTo>
                        <a:pt x="338036" y="535114"/>
                        <a:pt x="340182" y="532091"/>
                        <a:pt x="342265" y="529005"/>
                      </a:cubicBezTo>
                      <a:cubicBezTo>
                        <a:pt x="343255" y="527494"/>
                        <a:pt x="344283" y="526046"/>
                        <a:pt x="345210" y="524535"/>
                      </a:cubicBezTo>
                      <a:cubicBezTo>
                        <a:pt x="345502" y="524141"/>
                        <a:pt x="345782" y="523709"/>
                        <a:pt x="346087" y="523239"/>
                      </a:cubicBezTo>
                      <a:lnTo>
                        <a:pt x="346036" y="523062"/>
                      </a:lnTo>
                      <a:cubicBezTo>
                        <a:pt x="352792" y="511949"/>
                        <a:pt x="358609" y="500176"/>
                        <a:pt x="363092" y="487616"/>
                      </a:cubicBezTo>
                      <a:cubicBezTo>
                        <a:pt x="382967" y="432472"/>
                        <a:pt x="374992" y="371144"/>
                        <a:pt x="342366" y="327609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</p:grpSp>
          <p:grpSp>
            <p:nvGrpSpPr>
              <p:cNvPr id="1108" name="Групувати 1107">
                <a:extLst>
                  <a:ext uri="{FF2B5EF4-FFF2-40B4-BE49-F238E27FC236}">
                    <a16:creationId xmlns:a16="http://schemas.microsoft.com/office/drawing/2014/main" id="{25491CA2-3506-9960-ED85-0E9E0DA7B805}"/>
                  </a:ext>
                </a:extLst>
              </p:cNvPr>
              <p:cNvGrpSpPr/>
              <p:nvPr/>
            </p:nvGrpSpPr>
            <p:grpSpPr>
              <a:xfrm>
                <a:off x="9192478" y="1930875"/>
                <a:ext cx="575419" cy="50379"/>
                <a:chOff x="4220435" y="3738620"/>
                <a:chExt cx="575419" cy="50379"/>
              </a:xfrm>
            </p:grpSpPr>
            <p:sp>
              <p:nvSpPr>
                <p:cNvPr id="1109" name="TextBox 1108">
                  <a:extLst>
                    <a:ext uri="{FF2B5EF4-FFF2-40B4-BE49-F238E27FC236}">
                      <a16:creationId xmlns:a16="http://schemas.microsoft.com/office/drawing/2014/main" id="{C9E32553-F953-DD45-CEBD-3F5FAA448A86}"/>
                    </a:ext>
                  </a:extLst>
                </p:cNvPr>
                <p:cNvSpPr txBox="1"/>
                <p:nvPr/>
              </p:nvSpPr>
              <p:spPr>
                <a:xfrm>
                  <a:off x="4600817" y="3741001"/>
                  <a:ext cx="29929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929" h="47998">
                      <a:moveTo>
                        <a:pt x="15198" y="0"/>
                      </a:moveTo>
                      <a:cubicBezTo>
                        <a:pt x="17931" y="19"/>
                        <a:pt x="20418" y="463"/>
                        <a:pt x="22659" y="1331"/>
                      </a:cubicBezTo>
                      <a:cubicBezTo>
                        <a:pt x="24899" y="2200"/>
                        <a:pt x="26701" y="3376"/>
                        <a:pt x="28065" y="4860"/>
                      </a:cubicBezTo>
                      <a:lnTo>
                        <a:pt x="25002" y="9127"/>
                      </a:lnTo>
                      <a:cubicBezTo>
                        <a:pt x="23783" y="7889"/>
                        <a:pt x="22405" y="6947"/>
                        <a:pt x="20868" y="6301"/>
                      </a:cubicBezTo>
                      <a:cubicBezTo>
                        <a:pt x="19331" y="5655"/>
                        <a:pt x="17552" y="5330"/>
                        <a:pt x="15531" y="5326"/>
                      </a:cubicBezTo>
                      <a:cubicBezTo>
                        <a:pt x="12905" y="5353"/>
                        <a:pt x="10853" y="5981"/>
                        <a:pt x="9377" y="7210"/>
                      </a:cubicBezTo>
                      <a:cubicBezTo>
                        <a:pt x="7902" y="8438"/>
                        <a:pt x="7151" y="10099"/>
                        <a:pt x="7126" y="12195"/>
                      </a:cubicBezTo>
                      <a:cubicBezTo>
                        <a:pt x="7187" y="14454"/>
                        <a:pt x="7977" y="16223"/>
                        <a:pt x="9498" y="17502"/>
                      </a:cubicBezTo>
                      <a:cubicBezTo>
                        <a:pt x="11018" y="18780"/>
                        <a:pt x="12903" y="19858"/>
                        <a:pt x="15153" y="20734"/>
                      </a:cubicBezTo>
                      <a:cubicBezTo>
                        <a:pt x="17403" y="21611"/>
                        <a:pt x="19652" y="22575"/>
                        <a:pt x="21902" y="23627"/>
                      </a:cubicBezTo>
                      <a:cubicBezTo>
                        <a:pt x="24152" y="24680"/>
                        <a:pt x="26037" y="26110"/>
                        <a:pt x="27557" y="27916"/>
                      </a:cubicBezTo>
                      <a:cubicBezTo>
                        <a:pt x="29078" y="29723"/>
                        <a:pt x="29868" y="32197"/>
                        <a:pt x="29929" y="35336"/>
                      </a:cubicBezTo>
                      <a:cubicBezTo>
                        <a:pt x="29825" y="39219"/>
                        <a:pt x="28351" y="42288"/>
                        <a:pt x="25507" y="44543"/>
                      </a:cubicBezTo>
                      <a:cubicBezTo>
                        <a:pt x="22663" y="46798"/>
                        <a:pt x="19071" y="47949"/>
                        <a:pt x="14731" y="47998"/>
                      </a:cubicBezTo>
                      <a:cubicBezTo>
                        <a:pt x="11753" y="47981"/>
                        <a:pt x="8872" y="47365"/>
                        <a:pt x="6089" y="46150"/>
                      </a:cubicBezTo>
                      <a:cubicBezTo>
                        <a:pt x="3305" y="44935"/>
                        <a:pt x="1276" y="43220"/>
                        <a:pt x="0" y="41005"/>
                      </a:cubicBezTo>
                      <a:lnTo>
                        <a:pt x="3264" y="37137"/>
                      </a:lnTo>
                      <a:cubicBezTo>
                        <a:pt x="4693" y="38943"/>
                        <a:pt x="6465" y="40316"/>
                        <a:pt x="8579" y="41255"/>
                      </a:cubicBezTo>
                      <a:cubicBezTo>
                        <a:pt x="10693" y="42194"/>
                        <a:pt x="12766" y="42666"/>
                        <a:pt x="14798" y="42672"/>
                      </a:cubicBezTo>
                      <a:cubicBezTo>
                        <a:pt x="17309" y="42665"/>
                        <a:pt x="19441" y="42045"/>
                        <a:pt x="21193" y="40813"/>
                      </a:cubicBezTo>
                      <a:cubicBezTo>
                        <a:pt x="22946" y="39581"/>
                        <a:pt x="23860" y="37777"/>
                        <a:pt x="23936" y="35403"/>
                      </a:cubicBezTo>
                      <a:cubicBezTo>
                        <a:pt x="23876" y="33168"/>
                        <a:pt x="23085" y="31398"/>
                        <a:pt x="21565" y="30095"/>
                      </a:cubicBezTo>
                      <a:cubicBezTo>
                        <a:pt x="20045" y="28792"/>
                        <a:pt x="18160" y="27681"/>
                        <a:pt x="15910" y="26763"/>
                      </a:cubicBezTo>
                      <a:cubicBezTo>
                        <a:pt x="13660" y="25844"/>
                        <a:pt x="11410" y="24845"/>
                        <a:pt x="9160" y="23763"/>
                      </a:cubicBezTo>
                      <a:cubicBezTo>
                        <a:pt x="6910" y="22682"/>
                        <a:pt x="5025" y="21246"/>
                        <a:pt x="3505" y="19455"/>
                      </a:cubicBezTo>
                      <a:cubicBezTo>
                        <a:pt x="1985" y="17663"/>
                        <a:pt x="1194" y="15243"/>
                        <a:pt x="1134" y="12195"/>
                      </a:cubicBezTo>
                      <a:cubicBezTo>
                        <a:pt x="1165" y="8740"/>
                        <a:pt x="2400" y="5865"/>
                        <a:pt x="4839" y="3571"/>
                      </a:cubicBezTo>
                      <a:cubicBezTo>
                        <a:pt x="7278" y="1278"/>
                        <a:pt x="10731" y="87"/>
                        <a:pt x="15198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0" name="TextBox 1109">
                  <a:extLst>
                    <a:ext uri="{FF2B5EF4-FFF2-40B4-BE49-F238E27FC236}">
                      <a16:creationId xmlns:a16="http://schemas.microsoft.com/office/drawing/2014/main" id="{FD2D6D87-385A-2500-6E9E-895FC383B55A}"/>
                    </a:ext>
                  </a:extLst>
                </p:cNvPr>
                <p:cNvSpPr txBox="1"/>
                <p:nvPr/>
              </p:nvSpPr>
              <p:spPr>
                <a:xfrm>
                  <a:off x="4646060" y="3741001"/>
                  <a:ext cx="41130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30" h="47998">
                      <a:moveTo>
                        <a:pt x="22933" y="0"/>
                      </a:moveTo>
                      <a:cubicBezTo>
                        <a:pt x="26078" y="1"/>
                        <a:pt x="28840" y="381"/>
                        <a:pt x="31219" y="1140"/>
                      </a:cubicBezTo>
                      <a:cubicBezTo>
                        <a:pt x="33597" y="1899"/>
                        <a:pt x="35725" y="3028"/>
                        <a:pt x="37602" y="4527"/>
                      </a:cubicBezTo>
                      <a:lnTo>
                        <a:pt x="35138" y="9061"/>
                      </a:lnTo>
                      <a:cubicBezTo>
                        <a:pt x="33740" y="7826"/>
                        <a:pt x="32033" y="6895"/>
                        <a:pt x="30019" y="6268"/>
                      </a:cubicBezTo>
                      <a:cubicBezTo>
                        <a:pt x="28004" y="5641"/>
                        <a:pt x="25864" y="5327"/>
                        <a:pt x="23600" y="5326"/>
                      </a:cubicBezTo>
                      <a:cubicBezTo>
                        <a:pt x="18314" y="5399"/>
                        <a:pt x="14079" y="7103"/>
                        <a:pt x="10895" y="10437"/>
                      </a:cubicBezTo>
                      <a:cubicBezTo>
                        <a:pt x="7710" y="13771"/>
                        <a:pt x="6076" y="18293"/>
                        <a:pt x="5993" y="24002"/>
                      </a:cubicBezTo>
                      <a:cubicBezTo>
                        <a:pt x="6072" y="29738"/>
                        <a:pt x="7714" y="34266"/>
                        <a:pt x="10920" y="37586"/>
                      </a:cubicBezTo>
                      <a:cubicBezTo>
                        <a:pt x="14125" y="40907"/>
                        <a:pt x="18418" y="42602"/>
                        <a:pt x="23800" y="42672"/>
                      </a:cubicBezTo>
                      <a:cubicBezTo>
                        <a:pt x="26071" y="42650"/>
                        <a:pt x="28314" y="42261"/>
                        <a:pt x="30527" y="41505"/>
                      </a:cubicBezTo>
                      <a:cubicBezTo>
                        <a:pt x="32741" y="40748"/>
                        <a:pt x="34500" y="39759"/>
                        <a:pt x="35805" y="38536"/>
                      </a:cubicBezTo>
                      <a:lnTo>
                        <a:pt x="35805" y="28929"/>
                      </a:lnTo>
                      <a:lnTo>
                        <a:pt x="23199" y="28929"/>
                      </a:lnTo>
                      <a:lnTo>
                        <a:pt x="23199" y="23603"/>
                      </a:lnTo>
                      <a:lnTo>
                        <a:pt x="41130" y="23603"/>
                      </a:lnTo>
                      <a:lnTo>
                        <a:pt x="41130" y="41538"/>
                      </a:lnTo>
                      <a:cubicBezTo>
                        <a:pt x="38960" y="43614"/>
                        <a:pt x="36258" y="45207"/>
                        <a:pt x="33026" y="46316"/>
                      </a:cubicBezTo>
                      <a:cubicBezTo>
                        <a:pt x="29795" y="47426"/>
                        <a:pt x="26675" y="47987"/>
                        <a:pt x="23666" y="47998"/>
                      </a:cubicBezTo>
                      <a:cubicBezTo>
                        <a:pt x="16319" y="47906"/>
                        <a:pt x="10558" y="45724"/>
                        <a:pt x="6381" y="41450"/>
                      </a:cubicBezTo>
                      <a:cubicBezTo>
                        <a:pt x="2204" y="37176"/>
                        <a:pt x="78" y="31361"/>
                        <a:pt x="0" y="24002"/>
                      </a:cubicBezTo>
                      <a:cubicBezTo>
                        <a:pt x="25" y="19485"/>
                        <a:pt x="974" y="15425"/>
                        <a:pt x="2848" y="11821"/>
                      </a:cubicBezTo>
                      <a:cubicBezTo>
                        <a:pt x="4722" y="8217"/>
                        <a:pt x="7370" y="5358"/>
                        <a:pt x="10792" y="3244"/>
                      </a:cubicBezTo>
                      <a:cubicBezTo>
                        <a:pt x="14215" y="1129"/>
                        <a:pt x="18261" y="48"/>
                        <a:pt x="22933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1" name="TextBox 1110">
                  <a:extLst>
                    <a:ext uri="{FF2B5EF4-FFF2-40B4-BE49-F238E27FC236}">
                      <a16:creationId xmlns:a16="http://schemas.microsoft.com/office/drawing/2014/main" id="{AB07D5B7-F686-CFD9-5DC4-D1DEE33E3E8D}"/>
                    </a:ext>
                  </a:extLst>
                </p:cNvPr>
                <p:cNvSpPr txBox="1"/>
                <p:nvPr/>
              </p:nvSpPr>
              <p:spPr>
                <a:xfrm>
                  <a:off x="4479416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70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70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7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2" name="TextBox 1111">
                  <a:extLst>
                    <a:ext uri="{FF2B5EF4-FFF2-40B4-BE49-F238E27FC236}">
                      <a16:creationId xmlns:a16="http://schemas.microsoft.com/office/drawing/2014/main" id="{E95CAFDD-444C-031C-75AC-594F4C666C76}"/>
                    </a:ext>
                  </a:extLst>
                </p:cNvPr>
                <p:cNvSpPr txBox="1"/>
                <p:nvPr/>
              </p:nvSpPr>
              <p:spPr>
                <a:xfrm>
                  <a:off x="4700872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69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69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8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3" name="TextBox 1112">
                  <a:extLst>
                    <a:ext uri="{FF2B5EF4-FFF2-40B4-BE49-F238E27FC236}">
                      <a16:creationId xmlns:a16="http://schemas.microsoft.com/office/drawing/2014/main" id="{7B4128A4-45EC-F248-38B1-F794E8FF9406}"/>
                    </a:ext>
                  </a:extLst>
                </p:cNvPr>
                <p:cNvSpPr txBox="1"/>
                <p:nvPr/>
              </p:nvSpPr>
              <p:spPr>
                <a:xfrm>
                  <a:off x="4330639" y="3738620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60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9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4" name="TextBox 1113">
                  <a:extLst>
                    <a:ext uri="{FF2B5EF4-FFF2-40B4-BE49-F238E27FC236}">
                      <a16:creationId xmlns:a16="http://schemas.microsoft.com/office/drawing/2014/main" id="{06237D72-B684-4D17-1A23-8EB8DC81A270}"/>
                    </a:ext>
                  </a:extLst>
                </p:cNvPr>
                <p:cNvSpPr txBox="1"/>
                <p:nvPr/>
              </p:nvSpPr>
              <p:spPr>
                <a:xfrm>
                  <a:off x="4428271" y="3741001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59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8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5" name="TextBox 1114">
                  <a:extLst>
                    <a:ext uri="{FF2B5EF4-FFF2-40B4-BE49-F238E27FC236}">
                      <a16:creationId xmlns:a16="http://schemas.microsoft.com/office/drawing/2014/main" id="{2D705DBE-7F25-B6FF-8101-E6918C222B9F}"/>
                    </a:ext>
                  </a:extLst>
                </p:cNvPr>
                <p:cNvSpPr txBox="1"/>
                <p:nvPr/>
              </p:nvSpPr>
              <p:spPr>
                <a:xfrm>
                  <a:off x="4220435" y="3738620"/>
                  <a:ext cx="37396" cy="4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396" h="472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25670"/>
                      </a:lnTo>
                      <a:cubicBezTo>
                        <a:pt x="5682" y="30781"/>
                        <a:pt x="6869" y="34760"/>
                        <a:pt x="9219" y="37604"/>
                      </a:cubicBezTo>
                      <a:cubicBezTo>
                        <a:pt x="11568" y="40449"/>
                        <a:pt x="14939" y="41894"/>
                        <a:pt x="19331" y="41938"/>
                      </a:cubicBezTo>
                      <a:cubicBezTo>
                        <a:pt x="23204" y="41940"/>
                        <a:pt x="26230" y="40620"/>
                        <a:pt x="28410" y="37980"/>
                      </a:cubicBezTo>
                      <a:cubicBezTo>
                        <a:pt x="30591" y="35339"/>
                        <a:pt x="31699" y="31369"/>
                        <a:pt x="31737" y="26070"/>
                      </a:cubicBezTo>
                      <a:lnTo>
                        <a:pt x="31737" y="0"/>
                      </a:lnTo>
                      <a:lnTo>
                        <a:pt x="37396" y="0"/>
                      </a:lnTo>
                      <a:lnTo>
                        <a:pt x="37396" y="27203"/>
                      </a:lnTo>
                      <a:cubicBezTo>
                        <a:pt x="37349" y="31943"/>
                        <a:pt x="36495" y="35790"/>
                        <a:pt x="34832" y="38746"/>
                      </a:cubicBezTo>
                      <a:cubicBezTo>
                        <a:pt x="33169" y="41701"/>
                        <a:pt x="30976" y="43864"/>
                        <a:pt x="28254" y="45234"/>
                      </a:cubicBezTo>
                      <a:cubicBezTo>
                        <a:pt x="25531" y="46604"/>
                        <a:pt x="22557" y="47281"/>
                        <a:pt x="19331" y="47264"/>
                      </a:cubicBezTo>
                      <a:cubicBezTo>
                        <a:pt x="13624" y="47263"/>
                        <a:pt x="9001" y="45550"/>
                        <a:pt x="5464" y="42126"/>
                      </a:cubicBezTo>
                      <a:cubicBezTo>
                        <a:pt x="1926" y="38702"/>
                        <a:pt x="105" y="33572"/>
                        <a:pt x="0" y="267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6" name="TextBox 1115">
                  <a:extLst>
                    <a:ext uri="{FF2B5EF4-FFF2-40B4-BE49-F238E27FC236}">
                      <a16:creationId xmlns:a16="http://schemas.microsoft.com/office/drawing/2014/main" id="{48E442E3-E368-CFFA-4878-3761CE0EBE91}"/>
                    </a:ext>
                  </a:extLst>
                </p:cNvPr>
                <p:cNvSpPr txBox="1"/>
                <p:nvPr/>
              </p:nvSpPr>
              <p:spPr>
                <a:xfrm>
                  <a:off x="4278251" y="3738620"/>
                  <a:ext cx="5659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9" h="466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7" name="TextBox 1116">
                  <a:extLst>
                    <a:ext uri="{FF2B5EF4-FFF2-40B4-BE49-F238E27FC236}">
                      <a16:creationId xmlns:a16="http://schemas.microsoft.com/office/drawing/2014/main" id="{02EBF2C2-8CAB-1FCB-8531-53760B45DCAB}"/>
                    </a:ext>
                  </a:extLst>
                </p:cNvPr>
                <p:cNvSpPr txBox="1"/>
                <p:nvPr/>
              </p:nvSpPr>
              <p:spPr>
                <a:xfrm>
                  <a:off x="4285044" y="3738620"/>
                  <a:ext cx="28403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403" h="46664">
                      <a:moveTo>
                        <a:pt x="20469" y="0"/>
                      </a:moveTo>
                      <a:lnTo>
                        <a:pt x="27337" y="0"/>
                      </a:lnTo>
                      <a:lnTo>
                        <a:pt x="6534" y="21932"/>
                      </a:lnTo>
                      <a:lnTo>
                        <a:pt x="28403" y="46664"/>
                      </a:lnTo>
                      <a:lnTo>
                        <a:pt x="21136" y="46664"/>
                      </a:lnTo>
                      <a:lnTo>
                        <a:pt x="0" y="22332"/>
                      </a:lnTo>
                      <a:lnTo>
                        <a:pt x="20469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8" name="TextBox 1117">
                  <a:extLst>
                    <a:ext uri="{FF2B5EF4-FFF2-40B4-BE49-F238E27FC236}">
                      <a16:creationId xmlns:a16="http://schemas.microsoft.com/office/drawing/2014/main" id="{99CEA06D-B6AF-FF7A-59F9-E7321EC7038D}"/>
                    </a:ext>
                  </a:extLst>
                </p:cNvPr>
                <p:cNvSpPr txBox="1"/>
                <p:nvPr/>
              </p:nvSpPr>
              <p:spPr>
                <a:xfrm>
                  <a:off x="4374312" y="3741001"/>
                  <a:ext cx="38330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330" h="46664">
                      <a:moveTo>
                        <a:pt x="0" y="0"/>
                      </a:moveTo>
                      <a:lnTo>
                        <a:pt x="38330" y="0"/>
                      </a:lnTo>
                      <a:lnTo>
                        <a:pt x="38330" y="5325"/>
                      </a:lnTo>
                      <a:lnTo>
                        <a:pt x="21995" y="5325"/>
                      </a:lnTo>
                      <a:lnTo>
                        <a:pt x="21995" y="46664"/>
                      </a:lnTo>
                      <a:lnTo>
                        <a:pt x="16336" y="46664"/>
                      </a:lnTo>
                      <a:lnTo>
                        <a:pt x="16336" y="5325"/>
                      </a:lnTo>
                      <a:lnTo>
                        <a:pt x="0" y="53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19" name="TextBox 1118">
                  <a:extLst>
                    <a:ext uri="{FF2B5EF4-FFF2-40B4-BE49-F238E27FC236}">
                      <a16:creationId xmlns:a16="http://schemas.microsoft.com/office/drawing/2014/main" id="{1838D486-E083-71D7-DEF0-13EC487EDC23}"/>
                    </a:ext>
                  </a:extLst>
                </p:cNvPr>
                <p:cNvSpPr txBox="1"/>
                <p:nvPr/>
              </p:nvSpPr>
              <p:spPr>
                <a:xfrm>
                  <a:off x="4542571" y="3741001"/>
                  <a:ext cx="38997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97" h="46664">
                      <a:moveTo>
                        <a:pt x="0" y="0"/>
                      </a:moveTo>
                      <a:lnTo>
                        <a:pt x="4527" y="0"/>
                      </a:lnTo>
                      <a:lnTo>
                        <a:pt x="33671" y="36798"/>
                      </a:lnTo>
                      <a:lnTo>
                        <a:pt x="33671" y="0"/>
                      </a:lnTo>
                      <a:lnTo>
                        <a:pt x="38997" y="0"/>
                      </a:lnTo>
                      <a:lnTo>
                        <a:pt x="38997" y="46664"/>
                      </a:lnTo>
                      <a:lnTo>
                        <a:pt x="34470" y="46664"/>
                      </a:lnTo>
                      <a:lnTo>
                        <a:pt x="5326" y="9999"/>
                      </a:lnTo>
                      <a:lnTo>
                        <a:pt x="5326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120" name="TextBox 1119">
                  <a:extLst>
                    <a:ext uri="{FF2B5EF4-FFF2-40B4-BE49-F238E27FC236}">
                      <a16:creationId xmlns:a16="http://schemas.microsoft.com/office/drawing/2014/main" id="{9282B369-1772-3ED1-5827-EB0AE1E7DF91}"/>
                    </a:ext>
                  </a:extLst>
                </p:cNvPr>
                <p:cNvSpPr txBox="1"/>
                <p:nvPr/>
              </p:nvSpPr>
              <p:spPr>
                <a:xfrm>
                  <a:off x="4758121" y="3741001"/>
                  <a:ext cx="37733" cy="477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733" h="47727">
                      <a:moveTo>
                        <a:pt x="2767" y="0"/>
                      </a:moveTo>
                      <a:lnTo>
                        <a:pt x="36951" y="0"/>
                      </a:lnTo>
                      <a:lnTo>
                        <a:pt x="36951" y="5632"/>
                      </a:lnTo>
                      <a:lnTo>
                        <a:pt x="10158" y="38742"/>
                      </a:lnTo>
                      <a:lnTo>
                        <a:pt x="7260" y="42095"/>
                      </a:lnTo>
                      <a:lnTo>
                        <a:pt x="37733" y="42095"/>
                      </a:lnTo>
                      <a:lnTo>
                        <a:pt x="37733" y="47727"/>
                      </a:lnTo>
                      <a:lnTo>
                        <a:pt x="0" y="47727"/>
                      </a:lnTo>
                      <a:lnTo>
                        <a:pt x="0" y="41867"/>
                      </a:lnTo>
                      <a:lnTo>
                        <a:pt x="24450" y="11297"/>
                      </a:lnTo>
                      <a:cubicBezTo>
                        <a:pt x="26186" y="9126"/>
                        <a:pt x="27836" y="7238"/>
                        <a:pt x="29398" y="5632"/>
                      </a:cubicBezTo>
                      <a:lnTo>
                        <a:pt x="2767" y="5632"/>
                      </a:lnTo>
                      <a:lnTo>
                        <a:pt x="2767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97065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7CBB3B-3FF0-99C4-180D-8CEE41EBB2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395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Групувати 2">
            <a:extLst>
              <a:ext uri="{FF2B5EF4-FFF2-40B4-BE49-F238E27FC236}">
                <a16:creationId xmlns:a16="http://schemas.microsoft.com/office/drawing/2014/main" id="{06037C5A-D4BC-EF2D-0008-C5A9088634FF}"/>
              </a:ext>
            </a:extLst>
          </p:cNvPr>
          <p:cNvGrpSpPr/>
          <p:nvPr/>
        </p:nvGrpSpPr>
        <p:grpSpPr>
          <a:xfrm>
            <a:off x="330100" y="101856"/>
            <a:ext cx="11876414" cy="6625259"/>
            <a:chOff x="319853" y="104129"/>
            <a:chExt cx="11876414" cy="6625259"/>
          </a:xfrm>
        </p:grpSpPr>
        <p:grpSp>
          <p:nvGrpSpPr>
            <p:cNvPr id="30" name="Групувати 29">
              <a:extLst>
                <a:ext uri="{FF2B5EF4-FFF2-40B4-BE49-F238E27FC236}">
                  <a16:creationId xmlns:a16="http://schemas.microsoft.com/office/drawing/2014/main" id="{67A0F6A1-509A-9587-BF70-480883625F82}"/>
                </a:ext>
              </a:extLst>
            </p:cNvPr>
            <p:cNvGrpSpPr/>
            <p:nvPr/>
          </p:nvGrpSpPr>
          <p:grpSpPr>
            <a:xfrm>
              <a:off x="8861033" y="4467258"/>
              <a:ext cx="2898702" cy="1032584"/>
              <a:chOff x="14573834" y="2487106"/>
              <a:chExt cx="3417544" cy="1217409"/>
            </a:xfrm>
          </p:grpSpPr>
          <p:grpSp>
            <p:nvGrpSpPr>
              <p:cNvPr id="86" name="Групувати 85">
                <a:extLst>
                  <a:ext uri="{FF2B5EF4-FFF2-40B4-BE49-F238E27FC236}">
                    <a16:creationId xmlns:a16="http://schemas.microsoft.com/office/drawing/2014/main" id="{FFD7992D-2957-206B-C71D-69EEFF607A18}"/>
                  </a:ext>
                </a:extLst>
              </p:cNvPr>
              <p:cNvGrpSpPr/>
              <p:nvPr/>
            </p:nvGrpSpPr>
            <p:grpSpPr>
              <a:xfrm>
                <a:off x="14793793" y="2487106"/>
                <a:ext cx="2891469" cy="371543"/>
                <a:chOff x="15938897" y="11520707"/>
                <a:chExt cx="4753215" cy="610770"/>
              </a:xfrm>
            </p:grpSpPr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94056A70-D295-7D06-3A5A-BA8CE1E02718}"/>
                    </a:ext>
                  </a:extLst>
                </p:cNvPr>
                <p:cNvSpPr txBox="1"/>
                <p:nvPr/>
              </p:nvSpPr>
              <p:spPr>
                <a:xfrm>
                  <a:off x="20153066" y="11761206"/>
                  <a:ext cx="239894" cy="3702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9894" h="370271">
                      <a:moveTo>
                        <a:pt x="121916" y="0"/>
                      </a:moveTo>
                      <a:cubicBezTo>
                        <a:pt x="158806" y="640"/>
                        <a:pt x="187604" y="12550"/>
                        <a:pt x="208312" y="35728"/>
                      </a:cubicBezTo>
                      <a:cubicBezTo>
                        <a:pt x="229018" y="58906"/>
                        <a:pt x="239546" y="89507"/>
                        <a:pt x="239894" y="127532"/>
                      </a:cubicBezTo>
                      <a:cubicBezTo>
                        <a:pt x="239404" y="166868"/>
                        <a:pt x="227612" y="199062"/>
                        <a:pt x="204516" y="224114"/>
                      </a:cubicBezTo>
                      <a:cubicBezTo>
                        <a:pt x="181420" y="249165"/>
                        <a:pt x="149952" y="262105"/>
                        <a:pt x="110110" y="262934"/>
                      </a:cubicBezTo>
                      <a:cubicBezTo>
                        <a:pt x="94508" y="262992"/>
                        <a:pt x="79750" y="261334"/>
                        <a:pt x="65836" y="257959"/>
                      </a:cubicBezTo>
                      <a:cubicBezTo>
                        <a:pt x="51922" y="254584"/>
                        <a:pt x="39694" y="249142"/>
                        <a:pt x="29152" y="241633"/>
                      </a:cubicBezTo>
                      <a:lnTo>
                        <a:pt x="29152" y="370271"/>
                      </a:lnTo>
                      <a:lnTo>
                        <a:pt x="0" y="370271"/>
                      </a:lnTo>
                      <a:lnTo>
                        <a:pt x="0" y="5057"/>
                      </a:lnTo>
                      <a:lnTo>
                        <a:pt x="29152" y="5057"/>
                      </a:lnTo>
                      <a:lnTo>
                        <a:pt x="29152" y="38710"/>
                      </a:lnTo>
                      <a:cubicBezTo>
                        <a:pt x="39096" y="27273"/>
                        <a:pt x="52378" y="18015"/>
                        <a:pt x="68998" y="10934"/>
                      </a:cubicBezTo>
                      <a:cubicBezTo>
                        <a:pt x="85618" y="3854"/>
                        <a:pt x="103258" y="209"/>
                        <a:pt x="121916" y="0"/>
                      </a:cubicBezTo>
                      <a:close/>
                      <a:moveTo>
                        <a:pt x="114044" y="27466"/>
                      </a:moveTo>
                      <a:cubicBezTo>
                        <a:pt x="96030" y="27806"/>
                        <a:pt x="79492" y="31764"/>
                        <a:pt x="64430" y="39342"/>
                      </a:cubicBezTo>
                      <a:cubicBezTo>
                        <a:pt x="49368" y="46920"/>
                        <a:pt x="37610" y="56078"/>
                        <a:pt x="29152" y="66818"/>
                      </a:cubicBezTo>
                      <a:lnTo>
                        <a:pt x="29152" y="212418"/>
                      </a:lnTo>
                      <a:cubicBezTo>
                        <a:pt x="42306" y="221003"/>
                        <a:pt x="55354" y="227023"/>
                        <a:pt x="68296" y="230478"/>
                      </a:cubicBezTo>
                      <a:cubicBezTo>
                        <a:pt x="81238" y="233933"/>
                        <a:pt x="94426" y="235596"/>
                        <a:pt x="107860" y="235467"/>
                      </a:cubicBezTo>
                      <a:cubicBezTo>
                        <a:pt x="138886" y="234905"/>
                        <a:pt x="163412" y="224927"/>
                        <a:pt x="181438" y="205532"/>
                      </a:cubicBezTo>
                      <a:cubicBezTo>
                        <a:pt x="199462" y="186137"/>
                        <a:pt x="208668" y="160699"/>
                        <a:pt x="209054" y="129218"/>
                      </a:cubicBezTo>
                      <a:cubicBezTo>
                        <a:pt x="208890" y="98662"/>
                        <a:pt x="200646" y="74185"/>
                        <a:pt x="184318" y="55785"/>
                      </a:cubicBezTo>
                      <a:cubicBezTo>
                        <a:pt x="167992" y="37386"/>
                        <a:pt x="144566" y="27946"/>
                        <a:pt x="114044" y="27466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grpSp>
              <p:nvGrpSpPr>
                <p:cNvPr id="128" name="Групувати 127">
                  <a:extLst>
                    <a:ext uri="{FF2B5EF4-FFF2-40B4-BE49-F238E27FC236}">
                      <a16:creationId xmlns:a16="http://schemas.microsoft.com/office/drawing/2014/main" id="{64F42B2F-42BD-4EBC-8AEA-4680DB829FEA}"/>
                    </a:ext>
                  </a:extLst>
                </p:cNvPr>
                <p:cNvGrpSpPr/>
                <p:nvPr/>
              </p:nvGrpSpPr>
              <p:grpSpPr>
                <a:xfrm>
                  <a:off x="15938897" y="11520707"/>
                  <a:ext cx="4753215" cy="505345"/>
                  <a:chOff x="15938897" y="11520707"/>
                  <a:chExt cx="4753215" cy="505345"/>
                </a:xfrm>
              </p:grpSpPr>
              <p:sp>
                <p:nvSpPr>
                  <p:cNvPr id="129" name="TextBox 128">
                    <a:extLst>
                      <a:ext uri="{FF2B5EF4-FFF2-40B4-BE49-F238E27FC236}">
                        <a16:creationId xmlns:a16="http://schemas.microsoft.com/office/drawing/2014/main" id="{2D5C2303-70D4-0C6D-38BE-FAA228EE26EC}"/>
                      </a:ext>
                    </a:extLst>
                  </p:cNvPr>
                  <p:cNvSpPr txBox="1"/>
                  <p:nvPr/>
                </p:nvSpPr>
                <p:spPr>
                  <a:xfrm>
                    <a:off x="15938897" y="11600018"/>
                    <a:ext cx="594360" cy="4260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94360" h="426034">
                        <a:moveTo>
                          <a:pt x="0" y="0"/>
                        </a:moveTo>
                        <a:lnTo>
                          <a:pt x="84124" y="0"/>
                        </a:lnTo>
                        <a:lnTo>
                          <a:pt x="170078" y="303701"/>
                        </a:lnTo>
                        <a:lnTo>
                          <a:pt x="265176" y="0"/>
                        </a:lnTo>
                        <a:lnTo>
                          <a:pt x="339548" y="0"/>
                        </a:lnTo>
                        <a:lnTo>
                          <a:pt x="437084" y="304309"/>
                        </a:lnTo>
                        <a:lnTo>
                          <a:pt x="522428" y="0"/>
                        </a:lnTo>
                        <a:lnTo>
                          <a:pt x="594360" y="0"/>
                        </a:lnTo>
                        <a:lnTo>
                          <a:pt x="472440" y="426034"/>
                        </a:lnTo>
                        <a:lnTo>
                          <a:pt x="402336" y="426034"/>
                        </a:lnTo>
                        <a:lnTo>
                          <a:pt x="299314" y="118071"/>
                        </a:lnTo>
                        <a:lnTo>
                          <a:pt x="198120" y="426034"/>
                        </a:lnTo>
                        <a:lnTo>
                          <a:pt x="127406" y="42603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0" name="TextBox 129">
                    <a:extLst>
                      <a:ext uri="{FF2B5EF4-FFF2-40B4-BE49-F238E27FC236}">
                        <a16:creationId xmlns:a16="http://schemas.microsoft.com/office/drawing/2014/main" id="{E48FD80E-884B-5331-3504-64EE4CC20F06}"/>
                      </a:ext>
                    </a:extLst>
                  </p:cNvPr>
                  <p:cNvSpPr txBox="1"/>
                  <p:nvPr/>
                </p:nvSpPr>
                <p:spPr>
                  <a:xfrm>
                    <a:off x="17825509" y="11624645"/>
                    <a:ext cx="147166" cy="39443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7166" h="394436">
                        <a:moveTo>
                          <a:pt x="100574" y="0"/>
                        </a:moveTo>
                        <a:lnTo>
                          <a:pt x="147166" y="0"/>
                        </a:lnTo>
                        <a:lnTo>
                          <a:pt x="147166" y="394436"/>
                        </a:lnTo>
                        <a:lnTo>
                          <a:pt x="82610" y="394436"/>
                        </a:lnTo>
                        <a:lnTo>
                          <a:pt x="82610" y="92149"/>
                        </a:lnTo>
                        <a:lnTo>
                          <a:pt x="34280" y="128670"/>
                        </a:lnTo>
                        <a:lnTo>
                          <a:pt x="0" y="75293"/>
                        </a:lnTo>
                        <a:lnTo>
                          <a:pt x="100574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1" name="TextBox 130">
                    <a:extLst>
                      <a:ext uri="{FF2B5EF4-FFF2-40B4-BE49-F238E27FC236}">
                        <a16:creationId xmlns:a16="http://schemas.microsoft.com/office/drawing/2014/main" id="{D0E36105-5F2C-07B7-B85E-1EDA59904616}"/>
                      </a:ext>
                    </a:extLst>
                  </p:cNvPr>
                  <p:cNvSpPr txBox="1"/>
                  <p:nvPr/>
                </p:nvSpPr>
                <p:spPr>
                  <a:xfrm>
                    <a:off x="19047100" y="11625769"/>
                    <a:ext cx="223034" cy="39331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3034" h="393312">
                        <a:moveTo>
                          <a:pt x="0" y="0"/>
                        </a:moveTo>
                        <a:lnTo>
                          <a:pt x="217414" y="0"/>
                        </a:lnTo>
                        <a:lnTo>
                          <a:pt x="217414" y="29152"/>
                        </a:lnTo>
                        <a:lnTo>
                          <a:pt x="30838" y="29152"/>
                        </a:lnTo>
                        <a:lnTo>
                          <a:pt x="30838" y="179270"/>
                        </a:lnTo>
                        <a:lnTo>
                          <a:pt x="200554" y="179270"/>
                        </a:lnTo>
                        <a:lnTo>
                          <a:pt x="200554" y="208422"/>
                        </a:lnTo>
                        <a:lnTo>
                          <a:pt x="30838" y="208422"/>
                        </a:lnTo>
                        <a:lnTo>
                          <a:pt x="30838" y="364159"/>
                        </a:lnTo>
                        <a:lnTo>
                          <a:pt x="223034" y="364159"/>
                        </a:lnTo>
                        <a:lnTo>
                          <a:pt x="223034" y="393312"/>
                        </a:lnTo>
                        <a:lnTo>
                          <a:pt x="0" y="39331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2" name="TextBox 131">
                    <a:extLst>
                      <a:ext uri="{FF2B5EF4-FFF2-40B4-BE49-F238E27FC236}">
                        <a16:creationId xmlns:a16="http://schemas.microsoft.com/office/drawing/2014/main" id="{C7A88AEA-6DE6-4893-4BD3-3978A5B5C338}"/>
                      </a:ext>
                    </a:extLst>
                  </p:cNvPr>
                  <p:cNvSpPr txBox="1"/>
                  <p:nvPr/>
                </p:nvSpPr>
                <p:spPr>
                  <a:xfrm>
                    <a:off x="18447558" y="11649372"/>
                    <a:ext cx="39830" cy="3933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830" h="39338">
                        <a:moveTo>
                          <a:pt x="20754" y="0"/>
                        </a:moveTo>
                        <a:cubicBezTo>
                          <a:pt x="25720" y="70"/>
                          <a:pt x="30090" y="1756"/>
                          <a:pt x="33866" y="5057"/>
                        </a:cubicBezTo>
                        <a:cubicBezTo>
                          <a:pt x="37642" y="8359"/>
                          <a:pt x="39630" y="12855"/>
                          <a:pt x="39830" y="18545"/>
                        </a:cubicBezTo>
                        <a:cubicBezTo>
                          <a:pt x="39630" y="25066"/>
                          <a:pt x="37642" y="30147"/>
                          <a:pt x="33866" y="33788"/>
                        </a:cubicBezTo>
                        <a:cubicBezTo>
                          <a:pt x="30090" y="37429"/>
                          <a:pt x="25720" y="39279"/>
                          <a:pt x="20754" y="39338"/>
                        </a:cubicBezTo>
                        <a:cubicBezTo>
                          <a:pt x="14984" y="39279"/>
                          <a:pt x="10124" y="37429"/>
                          <a:pt x="6172" y="33788"/>
                        </a:cubicBezTo>
                        <a:cubicBezTo>
                          <a:pt x="2222" y="30147"/>
                          <a:pt x="164" y="25066"/>
                          <a:pt x="0" y="18545"/>
                        </a:cubicBezTo>
                        <a:cubicBezTo>
                          <a:pt x="164" y="12855"/>
                          <a:pt x="2222" y="8359"/>
                          <a:pt x="6172" y="5057"/>
                        </a:cubicBezTo>
                        <a:cubicBezTo>
                          <a:pt x="10124" y="1756"/>
                          <a:pt x="14984" y="70"/>
                          <a:pt x="20754" y="0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3" name="TextBox 132">
                    <a:extLst>
                      <a:ext uri="{FF2B5EF4-FFF2-40B4-BE49-F238E27FC236}">
                        <a16:creationId xmlns:a16="http://schemas.microsoft.com/office/drawing/2014/main" id="{03DCFED8-C03B-F6DF-1991-FD764D05B73A}"/>
                      </a:ext>
                    </a:extLst>
                  </p:cNvPr>
                  <p:cNvSpPr txBox="1"/>
                  <p:nvPr/>
                </p:nvSpPr>
                <p:spPr>
                  <a:xfrm>
                    <a:off x="18184115" y="11520707"/>
                    <a:ext cx="92526" cy="19830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360" h="328686">
                        <a:moveTo>
                          <a:pt x="12" y="0"/>
                        </a:moveTo>
                        <a:lnTo>
                          <a:pt x="64568" y="0"/>
                        </a:lnTo>
                        <a:lnTo>
                          <a:pt x="64568" y="70247"/>
                        </a:lnTo>
                        <a:lnTo>
                          <a:pt x="146056" y="70247"/>
                        </a:lnTo>
                        <a:lnTo>
                          <a:pt x="146056" y="130870"/>
                        </a:lnTo>
                        <a:lnTo>
                          <a:pt x="64568" y="130870"/>
                        </a:lnTo>
                        <a:lnTo>
                          <a:pt x="64568" y="223082"/>
                        </a:lnTo>
                        <a:cubicBezTo>
                          <a:pt x="64498" y="237033"/>
                          <a:pt x="66886" y="248067"/>
                          <a:pt x="71734" y="256185"/>
                        </a:cubicBezTo>
                        <a:cubicBezTo>
                          <a:pt x="76580" y="264302"/>
                          <a:pt x="84308" y="268449"/>
                          <a:pt x="94916" y="268625"/>
                        </a:cubicBezTo>
                        <a:cubicBezTo>
                          <a:pt x="103590" y="268437"/>
                          <a:pt x="111108" y="266844"/>
                          <a:pt x="117464" y="263845"/>
                        </a:cubicBezTo>
                        <a:cubicBezTo>
                          <a:pt x="123822" y="260847"/>
                          <a:pt x="129232" y="257567"/>
                          <a:pt x="133692" y="254006"/>
                        </a:cubicBezTo>
                        <a:lnTo>
                          <a:pt x="153360" y="303988"/>
                        </a:lnTo>
                        <a:cubicBezTo>
                          <a:pt x="145646" y="310419"/>
                          <a:pt x="135366" y="316079"/>
                          <a:pt x="122522" y="320968"/>
                        </a:cubicBezTo>
                        <a:cubicBezTo>
                          <a:pt x="109680" y="325856"/>
                          <a:pt x="95044" y="328428"/>
                          <a:pt x="78618" y="328686"/>
                        </a:cubicBezTo>
                        <a:cubicBezTo>
                          <a:pt x="50286" y="328488"/>
                          <a:pt x="30024" y="319621"/>
                          <a:pt x="17836" y="302085"/>
                        </a:cubicBezTo>
                        <a:cubicBezTo>
                          <a:pt x="5648" y="284548"/>
                          <a:pt x="-292" y="259525"/>
                          <a:pt x="12" y="227017"/>
                        </a:cubicBez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4" name="TextBox 133">
                    <a:extLst>
                      <a:ext uri="{FF2B5EF4-FFF2-40B4-BE49-F238E27FC236}">
                        <a16:creationId xmlns:a16="http://schemas.microsoft.com/office/drawing/2014/main" id="{64635667-74C7-EA9F-FA55-005AB4356EC7}"/>
                      </a:ext>
                    </a:extLst>
                  </p:cNvPr>
                  <p:cNvSpPr txBox="1"/>
                  <p:nvPr/>
                </p:nvSpPr>
                <p:spPr>
                  <a:xfrm>
                    <a:off x="18019312" y="11565435"/>
                    <a:ext cx="125408" cy="15999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860" h="265182">
                        <a:moveTo>
                          <a:pt x="99428" y="0"/>
                        </a:moveTo>
                        <a:cubicBezTo>
                          <a:pt x="123854" y="421"/>
                          <a:pt x="144020" y="3928"/>
                          <a:pt x="159924" y="10523"/>
                        </a:cubicBezTo>
                        <a:cubicBezTo>
                          <a:pt x="175826" y="17117"/>
                          <a:pt x="187688" y="24273"/>
                          <a:pt x="195512" y="31990"/>
                        </a:cubicBezTo>
                        <a:lnTo>
                          <a:pt x="171372" y="78055"/>
                        </a:lnTo>
                        <a:cubicBezTo>
                          <a:pt x="163572" y="71882"/>
                          <a:pt x="153624" y="66377"/>
                          <a:pt x="141528" y="61540"/>
                        </a:cubicBezTo>
                        <a:cubicBezTo>
                          <a:pt x="129434" y="56702"/>
                          <a:pt x="116524" y="54148"/>
                          <a:pt x="102802" y="53879"/>
                        </a:cubicBezTo>
                        <a:cubicBezTo>
                          <a:pt x="92876" y="54090"/>
                          <a:pt x="85164" y="56339"/>
                          <a:pt x="79668" y="60626"/>
                        </a:cubicBezTo>
                        <a:cubicBezTo>
                          <a:pt x="74172" y="64913"/>
                          <a:pt x="71382" y="69973"/>
                          <a:pt x="71300" y="75806"/>
                        </a:cubicBezTo>
                        <a:cubicBezTo>
                          <a:pt x="72012" y="85885"/>
                          <a:pt x="79124" y="93276"/>
                          <a:pt x="92638" y="97979"/>
                        </a:cubicBezTo>
                        <a:cubicBezTo>
                          <a:pt x="106152" y="102682"/>
                          <a:pt x="121800" y="107472"/>
                          <a:pt x="139580" y="112351"/>
                        </a:cubicBezTo>
                        <a:cubicBezTo>
                          <a:pt x="157362" y="117229"/>
                          <a:pt x="173010" y="124972"/>
                          <a:pt x="186524" y="135578"/>
                        </a:cubicBezTo>
                        <a:cubicBezTo>
                          <a:pt x="200036" y="146184"/>
                          <a:pt x="207150" y="162430"/>
                          <a:pt x="207860" y="184315"/>
                        </a:cubicBezTo>
                        <a:cubicBezTo>
                          <a:pt x="207464" y="209559"/>
                          <a:pt x="198152" y="229286"/>
                          <a:pt x="179924" y="243498"/>
                        </a:cubicBezTo>
                        <a:cubicBezTo>
                          <a:pt x="161694" y="257709"/>
                          <a:pt x="136924" y="264937"/>
                          <a:pt x="105614" y="265182"/>
                        </a:cubicBezTo>
                        <a:cubicBezTo>
                          <a:pt x="81536" y="264503"/>
                          <a:pt x="59576" y="259546"/>
                          <a:pt x="39732" y="250309"/>
                        </a:cubicBezTo>
                        <a:cubicBezTo>
                          <a:pt x="19888" y="241071"/>
                          <a:pt x="6646" y="231624"/>
                          <a:pt x="0" y="221966"/>
                        </a:cubicBezTo>
                        <a:lnTo>
                          <a:pt x="31444" y="179818"/>
                        </a:lnTo>
                        <a:cubicBezTo>
                          <a:pt x="39772" y="188263"/>
                          <a:pt x="51614" y="195548"/>
                          <a:pt x="66970" y="201674"/>
                        </a:cubicBezTo>
                        <a:cubicBezTo>
                          <a:pt x="82328" y="207800"/>
                          <a:pt x="96710" y="211009"/>
                          <a:pt x="110116" y="211302"/>
                        </a:cubicBezTo>
                        <a:cubicBezTo>
                          <a:pt x="119620" y="211302"/>
                          <a:pt x="127472" y="209334"/>
                          <a:pt x="133670" y="205399"/>
                        </a:cubicBezTo>
                        <a:cubicBezTo>
                          <a:pt x="139870" y="201463"/>
                          <a:pt x="143080" y="195560"/>
                          <a:pt x="143304" y="187689"/>
                        </a:cubicBezTo>
                        <a:cubicBezTo>
                          <a:pt x="142592" y="177892"/>
                          <a:pt x="135480" y="170674"/>
                          <a:pt x="121966" y="166034"/>
                        </a:cubicBezTo>
                        <a:cubicBezTo>
                          <a:pt x="108452" y="161395"/>
                          <a:pt x="92804" y="156548"/>
                          <a:pt x="75024" y="151496"/>
                        </a:cubicBezTo>
                        <a:cubicBezTo>
                          <a:pt x="57242" y="146443"/>
                          <a:pt x="41596" y="138399"/>
                          <a:pt x="28082" y="127364"/>
                        </a:cubicBezTo>
                        <a:cubicBezTo>
                          <a:pt x="14568" y="116329"/>
                          <a:pt x="7456" y="99518"/>
                          <a:pt x="6744" y="76931"/>
                        </a:cubicBezTo>
                        <a:cubicBezTo>
                          <a:pt x="7340" y="52100"/>
                          <a:pt x="16254" y="33099"/>
                          <a:pt x="33486" y="19929"/>
                        </a:cubicBezTo>
                        <a:cubicBezTo>
                          <a:pt x="50720" y="6759"/>
                          <a:pt x="72700" y="116"/>
                          <a:pt x="99428" y="0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5" name="TextBox 134">
                    <a:extLst>
                      <a:ext uri="{FF2B5EF4-FFF2-40B4-BE49-F238E27FC236}">
                        <a16:creationId xmlns:a16="http://schemas.microsoft.com/office/drawing/2014/main" id="{8AC5A993-CCDD-5E9E-68D7-C463916ABF71}"/>
                      </a:ext>
                    </a:extLst>
                  </p:cNvPr>
                  <p:cNvSpPr txBox="1"/>
                  <p:nvPr/>
                </p:nvSpPr>
                <p:spPr>
                  <a:xfrm>
                    <a:off x="16544157" y="11761205"/>
                    <a:ext cx="242704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2704" h="262934">
                        <a:moveTo>
                          <a:pt x="128098" y="0"/>
                        </a:moveTo>
                        <a:cubicBezTo>
                          <a:pt x="161406" y="429"/>
                          <a:pt x="188658" y="10795"/>
                          <a:pt x="209856" y="31098"/>
                        </a:cubicBezTo>
                        <a:cubicBezTo>
                          <a:pt x="231056" y="51400"/>
                          <a:pt x="242004" y="79060"/>
                          <a:pt x="242704" y="114079"/>
                        </a:cubicBezTo>
                        <a:cubicBezTo>
                          <a:pt x="242704" y="118807"/>
                          <a:pt x="242564" y="123079"/>
                          <a:pt x="242284" y="126897"/>
                        </a:cubicBezTo>
                        <a:cubicBezTo>
                          <a:pt x="242002" y="130714"/>
                          <a:pt x="241582" y="134286"/>
                          <a:pt x="241022" y="137613"/>
                        </a:cubicBezTo>
                        <a:lnTo>
                          <a:pt x="32526" y="137613"/>
                        </a:lnTo>
                        <a:cubicBezTo>
                          <a:pt x="34024" y="168263"/>
                          <a:pt x="43956" y="192164"/>
                          <a:pt x="62322" y="209317"/>
                        </a:cubicBezTo>
                        <a:cubicBezTo>
                          <a:pt x="80686" y="226469"/>
                          <a:pt x="105236" y="235186"/>
                          <a:pt x="135970" y="235467"/>
                        </a:cubicBezTo>
                        <a:cubicBezTo>
                          <a:pt x="153304" y="235303"/>
                          <a:pt x="169092" y="232397"/>
                          <a:pt x="183332" y="226750"/>
                        </a:cubicBezTo>
                        <a:cubicBezTo>
                          <a:pt x="197574" y="221103"/>
                          <a:pt x="209142" y="213698"/>
                          <a:pt x="218036" y="204536"/>
                        </a:cubicBezTo>
                        <a:lnTo>
                          <a:pt x="227566" y="227031"/>
                        </a:lnTo>
                        <a:cubicBezTo>
                          <a:pt x="215722" y="239085"/>
                          <a:pt x="201514" y="248085"/>
                          <a:pt x="184946" y="254032"/>
                        </a:cubicBezTo>
                        <a:cubicBezTo>
                          <a:pt x="168378" y="259979"/>
                          <a:pt x="151490" y="262946"/>
                          <a:pt x="134284" y="262934"/>
                        </a:cubicBezTo>
                        <a:cubicBezTo>
                          <a:pt x="93762" y="262445"/>
                          <a:pt x="61402" y="250510"/>
                          <a:pt x="37204" y="227130"/>
                        </a:cubicBezTo>
                        <a:cubicBezTo>
                          <a:pt x="13008" y="203749"/>
                          <a:pt x="606" y="171856"/>
                          <a:pt x="0" y="131450"/>
                        </a:cubicBezTo>
                        <a:cubicBezTo>
                          <a:pt x="138" y="93767"/>
                          <a:pt x="11088" y="62657"/>
                          <a:pt x="32848" y="38120"/>
                        </a:cubicBezTo>
                        <a:cubicBezTo>
                          <a:pt x="54608" y="13583"/>
                          <a:pt x="86360" y="876"/>
                          <a:pt x="128098" y="0"/>
                        </a:cubicBezTo>
                        <a:close/>
                        <a:moveTo>
                          <a:pt x="125288" y="27466"/>
                        </a:moveTo>
                        <a:cubicBezTo>
                          <a:pt x="97072" y="27958"/>
                          <a:pt x="74936" y="36113"/>
                          <a:pt x="58878" y="51932"/>
                        </a:cubicBezTo>
                        <a:cubicBezTo>
                          <a:pt x="42822" y="67750"/>
                          <a:pt x="33476" y="88279"/>
                          <a:pt x="30844" y="113519"/>
                        </a:cubicBezTo>
                        <a:lnTo>
                          <a:pt x="212990" y="113519"/>
                        </a:lnTo>
                        <a:cubicBezTo>
                          <a:pt x="212146" y="86557"/>
                          <a:pt x="203996" y="65536"/>
                          <a:pt x="188536" y="50455"/>
                        </a:cubicBezTo>
                        <a:cubicBezTo>
                          <a:pt x="173074" y="35375"/>
                          <a:pt x="151992" y="27712"/>
                          <a:pt x="125288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6" name="TextBox 135">
                    <a:extLst>
                      <a:ext uri="{FF2B5EF4-FFF2-40B4-BE49-F238E27FC236}">
                        <a16:creationId xmlns:a16="http://schemas.microsoft.com/office/drawing/2014/main" id="{3A0AA756-E5E6-070B-AE35-D4BB527585BD}"/>
                      </a:ext>
                    </a:extLst>
                  </p:cNvPr>
                  <p:cNvSpPr txBox="1"/>
                  <p:nvPr/>
                </p:nvSpPr>
                <p:spPr>
                  <a:xfrm>
                    <a:off x="16971098" y="11761205"/>
                    <a:ext cx="193835" cy="26124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3835" h="261248">
                        <a:moveTo>
                          <a:pt x="99998" y="0"/>
                        </a:moveTo>
                        <a:cubicBezTo>
                          <a:pt x="134648" y="207"/>
                          <a:pt x="159068" y="9050"/>
                          <a:pt x="173254" y="26529"/>
                        </a:cubicBezTo>
                        <a:cubicBezTo>
                          <a:pt x="187442" y="44008"/>
                          <a:pt x="194294" y="68882"/>
                          <a:pt x="193812" y="101150"/>
                        </a:cubicBezTo>
                        <a:lnTo>
                          <a:pt x="193812" y="257876"/>
                        </a:lnTo>
                        <a:lnTo>
                          <a:pt x="164658" y="257876"/>
                        </a:lnTo>
                        <a:lnTo>
                          <a:pt x="164658" y="219160"/>
                        </a:lnTo>
                        <a:cubicBezTo>
                          <a:pt x="157044" y="230253"/>
                          <a:pt x="146408" y="239936"/>
                          <a:pt x="132750" y="248209"/>
                        </a:cubicBezTo>
                        <a:cubicBezTo>
                          <a:pt x="119090" y="256482"/>
                          <a:pt x="100864" y="260828"/>
                          <a:pt x="78068" y="261248"/>
                        </a:cubicBezTo>
                        <a:cubicBezTo>
                          <a:pt x="54398" y="260994"/>
                          <a:pt x="35554" y="254213"/>
                          <a:pt x="21534" y="240907"/>
                        </a:cubicBezTo>
                        <a:cubicBezTo>
                          <a:pt x="7514" y="227600"/>
                          <a:pt x="336" y="209291"/>
                          <a:pt x="0" y="185981"/>
                        </a:cubicBezTo>
                        <a:cubicBezTo>
                          <a:pt x="594" y="160561"/>
                          <a:pt x="9786" y="141127"/>
                          <a:pt x="27578" y="127679"/>
                        </a:cubicBezTo>
                        <a:cubicBezTo>
                          <a:pt x="45370" y="114231"/>
                          <a:pt x="68198" y="107450"/>
                          <a:pt x="96062" y="107337"/>
                        </a:cubicBezTo>
                        <a:cubicBezTo>
                          <a:pt x="106510" y="107220"/>
                          <a:pt x="117944" y="108574"/>
                          <a:pt x="130360" y="111399"/>
                        </a:cubicBezTo>
                        <a:cubicBezTo>
                          <a:pt x="142776" y="114224"/>
                          <a:pt x="154210" y="119221"/>
                          <a:pt x="164658" y="126388"/>
                        </a:cubicBezTo>
                        <a:cubicBezTo>
                          <a:pt x="165006" y="106243"/>
                          <a:pt x="163936" y="88789"/>
                          <a:pt x="161452" y="74025"/>
                        </a:cubicBezTo>
                        <a:cubicBezTo>
                          <a:pt x="158966" y="59262"/>
                          <a:pt x="152982" y="47839"/>
                          <a:pt x="143500" y="39754"/>
                        </a:cubicBezTo>
                        <a:cubicBezTo>
                          <a:pt x="134018" y="31670"/>
                          <a:pt x="118954" y="27574"/>
                          <a:pt x="98310" y="27466"/>
                        </a:cubicBezTo>
                        <a:cubicBezTo>
                          <a:pt x="83726" y="27513"/>
                          <a:pt x="71006" y="29247"/>
                          <a:pt x="60148" y="32669"/>
                        </a:cubicBezTo>
                        <a:cubicBezTo>
                          <a:pt x="49290" y="36090"/>
                          <a:pt x="38398" y="40918"/>
                          <a:pt x="27474" y="47152"/>
                        </a:cubicBezTo>
                        <a:lnTo>
                          <a:pt x="19624" y="22982"/>
                        </a:lnTo>
                        <a:cubicBezTo>
                          <a:pt x="31428" y="15648"/>
                          <a:pt x="44048" y="9996"/>
                          <a:pt x="57480" y="6025"/>
                        </a:cubicBezTo>
                        <a:cubicBezTo>
                          <a:pt x="70912" y="2055"/>
                          <a:pt x="85084" y="46"/>
                          <a:pt x="99998" y="0"/>
                        </a:cubicBezTo>
                        <a:close/>
                        <a:moveTo>
                          <a:pt x="98872" y="131431"/>
                        </a:moveTo>
                        <a:cubicBezTo>
                          <a:pt x="81524" y="131314"/>
                          <a:pt x="66038" y="135485"/>
                          <a:pt x="52416" y="143944"/>
                        </a:cubicBezTo>
                        <a:cubicBezTo>
                          <a:pt x="38792" y="152403"/>
                          <a:pt x="31600" y="165853"/>
                          <a:pt x="30838" y="184293"/>
                        </a:cubicBezTo>
                        <a:cubicBezTo>
                          <a:pt x="31214" y="200133"/>
                          <a:pt x="36648" y="212318"/>
                          <a:pt x="47144" y="220847"/>
                        </a:cubicBezTo>
                        <a:cubicBezTo>
                          <a:pt x="57640" y="229376"/>
                          <a:pt x="70946" y="233687"/>
                          <a:pt x="87066" y="233781"/>
                        </a:cubicBezTo>
                        <a:cubicBezTo>
                          <a:pt x="108114" y="233277"/>
                          <a:pt x="124632" y="228943"/>
                          <a:pt x="136614" y="220777"/>
                        </a:cubicBezTo>
                        <a:cubicBezTo>
                          <a:pt x="148598" y="212611"/>
                          <a:pt x="157946" y="203636"/>
                          <a:pt x="164658" y="193854"/>
                        </a:cubicBezTo>
                        <a:lnTo>
                          <a:pt x="164658" y="151677"/>
                        </a:lnTo>
                        <a:cubicBezTo>
                          <a:pt x="155416" y="144928"/>
                          <a:pt x="145366" y="139867"/>
                          <a:pt x="134506" y="136493"/>
                        </a:cubicBezTo>
                        <a:cubicBezTo>
                          <a:pt x="123648" y="133119"/>
                          <a:pt x="111770" y="131431"/>
                          <a:pt x="98872" y="131431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7" name="TextBox 136">
                    <a:extLst>
                      <a:ext uri="{FF2B5EF4-FFF2-40B4-BE49-F238E27FC236}">
                        <a16:creationId xmlns:a16="http://schemas.microsoft.com/office/drawing/2014/main" id="{83FB18D5-67E1-D67A-F651-CC4E13BC6C1A}"/>
                      </a:ext>
                    </a:extLst>
                  </p:cNvPr>
                  <p:cNvSpPr txBox="1"/>
                  <p:nvPr/>
                </p:nvSpPr>
                <p:spPr>
                  <a:xfrm>
                    <a:off x="17410933" y="11761205"/>
                    <a:ext cx="242702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2702" h="262934">
                        <a:moveTo>
                          <a:pt x="128098" y="0"/>
                        </a:moveTo>
                        <a:cubicBezTo>
                          <a:pt x="161404" y="429"/>
                          <a:pt x="188658" y="10795"/>
                          <a:pt x="209856" y="31098"/>
                        </a:cubicBezTo>
                        <a:cubicBezTo>
                          <a:pt x="231054" y="51400"/>
                          <a:pt x="242004" y="79060"/>
                          <a:pt x="242702" y="114079"/>
                        </a:cubicBezTo>
                        <a:cubicBezTo>
                          <a:pt x="242702" y="118807"/>
                          <a:pt x="242562" y="123079"/>
                          <a:pt x="242282" y="126897"/>
                        </a:cubicBezTo>
                        <a:cubicBezTo>
                          <a:pt x="242002" y="130714"/>
                          <a:pt x="241582" y="134286"/>
                          <a:pt x="241020" y="137613"/>
                        </a:cubicBezTo>
                        <a:lnTo>
                          <a:pt x="32524" y="137613"/>
                        </a:lnTo>
                        <a:cubicBezTo>
                          <a:pt x="34024" y="168263"/>
                          <a:pt x="43956" y="192164"/>
                          <a:pt x="62320" y="209317"/>
                        </a:cubicBezTo>
                        <a:cubicBezTo>
                          <a:pt x="80686" y="226469"/>
                          <a:pt x="105236" y="235186"/>
                          <a:pt x="135968" y="235467"/>
                        </a:cubicBezTo>
                        <a:cubicBezTo>
                          <a:pt x="153304" y="235303"/>
                          <a:pt x="169092" y="232397"/>
                          <a:pt x="183332" y="226750"/>
                        </a:cubicBezTo>
                        <a:cubicBezTo>
                          <a:pt x="197572" y="221103"/>
                          <a:pt x="209140" y="213698"/>
                          <a:pt x="218034" y="204536"/>
                        </a:cubicBezTo>
                        <a:lnTo>
                          <a:pt x="227566" y="227031"/>
                        </a:lnTo>
                        <a:cubicBezTo>
                          <a:pt x="215720" y="239085"/>
                          <a:pt x="201514" y="248085"/>
                          <a:pt x="184944" y="254032"/>
                        </a:cubicBezTo>
                        <a:cubicBezTo>
                          <a:pt x="168376" y="259979"/>
                          <a:pt x="151488" y="262946"/>
                          <a:pt x="134282" y="262934"/>
                        </a:cubicBezTo>
                        <a:cubicBezTo>
                          <a:pt x="93760" y="262445"/>
                          <a:pt x="61400" y="250510"/>
                          <a:pt x="37204" y="227130"/>
                        </a:cubicBezTo>
                        <a:cubicBezTo>
                          <a:pt x="13006" y="203749"/>
                          <a:pt x="606" y="171856"/>
                          <a:pt x="0" y="131450"/>
                        </a:cubicBezTo>
                        <a:cubicBezTo>
                          <a:pt x="138" y="93767"/>
                          <a:pt x="11086" y="62657"/>
                          <a:pt x="32848" y="38120"/>
                        </a:cubicBezTo>
                        <a:cubicBezTo>
                          <a:pt x="54608" y="13583"/>
                          <a:pt x="86358" y="876"/>
                          <a:pt x="128098" y="0"/>
                        </a:cubicBezTo>
                        <a:close/>
                        <a:moveTo>
                          <a:pt x="125288" y="27466"/>
                        </a:moveTo>
                        <a:cubicBezTo>
                          <a:pt x="97072" y="27958"/>
                          <a:pt x="74936" y="36113"/>
                          <a:pt x="58878" y="51932"/>
                        </a:cubicBezTo>
                        <a:cubicBezTo>
                          <a:pt x="42820" y="67750"/>
                          <a:pt x="33476" y="88279"/>
                          <a:pt x="30842" y="113519"/>
                        </a:cubicBezTo>
                        <a:lnTo>
                          <a:pt x="212988" y="113519"/>
                        </a:lnTo>
                        <a:cubicBezTo>
                          <a:pt x="212146" y="86557"/>
                          <a:pt x="203994" y="65536"/>
                          <a:pt x="188534" y="50455"/>
                        </a:cubicBezTo>
                        <a:cubicBezTo>
                          <a:pt x="173074" y="35375"/>
                          <a:pt x="151992" y="27712"/>
                          <a:pt x="125288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8" name="TextBox 137">
                    <a:extLst>
                      <a:ext uri="{FF2B5EF4-FFF2-40B4-BE49-F238E27FC236}">
                        <a16:creationId xmlns:a16="http://schemas.microsoft.com/office/drawing/2014/main" id="{981F6351-77CE-98C8-BB0E-76EC001285A7}"/>
                      </a:ext>
                    </a:extLst>
                  </p:cNvPr>
                  <p:cNvSpPr txBox="1"/>
                  <p:nvPr/>
                </p:nvSpPr>
                <p:spPr>
                  <a:xfrm>
                    <a:off x="19820758" y="11761205"/>
                    <a:ext cx="265182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82" h="262934">
                        <a:moveTo>
                          <a:pt x="132592" y="0"/>
                        </a:moveTo>
                        <a:cubicBezTo>
                          <a:pt x="172550" y="734"/>
                          <a:pt x="204486" y="13159"/>
                          <a:pt x="228400" y="37274"/>
                        </a:cubicBezTo>
                        <a:cubicBezTo>
                          <a:pt x="252316" y="61389"/>
                          <a:pt x="264576" y="92786"/>
                          <a:pt x="265182" y="131467"/>
                        </a:cubicBezTo>
                        <a:cubicBezTo>
                          <a:pt x="264576" y="170147"/>
                          <a:pt x="252316" y="201545"/>
                          <a:pt x="228400" y="225660"/>
                        </a:cubicBezTo>
                        <a:cubicBezTo>
                          <a:pt x="204486" y="249775"/>
                          <a:pt x="172550" y="262199"/>
                          <a:pt x="132592" y="262934"/>
                        </a:cubicBezTo>
                        <a:cubicBezTo>
                          <a:pt x="92634" y="262199"/>
                          <a:pt x="60698" y="249775"/>
                          <a:pt x="36782" y="225660"/>
                        </a:cubicBezTo>
                        <a:cubicBezTo>
                          <a:pt x="12866" y="201545"/>
                          <a:pt x="606" y="170147"/>
                          <a:pt x="0" y="131467"/>
                        </a:cubicBezTo>
                        <a:cubicBezTo>
                          <a:pt x="606" y="92786"/>
                          <a:pt x="12866" y="61389"/>
                          <a:pt x="36782" y="37274"/>
                        </a:cubicBezTo>
                        <a:cubicBezTo>
                          <a:pt x="60698" y="13159"/>
                          <a:pt x="92634" y="734"/>
                          <a:pt x="132592" y="0"/>
                        </a:cubicBezTo>
                        <a:close/>
                        <a:moveTo>
                          <a:pt x="132592" y="27466"/>
                        </a:moveTo>
                        <a:cubicBezTo>
                          <a:pt x="102774" y="27970"/>
                          <a:pt x="78506" y="37644"/>
                          <a:pt x="59790" y="56488"/>
                        </a:cubicBezTo>
                        <a:cubicBezTo>
                          <a:pt x="41074" y="75332"/>
                          <a:pt x="31424" y="100325"/>
                          <a:pt x="30838" y="131467"/>
                        </a:cubicBezTo>
                        <a:cubicBezTo>
                          <a:pt x="31390" y="162362"/>
                          <a:pt x="40970" y="187285"/>
                          <a:pt x="59580" y="206235"/>
                        </a:cubicBezTo>
                        <a:cubicBezTo>
                          <a:pt x="78190" y="225184"/>
                          <a:pt x="102526" y="234928"/>
                          <a:pt x="132592" y="235467"/>
                        </a:cubicBezTo>
                        <a:cubicBezTo>
                          <a:pt x="162902" y="234964"/>
                          <a:pt x="187310" y="225290"/>
                          <a:pt x="205814" y="206445"/>
                        </a:cubicBezTo>
                        <a:cubicBezTo>
                          <a:pt x="224318" y="187601"/>
                          <a:pt x="233828" y="162608"/>
                          <a:pt x="234344" y="131467"/>
                        </a:cubicBezTo>
                        <a:cubicBezTo>
                          <a:pt x="233828" y="100571"/>
                          <a:pt x="224318" y="75649"/>
                          <a:pt x="205814" y="56699"/>
                        </a:cubicBezTo>
                        <a:cubicBezTo>
                          <a:pt x="187310" y="37749"/>
                          <a:pt x="162902" y="28005"/>
                          <a:pt x="132592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39" name="TextBox 138">
                    <a:extLst>
                      <a:ext uri="{FF2B5EF4-FFF2-40B4-BE49-F238E27FC236}">
                        <a16:creationId xmlns:a16="http://schemas.microsoft.com/office/drawing/2014/main" id="{0460E76D-EFFE-2925-B0EB-B85F9EAB3A7F}"/>
                      </a:ext>
                    </a:extLst>
                  </p:cNvPr>
                  <p:cNvSpPr txBox="1"/>
                  <p:nvPr/>
                </p:nvSpPr>
                <p:spPr>
                  <a:xfrm>
                    <a:off x="20449408" y="11761205"/>
                    <a:ext cx="242704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2704" h="262934">
                        <a:moveTo>
                          <a:pt x="128098" y="0"/>
                        </a:moveTo>
                        <a:cubicBezTo>
                          <a:pt x="161404" y="429"/>
                          <a:pt x="188656" y="10795"/>
                          <a:pt x="209856" y="31098"/>
                        </a:cubicBezTo>
                        <a:cubicBezTo>
                          <a:pt x="231054" y="51400"/>
                          <a:pt x="242004" y="79060"/>
                          <a:pt x="242704" y="114079"/>
                        </a:cubicBezTo>
                        <a:cubicBezTo>
                          <a:pt x="242704" y="118807"/>
                          <a:pt x="242562" y="123079"/>
                          <a:pt x="242282" y="126897"/>
                        </a:cubicBezTo>
                        <a:cubicBezTo>
                          <a:pt x="242002" y="130714"/>
                          <a:pt x="241582" y="134286"/>
                          <a:pt x="241020" y="137613"/>
                        </a:cubicBezTo>
                        <a:lnTo>
                          <a:pt x="32524" y="137613"/>
                        </a:lnTo>
                        <a:cubicBezTo>
                          <a:pt x="34024" y="168263"/>
                          <a:pt x="43956" y="192164"/>
                          <a:pt x="62320" y="209317"/>
                        </a:cubicBezTo>
                        <a:cubicBezTo>
                          <a:pt x="80686" y="226469"/>
                          <a:pt x="105236" y="235186"/>
                          <a:pt x="135968" y="235467"/>
                        </a:cubicBezTo>
                        <a:cubicBezTo>
                          <a:pt x="153304" y="235303"/>
                          <a:pt x="169092" y="232397"/>
                          <a:pt x="183332" y="226750"/>
                        </a:cubicBezTo>
                        <a:cubicBezTo>
                          <a:pt x="197572" y="221103"/>
                          <a:pt x="209140" y="213698"/>
                          <a:pt x="218034" y="204536"/>
                        </a:cubicBezTo>
                        <a:lnTo>
                          <a:pt x="227566" y="227031"/>
                        </a:lnTo>
                        <a:cubicBezTo>
                          <a:pt x="215720" y="239085"/>
                          <a:pt x="201514" y="248085"/>
                          <a:pt x="184944" y="254032"/>
                        </a:cubicBezTo>
                        <a:cubicBezTo>
                          <a:pt x="168376" y="259979"/>
                          <a:pt x="151488" y="262946"/>
                          <a:pt x="134282" y="262934"/>
                        </a:cubicBezTo>
                        <a:cubicBezTo>
                          <a:pt x="93760" y="262445"/>
                          <a:pt x="61400" y="250510"/>
                          <a:pt x="37204" y="227130"/>
                        </a:cubicBezTo>
                        <a:cubicBezTo>
                          <a:pt x="13008" y="203749"/>
                          <a:pt x="606" y="171856"/>
                          <a:pt x="0" y="131450"/>
                        </a:cubicBezTo>
                        <a:cubicBezTo>
                          <a:pt x="136" y="93767"/>
                          <a:pt x="11086" y="62657"/>
                          <a:pt x="32848" y="38120"/>
                        </a:cubicBezTo>
                        <a:cubicBezTo>
                          <a:pt x="54608" y="13583"/>
                          <a:pt x="86358" y="876"/>
                          <a:pt x="128098" y="0"/>
                        </a:cubicBezTo>
                        <a:close/>
                        <a:moveTo>
                          <a:pt x="125288" y="27466"/>
                        </a:moveTo>
                        <a:cubicBezTo>
                          <a:pt x="97072" y="27958"/>
                          <a:pt x="74936" y="36113"/>
                          <a:pt x="58878" y="51932"/>
                        </a:cubicBezTo>
                        <a:cubicBezTo>
                          <a:pt x="42820" y="67750"/>
                          <a:pt x="33476" y="88279"/>
                          <a:pt x="30842" y="113519"/>
                        </a:cubicBezTo>
                        <a:lnTo>
                          <a:pt x="212988" y="113519"/>
                        </a:lnTo>
                        <a:cubicBezTo>
                          <a:pt x="212146" y="86557"/>
                          <a:pt x="203994" y="65536"/>
                          <a:pt x="188534" y="50455"/>
                        </a:cubicBezTo>
                        <a:cubicBezTo>
                          <a:pt x="173074" y="35375"/>
                          <a:pt x="151992" y="27712"/>
                          <a:pt x="125288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40" name="TextBox 139">
                    <a:extLst>
                      <a:ext uri="{FF2B5EF4-FFF2-40B4-BE49-F238E27FC236}">
                        <a16:creationId xmlns:a16="http://schemas.microsoft.com/office/drawing/2014/main" id="{8980EABC-B244-B925-EB51-72A7162694CA}"/>
                      </a:ext>
                    </a:extLst>
                  </p:cNvPr>
                  <p:cNvSpPr txBox="1"/>
                  <p:nvPr/>
                </p:nvSpPr>
                <p:spPr>
                  <a:xfrm>
                    <a:off x="17247941" y="11761767"/>
                    <a:ext cx="136490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490" h="257314">
                        <a:moveTo>
                          <a:pt x="97152" y="0"/>
                        </a:moveTo>
                        <a:cubicBezTo>
                          <a:pt x="107360" y="11"/>
                          <a:pt x="115462" y="829"/>
                          <a:pt x="121456" y="2452"/>
                        </a:cubicBezTo>
                        <a:cubicBezTo>
                          <a:pt x="127452" y="4075"/>
                          <a:pt x="132462" y="6434"/>
                          <a:pt x="136490" y="9529"/>
                        </a:cubicBezTo>
                        <a:lnTo>
                          <a:pt x="126374" y="37020"/>
                        </a:lnTo>
                        <a:cubicBezTo>
                          <a:pt x="120508" y="33425"/>
                          <a:pt x="115100" y="30920"/>
                          <a:pt x="110148" y="29503"/>
                        </a:cubicBezTo>
                        <a:cubicBezTo>
                          <a:pt x="105194" y="28087"/>
                          <a:pt x="98802" y="27408"/>
                          <a:pt x="90970" y="27466"/>
                        </a:cubicBezTo>
                        <a:cubicBezTo>
                          <a:pt x="74626" y="27911"/>
                          <a:pt x="61654" y="32219"/>
                          <a:pt x="52054" y="40392"/>
                        </a:cubicBezTo>
                        <a:cubicBezTo>
                          <a:pt x="42452" y="48564"/>
                          <a:pt x="34820" y="57930"/>
                          <a:pt x="29152" y="68490"/>
                        </a:cubicBezTo>
                        <a:lnTo>
                          <a:pt x="29152" y="257314"/>
                        </a:lnTo>
                        <a:lnTo>
                          <a:pt x="0" y="257314"/>
                        </a:lnTo>
                        <a:lnTo>
                          <a:pt x="0" y="4495"/>
                        </a:lnTo>
                        <a:lnTo>
                          <a:pt x="29152" y="4495"/>
                        </a:lnTo>
                        <a:lnTo>
                          <a:pt x="29152" y="38144"/>
                        </a:lnTo>
                        <a:cubicBezTo>
                          <a:pt x="36060" y="27223"/>
                          <a:pt x="45004" y="18200"/>
                          <a:pt x="55986" y="11074"/>
                        </a:cubicBezTo>
                        <a:cubicBezTo>
                          <a:pt x="66968" y="3947"/>
                          <a:pt x="80690" y="256"/>
                          <a:pt x="97152" y="0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41" name="TextBox 140">
                    <a:extLst>
                      <a:ext uri="{FF2B5EF4-FFF2-40B4-BE49-F238E27FC236}">
                        <a16:creationId xmlns:a16="http://schemas.microsoft.com/office/drawing/2014/main" id="{E920EC83-38FC-5F6D-9701-5DBA802E2595}"/>
                      </a:ext>
                    </a:extLst>
                  </p:cNvPr>
                  <p:cNvSpPr txBox="1"/>
                  <p:nvPr/>
                </p:nvSpPr>
                <p:spPr>
                  <a:xfrm>
                    <a:off x="18581440" y="11761761"/>
                    <a:ext cx="225844" cy="2573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5844" h="257320">
                        <a:moveTo>
                          <a:pt x="120232" y="6"/>
                        </a:moveTo>
                        <a:cubicBezTo>
                          <a:pt x="154640" y="-243"/>
                          <a:pt x="180816" y="8666"/>
                          <a:pt x="198760" y="26735"/>
                        </a:cubicBezTo>
                        <a:cubicBezTo>
                          <a:pt x="216702" y="44803"/>
                          <a:pt x="225732" y="73522"/>
                          <a:pt x="225844" y="112892"/>
                        </a:cubicBezTo>
                        <a:lnTo>
                          <a:pt x="225844" y="257320"/>
                        </a:lnTo>
                        <a:lnTo>
                          <a:pt x="196692" y="257320"/>
                        </a:lnTo>
                        <a:lnTo>
                          <a:pt x="196692" y="118512"/>
                        </a:lnTo>
                        <a:cubicBezTo>
                          <a:pt x="196740" y="87674"/>
                          <a:pt x="189898" y="64773"/>
                          <a:pt x="176172" y="49811"/>
                        </a:cubicBezTo>
                        <a:cubicBezTo>
                          <a:pt x="162444" y="34848"/>
                          <a:pt x="141548" y="27402"/>
                          <a:pt x="113484" y="27472"/>
                        </a:cubicBezTo>
                        <a:cubicBezTo>
                          <a:pt x="95776" y="27823"/>
                          <a:pt x="79472" y="31757"/>
                          <a:pt x="64572" y="39274"/>
                        </a:cubicBezTo>
                        <a:cubicBezTo>
                          <a:pt x="49674" y="46790"/>
                          <a:pt x="37868" y="55782"/>
                          <a:pt x="29154" y="66248"/>
                        </a:cubicBezTo>
                        <a:lnTo>
                          <a:pt x="29154" y="257320"/>
                        </a:lnTo>
                        <a:lnTo>
                          <a:pt x="0" y="257320"/>
                        </a:lnTo>
                        <a:lnTo>
                          <a:pt x="0" y="4501"/>
                        </a:lnTo>
                        <a:lnTo>
                          <a:pt x="29154" y="4501"/>
                        </a:lnTo>
                        <a:lnTo>
                          <a:pt x="29154" y="39836"/>
                        </a:lnTo>
                        <a:cubicBezTo>
                          <a:pt x="39062" y="28598"/>
                          <a:pt x="52134" y="19223"/>
                          <a:pt x="68368" y="11711"/>
                        </a:cubicBezTo>
                        <a:cubicBezTo>
                          <a:pt x="84602" y="4199"/>
                          <a:pt x="101888" y="297"/>
                          <a:pt x="120232" y="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42" name="TextBox 141">
                    <a:extLst>
                      <a:ext uri="{FF2B5EF4-FFF2-40B4-BE49-F238E27FC236}">
                        <a16:creationId xmlns:a16="http://schemas.microsoft.com/office/drawing/2014/main" id="{7F630A57-145A-EF86-CEDF-5F19050852E0}"/>
                      </a:ext>
                    </a:extLst>
                  </p:cNvPr>
                  <p:cNvSpPr txBox="1"/>
                  <p:nvPr/>
                </p:nvSpPr>
                <p:spPr>
                  <a:xfrm>
                    <a:off x="19657766" y="11761767"/>
                    <a:ext cx="136490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490" h="257314">
                        <a:moveTo>
                          <a:pt x="97152" y="0"/>
                        </a:moveTo>
                        <a:cubicBezTo>
                          <a:pt x="107362" y="11"/>
                          <a:pt x="115462" y="829"/>
                          <a:pt x="121458" y="2452"/>
                        </a:cubicBezTo>
                        <a:cubicBezTo>
                          <a:pt x="127452" y="4075"/>
                          <a:pt x="132462" y="6434"/>
                          <a:pt x="136490" y="9529"/>
                        </a:cubicBezTo>
                        <a:lnTo>
                          <a:pt x="126374" y="37020"/>
                        </a:lnTo>
                        <a:cubicBezTo>
                          <a:pt x="120508" y="33425"/>
                          <a:pt x="115100" y="30920"/>
                          <a:pt x="110146" y="29503"/>
                        </a:cubicBezTo>
                        <a:cubicBezTo>
                          <a:pt x="105194" y="28087"/>
                          <a:pt x="98802" y="27408"/>
                          <a:pt x="90970" y="27466"/>
                        </a:cubicBezTo>
                        <a:cubicBezTo>
                          <a:pt x="74626" y="27911"/>
                          <a:pt x="61654" y="32219"/>
                          <a:pt x="52054" y="40392"/>
                        </a:cubicBezTo>
                        <a:cubicBezTo>
                          <a:pt x="42452" y="48564"/>
                          <a:pt x="34820" y="57930"/>
                          <a:pt x="29152" y="68490"/>
                        </a:cubicBezTo>
                        <a:lnTo>
                          <a:pt x="29152" y="257314"/>
                        </a:lnTo>
                        <a:lnTo>
                          <a:pt x="0" y="257314"/>
                        </a:lnTo>
                        <a:lnTo>
                          <a:pt x="0" y="4495"/>
                        </a:lnTo>
                        <a:lnTo>
                          <a:pt x="29152" y="4495"/>
                        </a:lnTo>
                        <a:lnTo>
                          <a:pt x="29152" y="38144"/>
                        </a:lnTo>
                        <a:cubicBezTo>
                          <a:pt x="36060" y="27223"/>
                          <a:pt x="45006" y="18200"/>
                          <a:pt x="55986" y="11074"/>
                        </a:cubicBezTo>
                        <a:cubicBezTo>
                          <a:pt x="66970" y="3947"/>
                          <a:pt x="80690" y="256"/>
                          <a:pt x="97152" y="0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43" name="TextBox 142">
                    <a:extLst>
                      <a:ext uri="{FF2B5EF4-FFF2-40B4-BE49-F238E27FC236}">
                        <a16:creationId xmlns:a16="http://schemas.microsoft.com/office/drawing/2014/main" id="{2D2AC9EE-6BAE-E049-719A-E29653648423}"/>
                      </a:ext>
                    </a:extLst>
                  </p:cNvPr>
                  <p:cNvSpPr txBox="1"/>
                  <p:nvPr/>
                </p:nvSpPr>
                <p:spPr>
                  <a:xfrm>
                    <a:off x="18452616" y="11766263"/>
                    <a:ext cx="29152" cy="25281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152" h="252819">
                        <a:moveTo>
                          <a:pt x="0" y="0"/>
                        </a:moveTo>
                        <a:lnTo>
                          <a:pt x="29152" y="0"/>
                        </a:lnTo>
                        <a:lnTo>
                          <a:pt x="29152" y="252819"/>
                        </a:lnTo>
                        <a:lnTo>
                          <a:pt x="0" y="25281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44" name="TextBox 143">
                    <a:extLst>
                      <a:ext uri="{FF2B5EF4-FFF2-40B4-BE49-F238E27FC236}">
                        <a16:creationId xmlns:a16="http://schemas.microsoft.com/office/drawing/2014/main" id="{5882B1AA-A236-80A0-F05E-259B329CE74C}"/>
                      </a:ext>
                    </a:extLst>
                  </p:cNvPr>
                  <p:cNvSpPr txBox="1"/>
                  <p:nvPr/>
                </p:nvSpPr>
                <p:spPr>
                  <a:xfrm>
                    <a:off x="19347346" y="11766262"/>
                    <a:ext cx="221910" cy="25787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1910" h="257878">
                        <a:moveTo>
                          <a:pt x="0" y="0"/>
                        </a:moveTo>
                        <a:lnTo>
                          <a:pt x="29154" y="0"/>
                        </a:lnTo>
                        <a:lnTo>
                          <a:pt x="29154" y="140494"/>
                        </a:lnTo>
                        <a:cubicBezTo>
                          <a:pt x="29000" y="170056"/>
                          <a:pt x="35208" y="192418"/>
                          <a:pt x="47776" y="207580"/>
                        </a:cubicBezTo>
                        <a:cubicBezTo>
                          <a:pt x="60344" y="222742"/>
                          <a:pt x="80186" y="230352"/>
                          <a:pt x="107300" y="230410"/>
                        </a:cubicBezTo>
                        <a:cubicBezTo>
                          <a:pt x="125338" y="229918"/>
                          <a:pt x="141970" y="225282"/>
                          <a:pt x="157198" y="216501"/>
                        </a:cubicBezTo>
                        <a:cubicBezTo>
                          <a:pt x="172424" y="207720"/>
                          <a:pt x="184278" y="197745"/>
                          <a:pt x="192758" y="186576"/>
                        </a:cubicBezTo>
                        <a:lnTo>
                          <a:pt x="192758" y="0"/>
                        </a:lnTo>
                        <a:lnTo>
                          <a:pt x="221910" y="0"/>
                        </a:lnTo>
                        <a:lnTo>
                          <a:pt x="221910" y="252819"/>
                        </a:lnTo>
                        <a:lnTo>
                          <a:pt x="192758" y="252819"/>
                        </a:lnTo>
                        <a:lnTo>
                          <a:pt x="192758" y="212989"/>
                        </a:lnTo>
                        <a:cubicBezTo>
                          <a:pt x="182918" y="225179"/>
                          <a:pt x="169566" y="235608"/>
                          <a:pt x="152700" y="244278"/>
                        </a:cubicBezTo>
                        <a:cubicBezTo>
                          <a:pt x="135834" y="252948"/>
                          <a:pt x="117140" y="257481"/>
                          <a:pt x="96618" y="257877"/>
                        </a:cubicBezTo>
                        <a:cubicBezTo>
                          <a:pt x="65782" y="258020"/>
                          <a:pt x="42018" y="249040"/>
                          <a:pt x="25330" y="230937"/>
                        </a:cubicBezTo>
                        <a:cubicBezTo>
                          <a:pt x="8638" y="212834"/>
                          <a:pt x="196" y="184747"/>
                          <a:pt x="0" y="146676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</p:grpSp>
          </p:grpSp>
          <p:grpSp>
            <p:nvGrpSpPr>
              <p:cNvPr id="87" name="Групувати 86">
                <a:extLst>
                  <a:ext uri="{FF2B5EF4-FFF2-40B4-BE49-F238E27FC236}">
                    <a16:creationId xmlns:a16="http://schemas.microsoft.com/office/drawing/2014/main" id="{A92E8169-F9FE-A19B-3640-9ED5CC0C7822}"/>
                  </a:ext>
                </a:extLst>
              </p:cNvPr>
              <p:cNvGrpSpPr/>
              <p:nvPr/>
            </p:nvGrpSpPr>
            <p:grpSpPr>
              <a:xfrm>
                <a:off x="14573834" y="3459101"/>
                <a:ext cx="3417544" cy="245414"/>
                <a:chOff x="9101195" y="5421617"/>
                <a:chExt cx="2548282" cy="182992"/>
              </a:xfrm>
            </p:grpSpPr>
            <p:grpSp>
              <p:nvGrpSpPr>
                <p:cNvPr id="106" name="Групувати 105">
                  <a:extLst>
                    <a:ext uri="{FF2B5EF4-FFF2-40B4-BE49-F238E27FC236}">
                      <a16:creationId xmlns:a16="http://schemas.microsoft.com/office/drawing/2014/main" id="{8B277C49-B2E3-4D89-1A75-DF3ADD6C1610}"/>
                    </a:ext>
                  </a:extLst>
                </p:cNvPr>
                <p:cNvGrpSpPr/>
                <p:nvPr/>
              </p:nvGrpSpPr>
              <p:grpSpPr>
                <a:xfrm>
                  <a:off x="9101195" y="5421617"/>
                  <a:ext cx="1635437" cy="182992"/>
                  <a:chOff x="16179483" y="12963736"/>
                  <a:chExt cx="3605534" cy="403429"/>
                </a:xfrm>
              </p:grpSpPr>
              <p:sp>
                <p:nvSpPr>
                  <p:cNvPr id="114" name="TextBox 113">
                    <a:extLst>
                      <a:ext uri="{FF2B5EF4-FFF2-40B4-BE49-F238E27FC236}">
                        <a16:creationId xmlns:a16="http://schemas.microsoft.com/office/drawing/2014/main" id="{EC638FD2-1EAD-EF24-9566-46F46AE2C257}"/>
                      </a:ext>
                    </a:extLst>
                  </p:cNvPr>
                  <p:cNvSpPr txBox="1"/>
                  <p:nvPr/>
                </p:nvSpPr>
                <p:spPr>
                  <a:xfrm>
                    <a:off x="16179483" y="12963736"/>
                    <a:ext cx="152788" cy="3983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2788" h="398371">
                        <a:moveTo>
                          <a:pt x="87036" y="1"/>
                        </a:moveTo>
                        <a:cubicBezTo>
                          <a:pt x="102246" y="188"/>
                          <a:pt x="115382" y="2337"/>
                          <a:pt x="126446" y="6447"/>
                        </a:cubicBezTo>
                        <a:cubicBezTo>
                          <a:pt x="137510" y="10558"/>
                          <a:pt x="146290" y="15509"/>
                          <a:pt x="152788" y="21301"/>
                        </a:cubicBezTo>
                        <a:lnTo>
                          <a:pt x="141548" y="43774"/>
                        </a:lnTo>
                        <a:cubicBezTo>
                          <a:pt x="135706" y="38913"/>
                          <a:pt x="128704" y="35000"/>
                          <a:pt x="120544" y="32036"/>
                        </a:cubicBezTo>
                        <a:cubicBezTo>
                          <a:pt x="112384" y="29072"/>
                          <a:pt x="102714" y="27549"/>
                          <a:pt x="91532" y="27467"/>
                        </a:cubicBezTo>
                        <a:cubicBezTo>
                          <a:pt x="71478" y="27303"/>
                          <a:pt x="56092" y="33817"/>
                          <a:pt x="45380" y="47008"/>
                        </a:cubicBezTo>
                        <a:cubicBezTo>
                          <a:pt x="34668" y="60199"/>
                          <a:pt x="29258" y="81051"/>
                          <a:pt x="29154" y="109565"/>
                        </a:cubicBezTo>
                        <a:lnTo>
                          <a:pt x="29154" y="145552"/>
                        </a:lnTo>
                        <a:lnTo>
                          <a:pt x="125814" y="145552"/>
                        </a:lnTo>
                        <a:lnTo>
                          <a:pt x="125814" y="173019"/>
                        </a:lnTo>
                        <a:lnTo>
                          <a:pt x="29154" y="173019"/>
                        </a:lnTo>
                        <a:lnTo>
                          <a:pt x="29154" y="398371"/>
                        </a:lnTo>
                        <a:lnTo>
                          <a:pt x="0" y="398371"/>
                        </a:lnTo>
                        <a:lnTo>
                          <a:pt x="0" y="104504"/>
                        </a:lnTo>
                        <a:cubicBezTo>
                          <a:pt x="116" y="69398"/>
                          <a:pt x="7596" y="43195"/>
                          <a:pt x="22444" y="25894"/>
                        </a:cubicBezTo>
                        <a:cubicBezTo>
                          <a:pt x="37294" y="8593"/>
                          <a:pt x="58824" y="-38"/>
                          <a:pt x="87036" y="1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5" name="TextBox 114">
                    <a:extLst>
                      <a:ext uri="{FF2B5EF4-FFF2-40B4-BE49-F238E27FC236}">
                        <a16:creationId xmlns:a16="http://schemas.microsoft.com/office/drawing/2014/main" id="{D3BEBE12-9028-4AE8-8354-516615E91729}"/>
                      </a:ext>
                    </a:extLst>
                  </p:cNvPr>
                  <p:cNvSpPr txBox="1"/>
                  <p:nvPr/>
                </p:nvSpPr>
                <p:spPr>
                  <a:xfrm>
                    <a:off x="19129367" y="12963736"/>
                    <a:ext cx="342172" cy="4034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2172" h="403429">
                        <a:moveTo>
                          <a:pt x="191040" y="1"/>
                        </a:moveTo>
                        <a:cubicBezTo>
                          <a:pt x="216476" y="-35"/>
                          <a:pt x="239100" y="2980"/>
                          <a:pt x="258914" y="9044"/>
                        </a:cubicBezTo>
                        <a:cubicBezTo>
                          <a:pt x="278730" y="15108"/>
                          <a:pt x="296576" y="24434"/>
                          <a:pt x="312456" y="37023"/>
                        </a:cubicBezTo>
                        <a:lnTo>
                          <a:pt x="298404" y="61198"/>
                        </a:lnTo>
                        <a:cubicBezTo>
                          <a:pt x="285322" y="50270"/>
                          <a:pt x="269888" y="42189"/>
                          <a:pt x="252098" y="36953"/>
                        </a:cubicBezTo>
                        <a:cubicBezTo>
                          <a:pt x="234310" y="31718"/>
                          <a:pt x="215082" y="29118"/>
                          <a:pt x="194412" y="29153"/>
                        </a:cubicBezTo>
                        <a:cubicBezTo>
                          <a:pt x="145368" y="30055"/>
                          <a:pt x="106302" y="46242"/>
                          <a:pt x="77212" y="77713"/>
                        </a:cubicBezTo>
                        <a:cubicBezTo>
                          <a:pt x="48122" y="109184"/>
                          <a:pt x="33226" y="150529"/>
                          <a:pt x="32524" y="201747"/>
                        </a:cubicBezTo>
                        <a:cubicBezTo>
                          <a:pt x="33262" y="254653"/>
                          <a:pt x="48368" y="296469"/>
                          <a:pt x="77844" y="327197"/>
                        </a:cubicBezTo>
                        <a:cubicBezTo>
                          <a:pt x="107320" y="357925"/>
                          <a:pt x="146738" y="373619"/>
                          <a:pt x="196098" y="374276"/>
                        </a:cubicBezTo>
                        <a:cubicBezTo>
                          <a:pt x="218080" y="374112"/>
                          <a:pt x="239744" y="370364"/>
                          <a:pt x="261094" y="363031"/>
                        </a:cubicBezTo>
                        <a:cubicBezTo>
                          <a:pt x="282442" y="355698"/>
                          <a:pt x="299750" y="345765"/>
                          <a:pt x="313020" y="333231"/>
                        </a:cubicBezTo>
                        <a:lnTo>
                          <a:pt x="313020" y="237084"/>
                        </a:lnTo>
                        <a:lnTo>
                          <a:pt x="197786" y="237084"/>
                        </a:lnTo>
                        <a:lnTo>
                          <a:pt x="197786" y="207932"/>
                        </a:lnTo>
                        <a:lnTo>
                          <a:pt x="342172" y="207932"/>
                        </a:lnTo>
                        <a:lnTo>
                          <a:pt x="342172" y="349537"/>
                        </a:lnTo>
                        <a:cubicBezTo>
                          <a:pt x="323882" y="367021"/>
                          <a:pt x="301114" y="380357"/>
                          <a:pt x="273872" y="389544"/>
                        </a:cubicBezTo>
                        <a:cubicBezTo>
                          <a:pt x="246628" y="398732"/>
                          <a:pt x="220330" y="403360"/>
                          <a:pt x="194974" y="403429"/>
                        </a:cubicBezTo>
                        <a:cubicBezTo>
                          <a:pt x="135452" y="402681"/>
                          <a:pt x="88272" y="384378"/>
                          <a:pt x="53432" y="348521"/>
                        </a:cubicBezTo>
                        <a:cubicBezTo>
                          <a:pt x="18592" y="312663"/>
                          <a:pt x="782" y="263739"/>
                          <a:pt x="0" y="201747"/>
                        </a:cubicBezTo>
                        <a:cubicBezTo>
                          <a:pt x="224" y="163682"/>
                          <a:pt x="8198" y="129506"/>
                          <a:pt x="23922" y="99220"/>
                        </a:cubicBezTo>
                        <a:cubicBezTo>
                          <a:pt x="39644" y="68933"/>
                          <a:pt x="61770" y="44925"/>
                          <a:pt x="90296" y="27194"/>
                        </a:cubicBezTo>
                        <a:cubicBezTo>
                          <a:pt x="118824" y="9463"/>
                          <a:pt x="152404" y="399"/>
                          <a:pt x="191040" y="1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6" name="TextBox 115">
                    <a:extLst>
                      <a:ext uri="{FF2B5EF4-FFF2-40B4-BE49-F238E27FC236}">
                        <a16:creationId xmlns:a16="http://schemas.microsoft.com/office/drawing/2014/main" id="{3190907E-B7DA-128D-9725-35552CA97FFB}"/>
                      </a:ext>
                    </a:extLst>
                  </p:cNvPr>
                  <p:cNvSpPr txBox="1"/>
                  <p:nvPr/>
                </p:nvSpPr>
                <p:spPr>
                  <a:xfrm>
                    <a:off x="19538941" y="12963736"/>
                    <a:ext cx="246076" cy="40342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6076" h="403428">
                        <a:moveTo>
                          <a:pt x="125286" y="0"/>
                        </a:moveTo>
                        <a:cubicBezTo>
                          <a:pt x="147504" y="151"/>
                          <a:pt x="167860" y="3773"/>
                          <a:pt x="186350" y="10866"/>
                        </a:cubicBezTo>
                        <a:cubicBezTo>
                          <a:pt x="204838" y="17958"/>
                          <a:pt x="219700" y="27614"/>
                          <a:pt x="230936" y="39834"/>
                        </a:cubicBezTo>
                        <a:lnTo>
                          <a:pt x="214112" y="62879"/>
                        </a:lnTo>
                        <a:cubicBezTo>
                          <a:pt x="191624" y="40395"/>
                          <a:pt x="162392" y="29153"/>
                          <a:pt x="126410" y="29152"/>
                        </a:cubicBezTo>
                        <a:cubicBezTo>
                          <a:pt x="100290" y="29433"/>
                          <a:pt x="79864" y="35757"/>
                          <a:pt x="65128" y="48124"/>
                        </a:cubicBezTo>
                        <a:cubicBezTo>
                          <a:pt x="50394" y="60490"/>
                          <a:pt x="42898" y="77212"/>
                          <a:pt x="42640" y="98291"/>
                        </a:cubicBezTo>
                        <a:cubicBezTo>
                          <a:pt x="43184" y="119876"/>
                          <a:pt x="50236" y="136602"/>
                          <a:pt x="63798" y="148469"/>
                        </a:cubicBezTo>
                        <a:cubicBezTo>
                          <a:pt x="77360" y="160337"/>
                          <a:pt x="94178" y="170039"/>
                          <a:pt x="114250" y="177576"/>
                        </a:cubicBezTo>
                        <a:cubicBezTo>
                          <a:pt x="134322" y="185114"/>
                          <a:pt x="154394" y="193179"/>
                          <a:pt x="174466" y="201773"/>
                        </a:cubicBezTo>
                        <a:cubicBezTo>
                          <a:pt x="194538" y="210367"/>
                          <a:pt x="211356" y="222183"/>
                          <a:pt x="224918" y="237220"/>
                        </a:cubicBezTo>
                        <a:cubicBezTo>
                          <a:pt x="238480" y="252258"/>
                          <a:pt x="245534" y="273211"/>
                          <a:pt x="246076" y="300080"/>
                        </a:cubicBezTo>
                        <a:cubicBezTo>
                          <a:pt x="245212" y="331928"/>
                          <a:pt x="233046" y="357022"/>
                          <a:pt x="209574" y="375361"/>
                        </a:cubicBezTo>
                        <a:cubicBezTo>
                          <a:pt x="186104" y="393701"/>
                          <a:pt x="156508" y="403056"/>
                          <a:pt x="120788" y="403428"/>
                        </a:cubicBezTo>
                        <a:cubicBezTo>
                          <a:pt x="96568" y="403277"/>
                          <a:pt x="73060" y="398252"/>
                          <a:pt x="50264" y="388352"/>
                        </a:cubicBezTo>
                        <a:cubicBezTo>
                          <a:pt x="27468" y="378452"/>
                          <a:pt x="10714" y="364579"/>
                          <a:pt x="0" y="346733"/>
                        </a:cubicBezTo>
                        <a:lnTo>
                          <a:pt x="18528" y="325374"/>
                        </a:lnTo>
                        <a:cubicBezTo>
                          <a:pt x="30610" y="341182"/>
                          <a:pt x="46006" y="353267"/>
                          <a:pt x="64716" y="361628"/>
                        </a:cubicBezTo>
                        <a:cubicBezTo>
                          <a:pt x="83426" y="369989"/>
                          <a:pt x="101928" y="374205"/>
                          <a:pt x="120224" y="374275"/>
                        </a:cubicBezTo>
                        <a:cubicBezTo>
                          <a:pt x="145266" y="374228"/>
                          <a:pt x="166864" y="367999"/>
                          <a:pt x="185020" y="355586"/>
                        </a:cubicBezTo>
                        <a:cubicBezTo>
                          <a:pt x="203174" y="343173"/>
                          <a:pt x="212684" y="324858"/>
                          <a:pt x="213552" y="300642"/>
                        </a:cubicBezTo>
                        <a:cubicBezTo>
                          <a:pt x="213008" y="278815"/>
                          <a:pt x="205956" y="261764"/>
                          <a:pt x="192394" y="249488"/>
                        </a:cubicBezTo>
                        <a:cubicBezTo>
                          <a:pt x="178832" y="237212"/>
                          <a:pt x="162014" y="227121"/>
                          <a:pt x="141942" y="219216"/>
                        </a:cubicBezTo>
                        <a:cubicBezTo>
                          <a:pt x="121870" y="211311"/>
                          <a:pt x="101798" y="203001"/>
                          <a:pt x="81726" y="194286"/>
                        </a:cubicBezTo>
                        <a:cubicBezTo>
                          <a:pt x="61654" y="185572"/>
                          <a:pt x="44836" y="173862"/>
                          <a:pt x="31274" y="159158"/>
                        </a:cubicBezTo>
                        <a:cubicBezTo>
                          <a:pt x="17712" y="144454"/>
                          <a:pt x="10660" y="124165"/>
                          <a:pt x="10116" y="98291"/>
                        </a:cubicBezTo>
                        <a:cubicBezTo>
                          <a:pt x="10348" y="70096"/>
                          <a:pt x="20406" y="46828"/>
                          <a:pt x="40294" y="28489"/>
                        </a:cubicBezTo>
                        <a:cubicBezTo>
                          <a:pt x="60180" y="10149"/>
                          <a:pt x="88512" y="653"/>
                          <a:pt x="125286" y="0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7" name="TextBox 116">
                    <a:extLst>
                      <a:ext uri="{FF2B5EF4-FFF2-40B4-BE49-F238E27FC236}">
                        <a16:creationId xmlns:a16="http://schemas.microsoft.com/office/drawing/2014/main" id="{4AFE934B-172E-1219-C98A-464E4C8E3A42}"/>
                      </a:ext>
                    </a:extLst>
                  </p:cNvPr>
                  <p:cNvSpPr txBox="1"/>
                  <p:nvPr/>
                </p:nvSpPr>
                <p:spPr>
                  <a:xfrm>
                    <a:off x="18276641" y="12968794"/>
                    <a:ext cx="108393" cy="3966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8393" h="396684">
                        <a:moveTo>
                          <a:pt x="1" y="0"/>
                        </a:moveTo>
                        <a:lnTo>
                          <a:pt x="29153" y="0"/>
                        </a:lnTo>
                        <a:lnTo>
                          <a:pt x="29153" y="312458"/>
                        </a:lnTo>
                        <a:cubicBezTo>
                          <a:pt x="28989" y="331542"/>
                          <a:pt x="31705" y="345778"/>
                          <a:pt x="37303" y="355168"/>
                        </a:cubicBezTo>
                        <a:cubicBezTo>
                          <a:pt x="42899" y="364558"/>
                          <a:pt x="52359" y="369241"/>
                          <a:pt x="65681" y="369217"/>
                        </a:cubicBezTo>
                        <a:cubicBezTo>
                          <a:pt x="72531" y="369088"/>
                          <a:pt x="79065" y="367801"/>
                          <a:pt x="85281" y="365354"/>
                        </a:cubicBezTo>
                        <a:cubicBezTo>
                          <a:pt x="91497" y="362907"/>
                          <a:pt x="96767" y="360073"/>
                          <a:pt x="101087" y="356854"/>
                        </a:cubicBezTo>
                        <a:lnTo>
                          <a:pt x="108393" y="379868"/>
                        </a:lnTo>
                        <a:cubicBezTo>
                          <a:pt x="102445" y="384492"/>
                          <a:pt x="94951" y="388416"/>
                          <a:pt x="85913" y="391639"/>
                        </a:cubicBezTo>
                        <a:cubicBezTo>
                          <a:pt x="76875" y="394862"/>
                          <a:pt x="66571" y="396544"/>
                          <a:pt x="55005" y="396684"/>
                        </a:cubicBezTo>
                        <a:cubicBezTo>
                          <a:pt x="36253" y="396709"/>
                          <a:pt x="22381" y="391053"/>
                          <a:pt x="13393" y="379714"/>
                        </a:cubicBezTo>
                        <a:cubicBezTo>
                          <a:pt x="4405" y="368376"/>
                          <a:pt x="-59" y="351202"/>
                          <a:pt x="1" y="328193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8" name="TextBox 117">
                    <a:extLst>
                      <a:ext uri="{FF2B5EF4-FFF2-40B4-BE49-F238E27FC236}">
                        <a16:creationId xmlns:a16="http://schemas.microsoft.com/office/drawing/2014/main" id="{9E5F65AA-EBCF-0399-569D-F07E8A68B4CA}"/>
                      </a:ext>
                    </a:extLst>
                  </p:cNvPr>
                  <p:cNvSpPr txBox="1"/>
                  <p:nvPr/>
                </p:nvSpPr>
                <p:spPr>
                  <a:xfrm>
                    <a:off x="18438567" y="12968794"/>
                    <a:ext cx="108391" cy="3966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8391" h="396684">
                        <a:moveTo>
                          <a:pt x="1" y="0"/>
                        </a:moveTo>
                        <a:lnTo>
                          <a:pt x="29153" y="0"/>
                        </a:lnTo>
                        <a:lnTo>
                          <a:pt x="29153" y="312458"/>
                        </a:lnTo>
                        <a:cubicBezTo>
                          <a:pt x="28989" y="331542"/>
                          <a:pt x="31705" y="345778"/>
                          <a:pt x="37301" y="355168"/>
                        </a:cubicBezTo>
                        <a:cubicBezTo>
                          <a:pt x="42897" y="364558"/>
                          <a:pt x="52357" y="369241"/>
                          <a:pt x="65681" y="369217"/>
                        </a:cubicBezTo>
                        <a:cubicBezTo>
                          <a:pt x="72531" y="369088"/>
                          <a:pt x="79063" y="367801"/>
                          <a:pt x="85279" y="365354"/>
                        </a:cubicBezTo>
                        <a:cubicBezTo>
                          <a:pt x="91497" y="362907"/>
                          <a:pt x="96765" y="360073"/>
                          <a:pt x="101085" y="356854"/>
                        </a:cubicBezTo>
                        <a:lnTo>
                          <a:pt x="108391" y="379868"/>
                        </a:lnTo>
                        <a:cubicBezTo>
                          <a:pt x="102443" y="384492"/>
                          <a:pt x="94951" y="388416"/>
                          <a:pt x="85913" y="391639"/>
                        </a:cubicBezTo>
                        <a:cubicBezTo>
                          <a:pt x="76873" y="394862"/>
                          <a:pt x="66571" y="396544"/>
                          <a:pt x="55003" y="396684"/>
                        </a:cubicBezTo>
                        <a:cubicBezTo>
                          <a:pt x="36251" y="396709"/>
                          <a:pt x="22381" y="391053"/>
                          <a:pt x="13393" y="379714"/>
                        </a:cubicBezTo>
                        <a:cubicBezTo>
                          <a:pt x="4405" y="368376"/>
                          <a:pt x="-59" y="351202"/>
                          <a:pt x="1" y="328193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9" name="TextBox 118">
                    <a:extLst>
                      <a:ext uri="{FF2B5EF4-FFF2-40B4-BE49-F238E27FC236}">
                        <a16:creationId xmlns:a16="http://schemas.microsoft.com/office/drawing/2014/main" id="{94307A80-0065-3244-4798-CCEBFA1DB1DD}"/>
                      </a:ext>
                    </a:extLst>
                  </p:cNvPr>
                  <p:cNvSpPr txBox="1"/>
                  <p:nvPr/>
                </p:nvSpPr>
                <p:spPr>
                  <a:xfrm>
                    <a:off x="18736679" y="12968794"/>
                    <a:ext cx="308454" cy="3978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8454" h="397810">
                        <a:moveTo>
                          <a:pt x="0" y="0"/>
                        </a:moveTo>
                        <a:lnTo>
                          <a:pt x="30838" y="0"/>
                        </a:lnTo>
                        <a:lnTo>
                          <a:pt x="30838" y="219170"/>
                        </a:lnTo>
                        <a:cubicBezTo>
                          <a:pt x="31354" y="267195"/>
                          <a:pt x="43112" y="304052"/>
                          <a:pt x="66114" y="329738"/>
                        </a:cubicBezTo>
                        <a:cubicBezTo>
                          <a:pt x="89114" y="355425"/>
                          <a:pt x="120266" y="368398"/>
                          <a:pt x="159568" y="368655"/>
                        </a:cubicBezTo>
                        <a:cubicBezTo>
                          <a:pt x="194738" y="368831"/>
                          <a:pt x="223054" y="356959"/>
                          <a:pt x="244522" y="333040"/>
                        </a:cubicBezTo>
                        <a:cubicBezTo>
                          <a:pt x="265988" y="309121"/>
                          <a:pt x="277018" y="272101"/>
                          <a:pt x="277616" y="221980"/>
                        </a:cubicBezTo>
                        <a:lnTo>
                          <a:pt x="277616" y="0"/>
                        </a:lnTo>
                        <a:lnTo>
                          <a:pt x="308454" y="0"/>
                        </a:lnTo>
                        <a:lnTo>
                          <a:pt x="308454" y="228724"/>
                        </a:lnTo>
                        <a:cubicBezTo>
                          <a:pt x="308084" y="268671"/>
                          <a:pt x="301088" y="301100"/>
                          <a:pt x="287468" y="326010"/>
                        </a:cubicBezTo>
                        <a:cubicBezTo>
                          <a:pt x="273848" y="350920"/>
                          <a:pt x="255824" y="369149"/>
                          <a:pt x="233396" y="380696"/>
                        </a:cubicBezTo>
                        <a:cubicBezTo>
                          <a:pt x="210968" y="392244"/>
                          <a:pt x="186360" y="397947"/>
                          <a:pt x="159568" y="397808"/>
                        </a:cubicBezTo>
                        <a:cubicBezTo>
                          <a:pt x="112832" y="397799"/>
                          <a:pt x="74784" y="383363"/>
                          <a:pt x="45424" y="354500"/>
                        </a:cubicBezTo>
                        <a:cubicBezTo>
                          <a:pt x="16064" y="325638"/>
                          <a:pt x="922" y="282401"/>
                          <a:pt x="0" y="22479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20" name="TextBox 119">
                    <a:extLst>
                      <a:ext uri="{FF2B5EF4-FFF2-40B4-BE49-F238E27FC236}">
                        <a16:creationId xmlns:a16="http://schemas.microsoft.com/office/drawing/2014/main" id="{4B44342E-D764-1154-9AF8-2B1884FEF8A4}"/>
                      </a:ext>
                    </a:extLst>
                  </p:cNvPr>
                  <p:cNvSpPr txBox="1"/>
                  <p:nvPr/>
                </p:nvSpPr>
                <p:spPr>
                  <a:xfrm>
                    <a:off x="16334609" y="13104230"/>
                    <a:ext cx="265180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80" h="262934">
                        <a:moveTo>
                          <a:pt x="132590" y="0"/>
                        </a:moveTo>
                        <a:cubicBezTo>
                          <a:pt x="172548" y="734"/>
                          <a:pt x="204484" y="13159"/>
                          <a:pt x="228400" y="37274"/>
                        </a:cubicBezTo>
                        <a:cubicBezTo>
                          <a:pt x="252314" y="61389"/>
                          <a:pt x="264576" y="92786"/>
                          <a:pt x="265180" y="131467"/>
                        </a:cubicBezTo>
                        <a:cubicBezTo>
                          <a:pt x="264576" y="170147"/>
                          <a:pt x="252314" y="201545"/>
                          <a:pt x="228400" y="225660"/>
                        </a:cubicBezTo>
                        <a:cubicBezTo>
                          <a:pt x="204484" y="249774"/>
                          <a:pt x="172548" y="262199"/>
                          <a:pt x="132590" y="262934"/>
                        </a:cubicBezTo>
                        <a:cubicBezTo>
                          <a:pt x="92632" y="262199"/>
                          <a:pt x="60696" y="249774"/>
                          <a:pt x="36780" y="225660"/>
                        </a:cubicBezTo>
                        <a:cubicBezTo>
                          <a:pt x="12866" y="201545"/>
                          <a:pt x="604" y="170147"/>
                          <a:pt x="0" y="131467"/>
                        </a:cubicBezTo>
                        <a:cubicBezTo>
                          <a:pt x="604" y="92786"/>
                          <a:pt x="12866" y="61389"/>
                          <a:pt x="36780" y="37274"/>
                        </a:cubicBezTo>
                        <a:cubicBezTo>
                          <a:pt x="60696" y="13159"/>
                          <a:pt x="92632" y="734"/>
                          <a:pt x="132590" y="0"/>
                        </a:cubicBezTo>
                        <a:close/>
                        <a:moveTo>
                          <a:pt x="132590" y="27466"/>
                        </a:moveTo>
                        <a:cubicBezTo>
                          <a:pt x="102772" y="27970"/>
                          <a:pt x="78504" y="37644"/>
                          <a:pt x="59790" y="56488"/>
                        </a:cubicBezTo>
                        <a:cubicBezTo>
                          <a:pt x="41074" y="75332"/>
                          <a:pt x="31422" y="100325"/>
                          <a:pt x="30838" y="131467"/>
                        </a:cubicBezTo>
                        <a:cubicBezTo>
                          <a:pt x="31388" y="162362"/>
                          <a:pt x="40968" y="187285"/>
                          <a:pt x="59578" y="206235"/>
                        </a:cubicBezTo>
                        <a:cubicBezTo>
                          <a:pt x="78188" y="225184"/>
                          <a:pt x="102526" y="234928"/>
                          <a:pt x="132590" y="235467"/>
                        </a:cubicBezTo>
                        <a:cubicBezTo>
                          <a:pt x="162900" y="234964"/>
                          <a:pt x="187308" y="225290"/>
                          <a:pt x="205812" y="206445"/>
                        </a:cubicBezTo>
                        <a:cubicBezTo>
                          <a:pt x="224318" y="187601"/>
                          <a:pt x="233828" y="162608"/>
                          <a:pt x="234342" y="131467"/>
                        </a:cubicBezTo>
                        <a:cubicBezTo>
                          <a:pt x="233828" y="100571"/>
                          <a:pt x="224318" y="75649"/>
                          <a:pt x="205812" y="56699"/>
                        </a:cubicBezTo>
                        <a:cubicBezTo>
                          <a:pt x="187308" y="37749"/>
                          <a:pt x="162900" y="28005"/>
                          <a:pt x="132590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21" name="TextBox 120">
                    <a:extLst>
                      <a:ext uri="{FF2B5EF4-FFF2-40B4-BE49-F238E27FC236}">
                        <a16:creationId xmlns:a16="http://schemas.microsoft.com/office/drawing/2014/main" id="{54F650A8-C251-90E3-616D-B64C5A4058D6}"/>
                      </a:ext>
                    </a:extLst>
                  </p:cNvPr>
                  <p:cNvSpPr txBox="1"/>
                  <p:nvPr/>
                </p:nvSpPr>
                <p:spPr>
                  <a:xfrm>
                    <a:off x="16963257" y="13104230"/>
                    <a:ext cx="265182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82" h="262934">
                        <a:moveTo>
                          <a:pt x="132592" y="0"/>
                        </a:moveTo>
                        <a:cubicBezTo>
                          <a:pt x="172550" y="734"/>
                          <a:pt x="204486" y="13159"/>
                          <a:pt x="228402" y="37274"/>
                        </a:cubicBezTo>
                        <a:cubicBezTo>
                          <a:pt x="252316" y="61389"/>
                          <a:pt x="264578" y="92786"/>
                          <a:pt x="265182" y="131467"/>
                        </a:cubicBezTo>
                        <a:cubicBezTo>
                          <a:pt x="264578" y="170147"/>
                          <a:pt x="252316" y="201545"/>
                          <a:pt x="228402" y="225660"/>
                        </a:cubicBezTo>
                        <a:cubicBezTo>
                          <a:pt x="204486" y="249774"/>
                          <a:pt x="172550" y="262199"/>
                          <a:pt x="132592" y="262934"/>
                        </a:cubicBezTo>
                        <a:cubicBezTo>
                          <a:pt x="92634" y="262199"/>
                          <a:pt x="60698" y="249774"/>
                          <a:pt x="36782" y="225660"/>
                        </a:cubicBezTo>
                        <a:cubicBezTo>
                          <a:pt x="12868" y="201545"/>
                          <a:pt x="606" y="170147"/>
                          <a:pt x="0" y="131467"/>
                        </a:cubicBezTo>
                        <a:cubicBezTo>
                          <a:pt x="606" y="92786"/>
                          <a:pt x="12868" y="61389"/>
                          <a:pt x="36782" y="37274"/>
                        </a:cubicBezTo>
                        <a:cubicBezTo>
                          <a:pt x="60698" y="13159"/>
                          <a:pt x="92634" y="734"/>
                          <a:pt x="132592" y="0"/>
                        </a:cubicBezTo>
                        <a:close/>
                        <a:moveTo>
                          <a:pt x="132592" y="27466"/>
                        </a:moveTo>
                        <a:cubicBezTo>
                          <a:pt x="102774" y="27970"/>
                          <a:pt x="78506" y="37644"/>
                          <a:pt x="59792" y="56488"/>
                        </a:cubicBezTo>
                        <a:cubicBezTo>
                          <a:pt x="41076" y="75332"/>
                          <a:pt x="31424" y="100325"/>
                          <a:pt x="30840" y="131467"/>
                        </a:cubicBezTo>
                        <a:cubicBezTo>
                          <a:pt x="31390" y="162362"/>
                          <a:pt x="40970" y="187285"/>
                          <a:pt x="59580" y="206235"/>
                        </a:cubicBezTo>
                        <a:cubicBezTo>
                          <a:pt x="78190" y="225184"/>
                          <a:pt x="102528" y="234928"/>
                          <a:pt x="132592" y="235467"/>
                        </a:cubicBezTo>
                        <a:cubicBezTo>
                          <a:pt x="162904" y="234964"/>
                          <a:pt x="187310" y="225290"/>
                          <a:pt x="205814" y="206445"/>
                        </a:cubicBezTo>
                        <a:cubicBezTo>
                          <a:pt x="224320" y="187601"/>
                          <a:pt x="233830" y="162608"/>
                          <a:pt x="234344" y="131467"/>
                        </a:cubicBezTo>
                        <a:cubicBezTo>
                          <a:pt x="233830" y="100571"/>
                          <a:pt x="224320" y="75649"/>
                          <a:pt x="205814" y="56699"/>
                        </a:cubicBezTo>
                        <a:cubicBezTo>
                          <a:pt x="187310" y="37749"/>
                          <a:pt x="162904" y="28005"/>
                          <a:pt x="132592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22" name="TextBox 121">
                    <a:extLst>
                      <a:ext uri="{FF2B5EF4-FFF2-40B4-BE49-F238E27FC236}">
                        <a16:creationId xmlns:a16="http://schemas.microsoft.com/office/drawing/2014/main" id="{764211E4-6793-F564-C206-54353D3F3895}"/>
                      </a:ext>
                    </a:extLst>
                  </p:cNvPr>
                  <p:cNvSpPr txBox="1"/>
                  <p:nvPr/>
                </p:nvSpPr>
                <p:spPr>
                  <a:xfrm>
                    <a:off x="17525233" y="13104230"/>
                    <a:ext cx="242704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2704" h="262934">
                        <a:moveTo>
                          <a:pt x="128098" y="0"/>
                        </a:moveTo>
                        <a:cubicBezTo>
                          <a:pt x="161404" y="429"/>
                          <a:pt x="188658" y="10795"/>
                          <a:pt x="209856" y="31098"/>
                        </a:cubicBezTo>
                        <a:cubicBezTo>
                          <a:pt x="231054" y="51400"/>
                          <a:pt x="242004" y="79060"/>
                          <a:pt x="242704" y="114079"/>
                        </a:cubicBezTo>
                        <a:cubicBezTo>
                          <a:pt x="242704" y="118807"/>
                          <a:pt x="242562" y="123079"/>
                          <a:pt x="242282" y="126897"/>
                        </a:cubicBezTo>
                        <a:cubicBezTo>
                          <a:pt x="242002" y="130714"/>
                          <a:pt x="241582" y="134286"/>
                          <a:pt x="241020" y="137613"/>
                        </a:cubicBezTo>
                        <a:lnTo>
                          <a:pt x="32524" y="137613"/>
                        </a:lnTo>
                        <a:cubicBezTo>
                          <a:pt x="34024" y="168263"/>
                          <a:pt x="43956" y="192164"/>
                          <a:pt x="62320" y="209316"/>
                        </a:cubicBezTo>
                        <a:cubicBezTo>
                          <a:pt x="80686" y="226469"/>
                          <a:pt x="105236" y="235186"/>
                          <a:pt x="135968" y="235467"/>
                        </a:cubicBezTo>
                        <a:cubicBezTo>
                          <a:pt x="153304" y="235303"/>
                          <a:pt x="169092" y="232398"/>
                          <a:pt x="183332" y="226750"/>
                        </a:cubicBezTo>
                        <a:cubicBezTo>
                          <a:pt x="197572" y="221103"/>
                          <a:pt x="209140" y="213698"/>
                          <a:pt x="218034" y="204536"/>
                        </a:cubicBezTo>
                        <a:lnTo>
                          <a:pt x="227566" y="227032"/>
                        </a:lnTo>
                        <a:cubicBezTo>
                          <a:pt x="215720" y="239084"/>
                          <a:pt x="201514" y="248085"/>
                          <a:pt x="184946" y="254032"/>
                        </a:cubicBezTo>
                        <a:cubicBezTo>
                          <a:pt x="168376" y="259978"/>
                          <a:pt x="151488" y="262946"/>
                          <a:pt x="134282" y="262934"/>
                        </a:cubicBezTo>
                        <a:cubicBezTo>
                          <a:pt x="93760" y="262445"/>
                          <a:pt x="61402" y="250510"/>
                          <a:pt x="37204" y="227130"/>
                        </a:cubicBezTo>
                        <a:cubicBezTo>
                          <a:pt x="13006" y="203749"/>
                          <a:pt x="606" y="171856"/>
                          <a:pt x="0" y="131450"/>
                        </a:cubicBezTo>
                        <a:cubicBezTo>
                          <a:pt x="138" y="93767"/>
                          <a:pt x="11086" y="62657"/>
                          <a:pt x="32848" y="38120"/>
                        </a:cubicBezTo>
                        <a:cubicBezTo>
                          <a:pt x="54608" y="13583"/>
                          <a:pt x="86358" y="876"/>
                          <a:pt x="128098" y="0"/>
                        </a:cubicBezTo>
                        <a:close/>
                        <a:moveTo>
                          <a:pt x="125288" y="27466"/>
                        </a:moveTo>
                        <a:cubicBezTo>
                          <a:pt x="97072" y="27958"/>
                          <a:pt x="74936" y="36114"/>
                          <a:pt x="58878" y="51932"/>
                        </a:cubicBezTo>
                        <a:cubicBezTo>
                          <a:pt x="42820" y="67750"/>
                          <a:pt x="33476" y="88279"/>
                          <a:pt x="30842" y="113518"/>
                        </a:cubicBezTo>
                        <a:lnTo>
                          <a:pt x="212988" y="113518"/>
                        </a:lnTo>
                        <a:cubicBezTo>
                          <a:pt x="212146" y="86557"/>
                          <a:pt x="203994" y="65536"/>
                          <a:pt x="188534" y="50456"/>
                        </a:cubicBezTo>
                        <a:cubicBezTo>
                          <a:pt x="173074" y="35375"/>
                          <a:pt x="151992" y="27712"/>
                          <a:pt x="125288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23" name="TextBox 122">
                    <a:extLst>
                      <a:ext uri="{FF2B5EF4-FFF2-40B4-BE49-F238E27FC236}">
                        <a16:creationId xmlns:a16="http://schemas.microsoft.com/office/drawing/2014/main" id="{EF074C8D-5D07-F303-8475-AE943FE0C389}"/>
                      </a:ext>
                    </a:extLst>
                  </p:cNvPr>
                  <p:cNvSpPr txBox="1"/>
                  <p:nvPr/>
                </p:nvSpPr>
                <p:spPr>
                  <a:xfrm>
                    <a:off x="17999798" y="13104230"/>
                    <a:ext cx="193835" cy="26124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3835" h="261248">
                        <a:moveTo>
                          <a:pt x="99998" y="0"/>
                        </a:moveTo>
                        <a:cubicBezTo>
                          <a:pt x="134648" y="206"/>
                          <a:pt x="159068" y="9050"/>
                          <a:pt x="173254" y="26529"/>
                        </a:cubicBezTo>
                        <a:cubicBezTo>
                          <a:pt x="187442" y="44008"/>
                          <a:pt x="194294" y="68882"/>
                          <a:pt x="193812" y="101150"/>
                        </a:cubicBezTo>
                        <a:lnTo>
                          <a:pt x="193812" y="257876"/>
                        </a:lnTo>
                        <a:lnTo>
                          <a:pt x="164658" y="257876"/>
                        </a:lnTo>
                        <a:lnTo>
                          <a:pt x="164658" y="219160"/>
                        </a:lnTo>
                        <a:cubicBezTo>
                          <a:pt x="157044" y="230253"/>
                          <a:pt x="146408" y="239936"/>
                          <a:pt x="132750" y="248209"/>
                        </a:cubicBezTo>
                        <a:cubicBezTo>
                          <a:pt x="119090" y="256482"/>
                          <a:pt x="100864" y="260828"/>
                          <a:pt x="78068" y="261248"/>
                        </a:cubicBezTo>
                        <a:cubicBezTo>
                          <a:pt x="54398" y="260994"/>
                          <a:pt x="35554" y="254213"/>
                          <a:pt x="21534" y="240907"/>
                        </a:cubicBezTo>
                        <a:cubicBezTo>
                          <a:pt x="7514" y="227600"/>
                          <a:pt x="336" y="209291"/>
                          <a:pt x="0" y="185980"/>
                        </a:cubicBezTo>
                        <a:cubicBezTo>
                          <a:pt x="594" y="160561"/>
                          <a:pt x="9786" y="141127"/>
                          <a:pt x="27578" y="127679"/>
                        </a:cubicBezTo>
                        <a:cubicBezTo>
                          <a:pt x="45370" y="114231"/>
                          <a:pt x="68198" y="107450"/>
                          <a:pt x="96062" y="107337"/>
                        </a:cubicBezTo>
                        <a:cubicBezTo>
                          <a:pt x="106510" y="107220"/>
                          <a:pt x="117942" y="108574"/>
                          <a:pt x="130360" y="111399"/>
                        </a:cubicBezTo>
                        <a:cubicBezTo>
                          <a:pt x="142776" y="114224"/>
                          <a:pt x="154210" y="119221"/>
                          <a:pt x="164658" y="126388"/>
                        </a:cubicBezTo>
                        <a:cubicBezTo>
                          <a:pt x="165006" y="106243"/>
                          <a:pt x="163936" y="88789"/>
                          <a:pt x="161452" y="74026"/>
                        </a:cubicBezTo>
                        <a:cubicBezTo>
                          <a:pt x="158966" y="59262"/>
                          <a:pt x="152982" y="47838"/>
                          <a:pt x="143500" y="39754"/>
                        </a:cubicBezTo>
                        <a:cubicBezTo>
                          <a:pt x="134018" y="31670"/>
                          <a:pt x="118954" y="27574"/>
                          <a:pt x="98310" y="27466"/>
                        </a:cubicBezTo>
                        <a:cubicBezTo>
                          <a:pt x="83726" y="27513"/>
                          <a:pt x="71006" y="29247"/>
                          <a:pt x="60148" y="32669"/>
                        </a:cubicBezTo>
                        <a:cubicBezTo>
                          <a:pt x="49290" y="36090"/>
                          <a:pt x="38398" y="40918"/>
                          <a:pt x="27474" y="47152"/>
                        </a:cubicBezTo>
                        <a:lnTo>
                          <a:pt x="19624" y="22982"/>
                        </a:lnTo>
                        <a:cubicBezTo>
                          <a:pt x="31428" y="15648"/>
                          <a:pt x="44048" y="9996"/>
                          <a:pt x="57480" y="6025"/>
                        </a:cubicBezTo>
                        <a:cubicBezTo>
                          <a:pt x="70912" y="2055"/>
                          <a:pt x="85084" y="46"/>
                          <a:pt x="99998" y="0"/>
                        </a:cubicBezTo>
                        <a:close/>
                        <a:moveTo>
                          <a:pt x="98872" y="131432"/>
                        </a:moveTo>
                        <a:cubicBezTo>
                          <a:pt x="81524" y="131314"/>
                          <a:pt x="66038" y="135485"/>
                          <a:pt x="52416" y="143944"/>
                        </a:cubicBezTo>
                        <a:cubicBezTo>
                          <a:pt x="38792" y="152403"/>
                          <a:pt x="31600" y="165853"/>
                          <a:pt x="30838" y="184293"/>
                        </a:cubicBezTo>
                        <a:cubicBezTo>
                          <a:pt x="31214" y="200133"/>
                          <a:pt x="36648" y="212318"/>
                          <a:pt x="47144" y="220847"/>
                        </a:cubicBezTo>
                        <a:cubicBezTo>
                          <a:pt x="57640" y="229376"/>
                          <a:pt x="70946" y="233688"/>
                          <a:pt x="87066" y="233781"/>
                        </a:cubicBezTo>
                        <a:cubicBezTo>
                          <a:pt x="108116" y="233277"/>
                          <a:pt x="124632" y="228943"/>
                          <a:pt x="136616" y="220776"/>
                        </a:cubicBezTo>
                        <a:cubicBezTo>
                          <a:pt x="148598" y="212611"/>
                          <a:pt x="157946" y="203636"/>
                          <a:pt x="164658" y="193854"/>
                        </a:cubicBezTo>
                        <a:lnTo>
                          <a:pt x="164658" y="151676"/>
                        </a:lnTo>
                        <a:cubicBezTo>
                          <a:pt x="155416" y="144928"/>
                          <a:pt x="145366" y="139867"/>
                          <a:pt x="134506" y="136493"/>
                        </a:cubicBezTo>
                        <a:cubicBezTo>
                          <a:pt x="123648" y="133119"/>
                          <a:pt x="111770" y="131432"/>
                          <a:pt x="98872" y="131432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24" name="TextBox 123">
                    <a:extLst>
                      <a:ext uri="{FF2B5EF4-FFF2-40B4-BE49-F238E27FC236}">
                        <a16:creationId xmlns:a16="http://schemas.microsoft.com/office/drawing/2014/main" id="{54F222B8-51F8-2454-B749-F5ED32704884}"/>
                      </a:ext>
                    </a:extLst>
                  </p:cNvPr>
                  <p:cNvSpPr txBox="1"/>
                  <p:nvPr/>
                </p:nvSpPr>
                <p:spPr>
                  <a:xfrm>
                    <a:off x="16666917" y="13104792"/>
                    <a:ext cx="136488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488" h="257314">
                        <a:moveTo>
                          <a:pt x="97150" y="0"/>
                        </a:moveTo>
                        <a:cubicBezTo>
                          <a:pt x="107360" y="11"/>
                          <a:pt x="115462" y="829"/>
                          <a:pt x="121456" y="2452"/>
                        </a:cubicBezTo>
                        <a:cubicBezTo>
                          <a:pt x="127450" y="4075"/>
                          <a:pt x="132462" y="6434"/>
                          <a:pt x="136488" y="9529"/>
                        </a:cubicBezTo>
                        <a:lnTo>
                          <a:pt x="126374" y="37020"/>
                        </a:lnTo>
                        <a:cubicBezTo>
                          <a:pt x="120508" y="33425"/>
                          <a:pt x="115098" y="30920"/>
                          <a:pt x="110146" y="29503"/>
                        </a:cubicBezTo>
                        <a:cubicBezTo>
                          <a:pt x="105194" y="28087"/>
                          <a:pt x="98802" y="27408"/>
                          <a:pt x="90968" y="27466"/>
                        </a:cubicBezTo>
                        <a:cubicBezTo>
                          <a:pt x="74624" y="27911"/>
                          <a:pt x="61652" y="32220"/>
                          <a:pt x="52052" y="40392"/>
                        </a:cubicBezTo>
                        <a:cubicBezTo>
                          <a:pt x="42452" y="48564"/>
                          <a:pt x="34818" y="57930"/>
                          <a:pt x="29152" y="68490"/>
                        </a:cubicBezTo>
                        <a:lnTo>
                          <a:pt x="29152" y="257314"/>
                        </a:lnTo>
                        <a:lnTo>
                          <a:pt x="0" y="257314"/>
                        </a:lnTo>
                        <a:lnTo>
                          <a:pt x="0" y="4495"/>
                        </a:lnTo>
                        <a:lnTo>
                          <a:pt x="29152" y="4495"/>
                        </a:lnTo>
                        <a:lnTo>
                          <a:pt x="29152" y="38144"/>
                        </a:lnTo>
                        <a:cubicBezTo>
                          <a:pt x="36060" y="27223"/>
                          <a:pt x="45004" y="18200"/>
                          <a:pt x="55986" y="11074"/>
                        </a:cubicBezTo>
                        <a:cubicBezTo>
                          <a:pt x="66968" y="3947"/>
                          <a:pt x="80690" y="256"/>
                          <a:pt x="97150" y="0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25" name="TextBox 124">
                    <a:extLst>
                      <a:ext uri="{FF2B5EF4-FFF2-40B4-BE49-F238E27FC236}">
                        <a16:creationId xmlns:a16="http://schemas.microsoft.com/office/drawing/2014/main" id="{D059B4E9-3F96-8733-1629-1E1A7DE11A9D}"/>
                      </a:ext>
                    </a:extLst>
                  </p:cNvPr>
                  <p:cNvSpPr txBox="1"/>
                  <p:nvPr/>
                </p:nvSpPr>
                <p:spPr>
                  <a:xfrm>
                    <a:off x="17838491" y="13104792"/>
                    <a:ext cx="136490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490" h="257314">
                        <a:moveTo>
                          <a:pt x="97152" y="0"/>
                        </a:moveTo>
                        <a:cubicBezTo>
                          <a:pt x="107362" y="11"/>
                          <a:pt x="115462" y="829"/>
                          <a:pt x="121458" y="2452"/>
                        </a:cubicBezTo>
                        <a:cubicBezTo>
                          <a:pt x="127452" y="4075"/>
                          <a:pt x="132462" y="6434"/>
                          <a:pt x="136490" y="9529"/>
                        </a:cubicBezTo>
                        <a:lnTo>
                          <a:pt x="126374" y="37020"/>
                        </a:lnTo>
                        <a:cubicBezTo>
                          <a:pt x="120510" y="33425"/>
                          <a:pt x="115100" y="30920"/>
                          <a:pt x="110148" y="29503"/>
                        </a:cubicBezTo>
                        <a:cubicBezTo>
                          <a:pt x="105194" y="28087"/>
                          <a:pt x="98802" y="27408"/>
                          <a:pt x="90970" y="27466"/>
                        </a:cubicBezTo>
                        <a:cubicBezTo>
                          <a:pt x="74626" y="27911"/>
                          <a:pt x="61654" y="32220"/>
                          <a:pt x="52054" y="40392"/>
                        </a:cubicBezTo>
                        <a:cubicBezTo>
                          <a:pt x="42452" y="48564"/>
                          <a:pt x="34820" y="57930"/>
                          <a:pt x="29154" y="68490"/>
                        </a:cubicBezTo>
                        <a:lnTo>
                          <a:pt x="29154" y="257314"/>
                        </a:lnTo>
                        <a:lnTo>
                          <a:pt x="0" y="257314"/>
                        </a:lnTo>
                        <a:lnTo>
                          <a:pt x="0" y="4495"/>
                        </a:lnTo>
                        <a:lnTo>
                          <a:pt x="29154" y="4495"/>
                        </a:lnTo>
                        <a:lnTo>
                          <a:pt x="29154" y="38144"/>
                        </a:lnTo>
                        <a:cubicBezTo>
                          <a:pt x="36060" y="27223"/>
                          <a:pt x="45006" y="18200"/>
                          <a:pt x="55986" y="11074"/>
                        </a:cubicBezTo>
                        <a:cubicBezTo>
                          <a:pt x="66968" y="3947"/>
                          <a:pt x="80690" y="256"/>
                          <a:pt x="97152" y="0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26" name="TextBox 125">
                    <a:extLst>
                      <a:ext uri="{FF2B5EF4-FFF2-40B4-BE49-F238E27FC236}">
                        <a16:creationId xmlns:a16="http://schemas.microsoft.com/office/drawing/2014/main" id="{D35DB003-A987-2D7E-D9B5-0A2D08E1DDD6}"/>
                      </a:ext>
                    </a:extLst>
                  </p:cNvPr>
                  <p:cNvSpPr txBox="1"/>
                  <p:nvPr/>
                </p:nvSpPr>
                <p:spPr>
                  <a:xfrm>
                    <a:off x="17247791" y="13109288"/>
                    <a:ext cx="252890" cy="2561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2890" h="256191">
                        <a:moveTo>
                          <a:pt x="0" y="0"/>
                        </a:moveTo>
                        <a:lnTo>
                          <a:pt x="34282" y="0"/>
                        </a:lnTo>
                        <a:lnTo>
                          <a:pt x="106776" y="158996"/>
                        </a:lnTo>
                        <a:cubicBezTo>
                          <a:pt x="110756" y="167774"/>
                          <a:pt x="114738" y="176904"/>
                          <a:pt x="118718" y="186385"/>
                        </a:cubicBezTo>
                        <a:cubicBezTo>
                          <a:pt x="122698" y="195865"/>
                          <a:pt x="126398" y="205276"/>
                          <a:pt x="129818" y="214616"/>
                        </a:cubicBezTo>
                        <a:cubicBezTo>
                          <a:pt x="133212" y="205241"/>
                          <a:pt x="136818" y="195619"/>
                          <a:pt x="140634" y="185753"/>
                        </a:cubicBezTo>
                        <a:cubicBezTo>
                          <a:pt x="144452" y="175885"/>
                          <a:pt x="148338" y="166405"/>
                          <a:pt x="152296" y="157310"/>
                        </a:cubicBezTo>
                        <a:lnTo>
                          <a:pt x="221980" y="0"/>
                        </a:lnTo>
                        <a:lnTo>
                          <a:pt x="252890" y="0"/>
                        </a:lnTo>
                        <a:lnTo>
                          <a:pt x="138808" y="256191"/>
                        </a:lnTo>
                        <a:lnTo>
                          <a:pt x="118578" y="25619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</p:grpSp>
            <p:grpSp>
              <p:nvGrpSpPr>
                <p:cNvPr id="107" name="Групувати 106">
                  <a:extLst>
                    <a:ext uri="{FF2B5EF4-FFF2-40B4-BE49-F238E27FC236}">
                      <a16:creationId xmlns:a16="http://schemas.microsoft.com/office/drawing/2014/main" id="{D06D39C5-11E3-C3CB-2204-E704C0787603}"/>
                    </a:ext>
                  </a:extLst>
                </p:cNvPr>
                <p:cNvGrpSpPr/>
                <p:nvPr/>
              </p:nvGrpSpPr>
              <p:grpSpPr>
                <a:xfrm>
                  <a:off x="10856205" y="5421617"/>
                  <a:ext cx="793272" cy="180698"/>
                  <a:chOff x="16133367" y="13635544"/>
                  <a:chExt cx="1748870" cy="398372"/>
                </a:xfrm>
              </p:grpSpPr>
              <p:sp>
                <p:nvSpPr>
                  <p:cNvPr id="108" name="TextBox 107">
                    <a:extLst>
                      <a:ext uri="{FF2B5EF4-FFF2-40B4-BE49-F238E27FC236}">
                        <a16:creationId xmlns:a16="http://schemas.microsoft.com/office/drawing/2014/main" id="{B0874729-CDEF-1285-D12D-1D1ECD9E1956}"/>
                      </a:ext>
                    </a:extLst>
                  </p:cNvPr>
                  <p:cNvSpPr txBox="1"/>
                  <p:nvPr/>
                </p:nvSpPr>
                <p:spPr>
                  <a:xfrm>
                    <a:off x="16743117" y="13635544"/>
                    <a:ext cx="108391" cy="39668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8391" h="396684">
                        <a:moveTo>
                          <a:pt x="1" y="0"/>
                        </a:moveTo>
                        <a:lnTo>
                          <a:pt x="29153" y="0"/>
                        </a:lnTo>
                        <a:lnTo>
                          <a:pt x="29153" y="312458"/>
                        </a:lnTo>
                        <a:cubicBezTo>
                          <a:pt x="28989" y="331541"/>
                          <a:pt x="31705" y="345778"/>
                          <a:pt x="37301" y="355168"/>
                        </a:cubicBezTo>
                        <a:cubicBezTo>
                          <a:pt x="42897" y="364557"/>
                          <a:pt x="52357" y="369240"/>
                          <a:pt x="65681" y="369217"/>
                        </a:cubicBezTo>
                        <a:cubicBezTo>
                          <a:pt x="72529" y="369088"/>
                          <a:pt x="79063" y="367800"/>
                          <a:pt x="85279" y="365354"/>
                        </a:cubicBezTo>
                        <a:cubicBezTo>
                          <a:pt x="91497" y="362906"/>
                          <a:pt x="96765" y="360073"/>
                          <a:pt x="101085" y="356854"/>
                        </a:cubicBezTo>
                        <a:lnTo>
                          <a:pt x="108391" y="379868"/>
                        </a:lnTo>
                        <a:cubicBezTo>
                          <a:pt x="102443" y="384492"/>
                          <a:pt x="94951" y="388416"/>
                          <a:pt x="85913" y="391639"/>
                        </a:cubicBezTo>
                        <a:cubicBezTo>
                          <a:pt x="76873" y="394862"/>
                          <a:pt x="66571" y="396544"/>
                          <a:pt x="55003" y="396684"/>
                        </a:cubicBezTo>
                        <a:cubicBezTo>
                          <a:pt x="36251" y="396709"/>
                          <a:pt x="22381" y="391053"/>
                          <a:pt x="13393" y="379714"/>
                        </a:cubicBezTo>
                        <a:cubicBezTo>
                          <a:pt x="4405" y="368376"/>
                          <a:pt x="-59" y="351202"/>
                          <a:pt x="1" y="328193"/>
                        </a:cubicBez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09" name="TextBox 108">
                    <a:extLst>
                      <a:ext uri="{FF2B5EF4-FFF2-40B4-BE49-F238E27FC236}">
                        <a16:creationId xmlns:a16="http://schemas.microsoft.com/office/drawing/2014/main" id="{DDC37B3E-09C4-06E5-C4CD-DFDF0004B70B}"/>
                      </a:ext>
                    </a:extLst>
                  </p:cNvPr>
                  <p:cNvSpPr txBox="1"/>
                  <p:nvPr/>
                </p:nvSpPr>
                <p:spPr>
                  <a:xfrm>
                    <a:off x="16410807" y="13770980"/>
                    <a:ext cx="265182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5182" h="262934">
                        <a:moveTo>
                          <a:pt x="132592" y="0"/>
                        </a:moveTo>
                        <a:cubicBezTo>
                          <a:pt x="172550" y="734"/>
                          <a:pt x="204486" y="13159"/>
                          <a:pt x="228402" y="37274"/>
                        </a:cubicBezTo>
                        <a:cubicBezTo>
                          <a:pt x="252318" y="61388"/>
                          <a:pt x="264578" y="92786"/>
                          <a:pt x="265182" y="131467"/>
                        </a:cubicBezTo>
                        <a:cubicBezTo>
                          <a:pt x="264578" y="170147"/>
                          <a:pt x="252318" y="201545"/>
                          <a:pt x="228402" y="225660"/>
                        </a:cubicBezTo>
                        <a:cubicBezTo>
                          <a:pt x="204486" y="249774"/>
                          <a:pt x="172550" y="262199"/>
                          <a:pt x="132592" y="262934"/>
                        </a:cubicBezTo>
                        <a:cubicBezTo>
                          <a:pt x="92634" y="262199"/>
                          <a:pt x="60698" y="249774"/>
                          <a:pt x="36782" y="225660"/>
                        </a:cubicBezTo>
                        <a:cubicBezTo>
                          <a:pt x="12868" y="201545"/>
                          <a:pt x="606" y="170147"/>
                          <a:pt x="0" y="131467"/>
                        </a:cubicBezTo>
                        <a:cubicBezTo>
                          <a:pt x="606" y="92786"/>
                          <a:pt x="12868" y="61388"/>
                          <a:pt x="36782" y="37274"/>
                        </a:cubicBezTo>
                        <a:cubicBezTo>
                          <a:pt x="60698" y="13159"/>
                          <a:pt x="92634" y="734"/>
                          <a:pt x="132592" y="0"/>
                        </a:cubicBezTo>
                        <a:close/>
                        <a:moveTo>
                          <a:pt x="132592" y="27466"/>
                        </a:moveTo>
                        <a:cubicBezTo>
                          <a:pt x="102774" y="27970"/>
                          <a:pt x="78506" y="37644"/>
                          <a:pt x="59792" y="56488"/>
                        </a:cubicBezTo>
                        <a:cubicBezTo>
                          <a:pt x="41076" y="75332"/>
                          <a:pt x="31424" y="100325"/>
                          <a:pt x="30840" y="131467"/>
                        </a:cubicBezTo>
                        <a:cubicBezTo>
                          <a:pt x="31390" y="162362"/>
                          <a:pt x="40970" y="187285"/>
                          <a:pt x="59580" y="206235"/>
                        </a:cubicBezTo>
                        <a:cubicBezTo>
                          <a:pt x="78190" y="225184"/>
                          <a:pt x="102528" y="234928"/>
                          <a:pt x="132592" y="235467"/>
                        </a:cubicBezTo>
                        <a:cubicBezTo>
                          <a:pt x="162902" y="234964"/>
                          <a:pt x="187310" y="225290"/>
                          <a:pt x="205814" y="206446"/>
                        </a:cubicBezTo>
                        <a:cubicBezTo>
                          <a:pt x="224320" y="187601"/>
                          <a:pt x="233830" y="162608"/>
                          <a:pt x="234344" y="131467"/>
                        </a:cubicBezTo>
                        <a:cubicBezTo>
                          <a:pt x="233830" y="100571"/>
                          <a:pt x="224320" y="75648"/>
                          <a:pt x="205814" y="56699"/>
                        </a:cubicBezTo>
                        <a:cubicBezTo>
                          <a:pt x="187310" y="37749"/>
                          <a:pt x="162902" y="28005"/>
                          <a:pt x="132592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0" name="TextBox 109">
                    <a:extLst>
                      <a:ext uri="{FF2B5EF4-FFF2-40B4-BE49-F238E27FC236}">
                        <a16:creationId xmlns:a16="http://schemas.microsoft.com/office/drawing/2014/main" id="{853FC718-2545-C729-E9B9-17F40D1C4FE6}"/>
                      </a:ext>
                    </a:extLst>
                  </p:cNvPr>
                  <p:cNvSpPr txBox="1"/>
                  <p:nvPr/>
                </p:nvSpPr>
                <p:spPr>
                  <a:xfrm>
                    <a:off x="17639533" y="13770980"/>
                    <a:ext cx="242704" cy="26293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2704" h="262934">
                        <a:moveTo>
                          <a:pt x="128098" y="0"/>
                        </a:moveTo>
                        <a:cubicBezTo>
                          <a:pt x="161404" y="429"/>
                          <a:pt x="188658" y="10795"/>
                          <a:pt x="209856" y="31098"/>
                        </a:cubicBezTo>
                        <a:cubicBezTo>
                          <a:pt x="231054" y="51400"/>
                          <a:pt x="242004" y="79060"/>
                          <a:pt x="242704" y="114079"/>
                        </a:cubicBezTo>
                        <a:cubicBezTo>
                          <a:pt x="242704" y="118807"/>
                          <a:pt x="242562" y="123080"/>
                          <a:pt x="242282" y="126897"/>
                        </a:cubicBezTo>
                        <a:cubicBezTo>
                          <a:pt x="242002" y="130714"/>
                          <a:pt x="241582" y="134286"/>
                          <a:pt x="241020" y="137613"/>
                        </a:cubicBezTo>
                        <a:lnTo>
                          <a:pt x="32524" y="137613"/>
                        </a:lnTo>
                        <a:cubicBezTo>
                          <a:pt x="34024" y="168263"/>
                          <a:pt x="43956" y="192164"/>
                          <a:pt x="62320" y="209316"/>
                        </a:cubicBezTo>
                        <a:cubicBezTo>
                          <a:pt x="80686" y="226469"/>
                          <a:pt x="105236" y="235186"/>
                          <a:pt x="135968" y="235467"/>
                        </a:cubicBezTo>
                        <a:cubicBezTo>
                          <a:pt x="153304" y="235303"/>
                          <a:pt x="169092" y="232398"/>
                          <a:pt x="183332" y="226750"/>
                        </a:cubicBezTo>
                        <a:cubicBezTo>
                          <a:pt x="197572" y="221103"/>
                          <a:pt x="209140" y="213698"/>
                          <a:pt x="218034" y="204536"/>
                        </a:cubicBezTo>
                        <a:lnTo>
                          <a:pt x="227566" y="227031"/>
                        </a:lnTo>
                        <a:cubicBezTo>
                          <a:pt x="215720" y="239085"/>
                          <a:pt x="201514" y="248085"/>
                          <a:pt x="184944" y="254032"/>
                        </a:cubicBezTo>
                        <a:cubicBezTo>
                          <a:pt x="168376" y="259978"/>
                          <a:pt x="151488" y="262946"/>
                          <a:pt x="134282" y="262934"/>
                        </a:cubicBezTo>
                        <a:cubicBezTo>
                          <a:pt x="93760" y="262445"/>
                          <a:pt x="61402" y="250510"/>
                          <a:pt x="37204" y="227130"/>
                        </a:cubicBezTo>
                        <a:cubicBezTo>
                          <a:pt x="13006" y="203749"/>
                          <a:pt x="606" y="171856"/>
                          <a:pt x="0" y="131450"/>
                        </a:cubicBezTo>
                        <a:cubicBezTo>
                          <a:pt x="138" y="93767"/>
                          <a:pt x="11086" y="62657"/>
                          <a:pt x="32848" y="38120"/>
                        </a:cubicBezTo>
                        <a:cubicBezTo>
                          <a:pt x="54608" y="13583"/>
                          <a:pt x="86358" y="876"/>
                          <a:pt x="128098" y="0"/>
                        </a:cubicBezTo>
                        <a:close/>
                        <a:moveTo>
                          <a:pt x="125288" y="27466"/>
                        </a:moveTo>
                        <a:cubicBezTo>
                          <a:pt x="97072" y="27958"/>
                          <a:pt x="74936" y="36114"/>
                          <a:pt x="58878" y="51932"/>
                        </a:cubicBezTo>
                        <a:cubicBezTo>
                          <a:pt x="42820" y="67750"/>
                          <a:pt x="33476" y="88279"/>
                          <a:pt x="30842" y="113518"/>
                        </a:cubicBezTo>
                        <a:lnTo>
                          <a:pt x="212988" y="113518"/>
                        </a:lnTo>
                        <a:cubicBezTo>
                          <a:pt x="212146" y="86557"/>
                          <a:pt x="203994" y="65536"/>
                          <a:pt x="188534" y="50456"/>
                        </a:cubicBezTo>
                        <a:cubicBezTo>
                          <a:pt x="173074" y="35375"/>
                          <a:pt x="151992" y="27712"/>
                          <a:pt x="125288" y="27466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1" name="TextBox 110">
                    <a:extLst>
                      <a:ext uri="{FF2B5EF4-FFF2-40B4-BE49-F238E27FC236}">
                        <a16:creationId xmlns:a16="http://schemas.microsoft.com/office/drawing/2014/main" id="{764D9C04-98BA-FA1C-FFD2-033B9BB30A92}"/>
                      </a:ext>
                    </a:extLst>
                  </p:cNvPr>
                  <p:cNvSpPr txBox="1"/>
                  <p:nvPr/>
                </p:nvSpPr>
                <p:spPr>
                  <a:xfrm>
                    <a:off x="17209841" y="13771516"/>
                    <a:ext cx="368586" cy="25734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68586" h="257341">
                        <a:moveTo>
                          <a:pt x="116864" y="27"/>
                        </a:moveTo>
                        <a:cubicBezTo>
                          <a:pt x="136754" y="142"/>
                          <a:pt x="153472" y="4255"/>
                          <a:pt x="167020" y="12365"/>
                        </a:cubicBezTo>
                        <a:cubicBezTo>
                          <a:pt x="180568" y="20474"/>
                          <a:pt x="189690" y="31886"/>
                          <a:pt x="194384" y="46600"/>
                        </a:cubicBezTo>
                        <a:cubicBezTo>
                          <a:pt x="203984" y="32377"/>
                          <a:pt x="216958" y="21105"/>
                          <a:pt x="233308" y="12785"/>
                        </a:cubicBezTo>
                        <a:cubicBezTo>
                          <a:pt x="249660" y="4465"/>
                          <a:pt x="267418" y="212"/>
                          <a:pt x="286582" y="27"/>
                        </a:cubicBezTo>
                        <a:cubicBezTo>
                          <a:pt x="310662" y="-479"/>
                          <a:pt x="330232" y="6137"/>
                          <a:pt x="345294" y="19876"/>
                        </a:cubicBezTo>
                        <a:cubicBezTo>
                          <a:pt x="360356" y="33615"/>
                          <a:pt x="368120" y="57509"/>
                          <a:pt x="368586" y="91558"/>
                        </a:cubicBezTo>
                        <a:lnTo>
                          <a:pt x="368586" y="257341"/>
                        </a:lnTo>
                        <a:lnTo>
                          <a:pt x="339432" y="257341"/>
                        </a:lnTo>
                        <a:lnTo>
                          <a:pt x="339432" y="99426"/>
                        </a:lnTo>
                        <a:cubicBezTo>
                          <a:pt x="339398" y="74793"/>
                          <a:pt x="333986" y="56622"/>
                          <a:pt x="323198" y="44914"/>
                        </a:cubicBezTo>
                        <a:cubicBezTo>
                          <a:pt x="312410" y="33207"/>
                          <a:pt x="296456" y="27399"/>
                          <a:pt x="275336" y="27493"/>
                        </a:cubicBezTo>
                        <a:cubicBezTo>
                          <a:pt x="257520" y="27739"/>
                          <a:pt x="241988" y="31743"/>
                          <a:pt x="228740" y="39505"/>
                        </a:cubicBezTo>
                        <a:cubicBezTo>
                          <a:pt x="215492" y="47268"/>
                          <a:pt x="205160" y="57313"/>
                          <a:pt x="197748" y="69641"/>
                        </a:cubicBezTo>
                        <a:cubicBezTo>
                          <a:pt x="198284" y="72006"/>
                          <a:pt x="198612" y="74863"/>
                          <a:pt x="198728" y="78211"/>
                        </a:cubicBezTo>
                        <a:cubicBezTo>
                          <a:pt x="198846" y="81560"/>
                          <a:pt x="198892" y="84697"/>
                          <a:pt x="198868" y="87625"/>
                        </a:cubicBezTo>
                        <a:lnTo>
                          <a:pt x="198868" y="257341"/>
                        </a:lnTo>
                        <a:lnTo>
                          <a:pt x="169716" y="257341"/>
                        </a:lnTo>
                        <a:lnTo>
                          <a:pt x="169716" y="86501"/>
                        </a:lnTo>
                        <a:cubicBezTo>
                          <a:pt x="169634" y="68798"/>
                          <a:pt x="164176" y="54609"/>
                          <a:pt x="153342" y="43931"/>
                        </a:cubicBezTo>
                        <a:cubicBezTo>
                          <a:pt x="142506" y="33253"/>
                          <a:pt x="126786" y="27774"/>
                          <a:pt x="106182" y="27493"/>
                        </a:cubicBezTo>
                        <a:cubicBezTo>
                          <a:pt x="88600" y="27890"/>
                          <a:pt x="73160" y="32013"/>
                          <a:pt x="59866" y="39863"/>
                        </a:cubicBezTo>
                        <a:cubicBezTo>
                          <a:pt x="46570" y="47713"/>
                          <a:pt x="36334" y="56907"/>
                          <a:pt x="29152" y="67445"/>
                        </a:cubicBezTo>
                        <a:lnTo>
                          <a:pt x="29152" y="257341"/>
                        </a:lnTo>
                        <a:lnTo>
                          <a:pt x="0" y="257341"/>
                        </a:lnTo>
                        <a:lnTo>
                          <a:pt x="0" y="4523"/>
                        </a:lnTo>
                        <a:lnTo>
                          <a:pt x="29152" y="4523"/>
                        </a:lnTo>
                        <a:lnTo>
                          <a:pt x="29152" y="39857"/>
                        </a:lnTo>
                        <a:cubicBezTo>
                          <a:pt x="39028" y="27883"/>
                          <a:pt x="51748" y="18298"/>
                          <a:pt x="67316" y="11101"/>
                        </a:cubicBezTo>
                        <a:cubicBezTo>
                          <a:pt x="82884" y="3904"/>
                          <a:pt x="99400" y="213"/>
                          <a:pt x="116864" y="27"/>
                        </a:cubicBez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2" name="TextBox 111">
                    <a:extLst>
                      <a:ext uri="{FF2B5EF4-FFF2-40B4-BE49-F238E27FC236}">
                        <a16:creationId xmlns:a16="http://schemas.microsoft.com/office/drawing/2014/main" id="{63591AC0-557D-1297-0585-9F31167AE242}"/>
                      </a:ext>
                    </a:extLst>
                  </p:cNvPr>
                  <p:cNvSpPr txBox="1"/>
                  <p:nvPr/>
                </p:nvSpPr>
                <p:spPr>
                  <a:xfrm>
                    <a:off x="16133367" y="13776038"/>
                    <a:ext cx="252888" cy="25619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2888" h="256190">
                        <a:moveTo>
                          <a:pt x="0" y="0"/>
                        </a:moveTo>
                        <a:lnTo>
                          <a:pt x="34280" y="0"/>
                        </a:lnTo>
                        <a:lnTo>
                          <a:pt x="106776" y="158995"/>
                        </a:lnTo>
                        <a:cubicBezTo>
                          <a:pt x="110756" y="167773"/>
                          <a:pt x="114736" y="176903"/>
                          <a:pt x="118716" y="186384"/>
                        </a:cubicBezTo>
                        <a:cubicBezTo>
                          <a:pt x="122698" y="195864"/>
                          <a:pt x="126398" y="205275"/>
                          <a:pt x="129816" y="214615"/>
                        </a:cubicBezTo>
                        <a:cubicBezTo>
                          <a:pt x="133212" y="205240"/>
                          <a:pt x="136818" y="195618"/>
                          <a:pt x="140634" y="185752"/>
                        </a:cubicBezTo>
                        <a:cubicBezTo>
                          <a:pt x="144450" y="175884"/>
                          <a:pt x="148338" y="166404"/>
                          <a:pt x="152294" y="157309"/>
                        </a:cubicBezTo>
                        <a:lnTo>
                          <a:pt x="221980" y="0"/>
                        </a:lnTo>
                        <a:lnTo>
                          <a:pt x="252888" y="0"/>
                        </a:lnTo>
                        <a:lnTo>
                          <a:pt x="138808" y="256190"/>
                        </a:lnTo>
                        <a:lnTo>
                          <a:pt x="118576" y="25619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  <p:sp>
                <p:nvSpPr>
                  <p:cNvPr id="113" name="TextBox 112">
                    <a:extLst>
                      <a:ext uri="{FF2B5EF4-FFF2-40B4-BE49-F238E27FC236}">
                        <a16:creationId xmlns:a16="http://schemas.microsoft.com/office/drawing/2014/main" id="{6E32F7C8-B326-F31E-4298-029D04DC4B77}"/>
                      </a:ext>
                    </a:extLst>
                  </p:cNvPr>
                  <p:cNvSpPr txBox="1"/>
                  <p:nvPr/>
                </p:nvSpPr>
                <p:spPr>
                  <a:xfrm>
                    <a:off x="16899421" y="13776039"/>
                    <a:ext cx="221910" cy="25787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1910" h="257877">
                        <a:moveTo>
                          <a:pt x="0" y="0"/>
                        </a:moveTo>
                        <a:lnTo>
                          <a:pt x="29152" y="0"/>
                        </a:lnTo>
                        <a:lnTo>
                          <a:pt x="29152" y="140493"/>
                        </a:lnTo>
                        <a:cubicBezTo>
                          <a:pt x="29000" y="170055"/>
                          <a:pt x="35208" y="192417"/>
                          <a:pt x="47776" y="207579"/>
                        </a:cubicBezTo>
                        <a:cubicBezTo>
                          <a:pt x="60344" y="222740"/>
                          <a:pt x="80186" y="230350"/>
                          <a:pt x="107300" y="230409"/>
                        </a:cubicBezTo>
                        <a:cubicBezTo>
                          <a:pt x="125338" y="229917"/>
                          <a:pt x="141970" y="225281"/>
                          <a:pt x="157198" y="216500"/>
                        </a:cubicBezTo>
                        <a:cubicBezTo>
                          <a:pt x="172424" y="207719"/>
                          <a:pt x="184278" y="197744"/>
                          <a:pt x="192758" y="186575"/>
                        </a:cubicBezTo>
                        <a:lnTo>
                          <a:pt x="192758" y="0"/>
                        </a:lnTo>
                        <a:lnTo>
                          <a:pt x="221910" y="0"/>
                        </a:lnTo>
                        <a:lnTo>
                          <a:pt x="221910" y="252818"/>
                        </a:lnTo>
                        <a:lnTo>
                          <a:pt x="192758" y="252818"/>
                        </a:lnTo>
                        <a:lnTo>
                          <a:pt x="192758" y="212988"/>
                        </a:lnTo>
                        <a:cubicBezTo>
                          <a:pt x="182918" y="225178"/>
                          <a:pt x="169566" y="235607"/>
                          <a:pt x="152700" y="244277"/>
                        </a:cubicBezTo>
                        <a:cubicBezTo>
                          <a:pt x="135834" y="252946"/>
                          <a:pt x="117140" y="257480"/>
                          <a:pt x="96618" y="257876"/>
                        </a:cubicBezTo>
                        <a:cubicBezTo>
                          <a:pt x="65782" y="258019"/>
                          <a:pt x="42020" y="249039"/>
                          <a:pt x="25328" y="230936"/>
                        </a:cubicBezTo>
                        <a:cubicBezTo>
                          <a:pt x="8638" y="212833"/>
                          <a:pt x="196" y="184746"/>
                          <a:pt x="0" y="146675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A3A3A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1996" dirty="0">
                      <a:solidFill>
                        <a:srgbClr val="3A3A3A"/>
                      </a:solidFill>
                      <a:latin typeface="Circe Light" panose="020B0402020203020203" pitchFamily="34" charset="-52"/>
                      <a:cs typeface="Calibri Light" panose="020F0302020204030204" pitchFamily="34" charset="0"/>
                    </a:endParaRPr>
                  </a:p>
                </p:txBody>
              </p:sp>
            </p:grpSp>
          </p:grpSp>
          <p:grpSp>
            <p:nvGrpSpPr>
              <p:cNvPr id="88" name="Групувати 87">
                <a:extLst>
                  <a:ext uri="{FF2B5EF4-FFF2-40B4-BE49-F238E27FC236}">
                    <a16:creationId xmlns:a16="http://schemas.microsoft.com/office/drawing/2014/main" id="{4513F8D8-003D-E0B8-DC09-85A37A0601CF}"/>
                  </a:ext>
                </a:extLst>
              </p:cNvPr>
              <p:cNvGrpSpPr/>
              <p:nvPr/>
            </p:nvGrpSpPr>
            <p:grpSpPr>
              <a:xfrm>
                <a:off x="14954077" y="2952261"/>
                <a:ext cx="2731185" cy="321056"/>
                <a:chOff x="16151948" y="12164238"/>
                <a:chExt cx="4489728" cy="527775"/>
              </a:xfrm>
            </p:grpSpPr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C85E51AF-BFA4-07DC-F81A-3D5A9817DE14}"/>
                    </a:ext>
                  </a:extLst>
                </p:cNvPr>
                <p:cNvSpPr txBox="1"/>
                <p:nvPr/>
              </p:nvSpPr>
              <p:spPr>
                <a:xfrm>
                  <a:off x="17149233" y="12286337"/>
                  <a:ext cx="253380" cy="4056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3380" h="405676">
                      <a:moveTo>
                        <a:pt x="125320" y="0"/>
                      </a:moveTo>
                      <a:cubicBezTo>
                        <a:pt x="159526" y="303"/>
                        <a:pt x="186770" y="9240"/>
                        <a:pt x="207058" y="26813"/>
                      </a:cubicBezTo>
                      <a:cubicBezTo>
                        <a:pt x="227344" y="44385"/>
                        <a:pt x="237732" y="68777"/>
                        <a:pt x="238222" y="99986"/>
                      </a:cubicBezTo>
                      <a:cubicBezTo>
                        <a:pt x="238212" y="122223"/>
                        <a:pt x="233182" y="141154"/>
                        <a:pt x="223134" y="156780"/>
                      </a:cubicBezTo>
                      <a:cubicBezTo>
                        <a:pt x="213088" y="172405"/>
                        <a:pt x="198092" y="184585"/>
                        <a:pt x="178146" y="193319"/>
                      </a:cubicBezTo>
                      <a:lnTo>
                        <a:pt x="178146" y="195005"/>
                      </a:lnTo>
                      <a:cubicBezTo>
                        <a:pt x="202652" y="199688"/>
                        <a:pt x="221298" y="210553"/>
                        <a:pt x="234082" y="227600"/>
                      </a:cubicBezTo>
                      <a:cubicBezTo>
                        <a:pt x="246866" y="244646"/>
                        <a:pt x="253300" y="265065"/>
                        <a:pt x="253380" y="288855"/>
                      </a:cubicBezTo>
                      <a:cubicBezTo>
                        <a:pt x="252552" y="325429"/>
                        <a:pt x="240176" y="353959"/>
                        <a:pt x="216250" y="374443"/>
                      </a:cubicBezTo>
                      <a:cubicBezTo>
                        <a:pt x="192326" y="394927"/>
                        <a:pt x="161828" y="405338"/>
                        <a:pt x="124760" y="405676"/>
                      </a:cubicBezTo>
                      <a:cubicBezTo>
                        <a:pt x="94552" y="405407"/>
                        <a:pt x="68842" y="399349"/>
                        <a:pt x="47628" y="387501"/>
                      </a:cubicBezTo>
                      <a:cubicBezTo>
                        <a:pt x="26414" y="375654"/>
                        <a:pt x="10538" y="359631"/>
                        <a:pt x="0" y="339433"/>
                      </a:cubicBezTo>
                      <a:lnTo>
                        <a:pt x="36528" y="292227"/>
                      </a:lnTo>
                      <a:cubicBezTo>
                        <a:pt x="46504" y="307049"/>
                        <a:pt x="58728" y="318851"/>
                        <a:pt x="73198" y="327631"/>
                      </a:cubicBezTo>
                      <a:cubicBezTo>
                        <a:pt x="87668" y="336412"/>
                        <a:pt x="103544" y="340908"/>
                        <a:pt x="120826" y="341119"/>
                      </a:cubicBezTo>
                      <a:cubicBezTo>
                        <a:pt x="141912" y="340709"/>
                        <a:pt x="157764" y="335347"/>
                        <a:pt x="168382" y="325032"/>
                      </a:cubicBezTo>
                      <a:cubicBezTo>
                        <a:pt x="179002" y="314718"/>
                        <a:pt x="184316" y="301909"/>
                        <a:pt x="184328" y="286607"/>
                      </a:cubicBezTo>
                      <a:cubicBezTo>
                        <a:pt x="184130" y="268554"/>
                        <a:pt x="177644" y="254785"/>
                        <a:pt x="164870" y="245302"/>
                      </a:cubicBezTo>
                      <a:cubicBezTo>
                        <a:pt x="152096" y="235819"/>
                        <a:pt x="134230" y="231042"/>
                        <a:pt x="111272" y="230972"/>
                      </a:cubicBezTo>
                      <a:lnTo>
                        <a:pt x="83172" y="230972"/>
                      </a:lnTo>
                      <a:lnTo>
                        <a:pt x="83172" y="166345"/>
                      </a:lnTo>
                      <a:lnTo>
                        <a:pt x="108462" y="166345"/>
                      </a:lnTo>
                      <a:cubicBezTo>
                        <a:pt x="125004" y="166204"/>
                        <a:pt x="139124" y="161424"/>
                        <a:pt x="150820" y="152004"/>
                      </a:cubicBezTo>
                      <a:cubicBezTo>
                        <a:pt x="162516" y="142585"/>
                        <a:pt x="168628" y="129369"/>
                        <a:pt x="169156" y="112358"/>
                      </a:cubicBezTo>
                      <a:cubicBezTo>
                        <a:pt x="169178" y="98065"/>
                        <a:pt x="165058" y="86583"/>
                        <a:pt x="156792" y="77913"/>
                      </a:cubicBezTo>
                      <a:cubicBezTo>
                        <a:pt x="148526" y="69243"/>
                        <a:pt x="135976" y="64791"/>
                        <a:pt x="119140" y="64557"/>
                      </a:cubicBezTo>
                      <a:cubicBezTo>
                        <a:pt x="103510" y="64522"/>
                        <a:pt x="89670" y="67966"/>
                        <a:pt x="77624" y="74890"/>
                      </a:cubicBezTo>
                      <a:cubicBezTo>
                        <a:pt x="65576" y="81815"/>
                        <a:pt x="54688" y="92429"/>
                        <a:pt x="44958" y="106734"/>
                      </a:cubicBezTo>
                      <a:lnTo>
                        <a:pt x="8992" y="61189"/>
                      </a:lnTo>
                      <a:cubicBezTo>
                        <a:pt x="19810" y="41202"/>
                        <a:pt x="35124" y="26021"/>
                        <a:pt x="54934" y="15648"/>
                      </a:cubicBezTo>
                      <a:cubicBezTo>
                        <a:pt x="74744" y="5274"/>
                        <a:pt x="98206" y="58"/>
                        <a:pt x="125320" y="0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A367DCA2-54F1-2499-2060-15E9F2307FFD}"/>
                    </a:ext>
                  </a:extLst>
                </p:cNvPr>
                <p:cNvSpPr txBox="1"/>
                <p:nvPr/>
              </p:nvSpPr>
              <p:spPr>
                <a:xfrm>
                  <a:off x="16725133" y="12292519"/>
                  <a:ext cx="239892" cy="3978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9892" h="397808">
                      <a:moveTo>
                        <a:pt x="210740" y="0"/>
                      </a:moveTo>
                      <a:lnTo>
                        <a:pt x="239892" y="0"/>
                      </a:lnTo>
                      <a:lnTo>
                        <a:pt x="239892" y="393312"/>
                      </a:lnTo>
                      <a:lnTo>
                        <a:pt x="210740" y="393312"/>
                      </a:lnTo>
                      <a:lnTo>
                        <a:pt x="210740" y="357411"/>
                      </a:lnTo>
                      <a:cubicBezTo>
                        <a:pt x="200786" y="368920"/>
                        <a:pt x="188370" y="378461"/>
                        <a:pt x="173496" y="386032"/>
                      </a:cubicBezTo>
                      <a:cubicBezTo>
                        <a:pt x="158622" y="393603"/>
                        <a:pt x="141990" y="397528"/>
                        <a:pt x="123600" y="397808"/>
                      </a:cubicBezTo>
                      <a:cubicBezTo>
                        <a:pt x="85738" y="397320"/>
                        <a:pt x="55792" y="385526"/>
                        <a:pt x="33760" y="362427"/>
                      </a:cubicBezTo>
                      <a:cubicBezTo>
                        <a:pt x="11730" y="339327"/>
                        <a:pt x="476" y="307849"/>
                        <a:pt x="0" y="267991"/>
                      </a:cubicBezTo>
                      <a:cubicBezTo>
                        <a:pt x="816" y="228293"/>
                        <a:pt x="13920" y="196436"/>
                        <a:pt x="39312" y="172421"/>
                      </a:cubicBezTo>
                      <a:cubicBezTo>
                        <a:pt x="64704" y="148405"/>
                        <a:pt x="97486" y="136077"/>
                        <a:pt x="137656" y="135436"/>
                      </a:cubicBezTo>
                      <a:cubicBezTo>
                        <a:pt x="152192" y="135401"/>
                        <a:pt x="165426" y="137152"/>
                        <a:pt x="177360" y="140691"/>
                      </a:cubicBezTo>
                      <a:cubicBezTo>
                        <a:pt x="189296" y="144229"/>
                        <a:pt x="200422" y="149764"/>
                        <a:pt x="210740" y="157297"/>
                      </a:cubicBezTo>
                      <a:lnTo>
                        <a:pt x="210740" y="0"/>
                      </a:lnTo>
                      <a:close/>
                      <a:moveTo>
                        <a:pt x="138218" y="162902"/>
                      </a:moveTo>
                      <a:cubicBezTo>
                        <a:pt x="107918" y="163335"/>
                        <a:pt x="82642" y="172869"/>
                        <a:pt x="62392" y="191503"/>
                      </a:cubicBezTo>
                      <a:cubicBezTo>
                        <a:pt x="42140" y="210136"/>
                        <a:pt x="31624" y="235270"/>
                        <a:pt x="30838" y="266903"/>
                      </a:cubicBezTo>
                      <a:cubicBezTo>
                        <a:pt x="31318" y="299497"/>
                        <a:pt x="40478" y="324818"/>
                        <a:pt x="58316" y="342865"/>
                      </a:cubicBezTo>
                      <a:cubicBezTo>
                        <a:pt x="76154" y="360913"/>
                        <a:pt x="99790" y="370072"/>
                        <a:pt x="129222" y="370341"/>
                      </a:cubicBezTo>
                      <a:cubicBezTo>
                        <a:pt x="146358" y="369873"/>
                        <a:pt x="162124" y="365610"/>
                        <a:pt x="176518" y="357552"/>
                      </a:cubicBezTo>
                      <a:cubicBezTo>
                        <a:pt x="190912" y="349494"/>
                        <a:pt x="202320" y="340453"/>
                        <a:pt x="210740" y="330427"/>
                      </a:cubicBezTo>
                      <a:lnTo>
                        <a:pt x="210740" y="185951"/>
                      </a:lnTo>
                      <a:cubicBezTo>
                        <a:pt x="197880" y="177367"/>
                        <a:pt x="185512" y="171347"/>
                        <a:pt x="173636" y="167892"/>
                      </a:cubicBezTo>
                      <a:cubicBezTo>
                        <a:pt x="161760" y="164437"/>
                        <a:pt x="149954" y="162773"/>
                        <a:pt x="138218" y="16290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C14F4677-2626-C678-49E4-F72923D77A5B}"/>
                    </a:ext>
                  </a:extLst>
                </p:cNvPr>
                <p:cNvSpPr txBox="1"/>
                <p:nvPr/>
              </p:nvSpPr>
              <p:spPr>
                <a:xfrm>
                  <a:off x="18648116" y="12292519"/>
                  <a:ext cx="225844" cy="3933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844" h="393312">
                      <a:moveTo>
                        <a:pt x="0" y="0"/>
                      </a:moveTo>
                      <a:lnTo>
                        <a:pt x="29152" y="0"/>
                      </a:lnTo>
                      <a:lnTo>
                        <a:pt x="29152" y="174704"/>
                      </a:lnTo>
                      <a:cubicBezTo>
                        <a:pt x="39378" y="163514"/>
                        <a:pt x="52660" y="154327"/>
                        <a:pt x="68998" y="147142"/>
                      </a:cubicBezTo>
                      <a:cubicBezTo>
                        <a:pt x="85338" y="139957"/>
                        <a:pt x="102416" y="136242"/>
                        <a:pt x="120230" y="135998"/>
                      </a:cubicBezTo>
                      <a:cubicBezTo>
                        <a:pt x="154638" y="135772"/>
                        <a:pt x="180814" y="144775"/>
                        <a:pt x="198758" y="163007"/>
                      </a:cubicBezTo>
                      <a:cubicBezTo>
                        <a:pt x="216702" y="181239"/>
                        <a:pt x="225730" y="210052"/>
                        <a:pt x="225844" y="249446"/>
                      </a:cubicBezTo>
                      <a:lnTo>
                        <a:pt x="225844" y="393312"/>
                      </a:lnTo>
                      <a:lnTo>
                        <a:pt x="196692" y="393312"/>
                      </a:lnTo>
                      <a:lnTo>
                        <a:pt x="196692" y="253942"/>
                      </a:lnTo>
                      <a:cubicBezTo>
                        <a:pt x="196738" y="223619"/>
                        <a:pt x="189898" y="200953"/>
                        <a:pt x="176170" y="185943"/>
                      </a:cubicBezTo>
                      <a:cubicBezTo>
                        <a:pt x="162442" y="170934"/>
                        <a:pt x="141548" y="163441"/>
                        <a:pt x="113484" y="163464"/>
                      </a:cubicBezTo>
                      <a:cubicBezTo>
                        <a:pt x="95986" y="163815"/>
                        <a:pt x="79682" y="167749"/>
                        <a:pt x="64572" y="175266"/>
                      </a:cubicBezTo>
                      <a:cubicBezTo>
                        <a:pt x="49462" y="182782"/>
                        <a:pt x="37656" y="191774"/>
                        <a:pt x="29152" y="202240"/>
                      </a:cubicBezTo>
                      <a:lnTo>
                        <a:pt x="29152" y="393312"/>
                      </a:lnTo>
                      <a:lnTo>
                        <a:pt x="0" y="3933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58306440-362F-BE5B-8296-316D1B1B69B9}"/>
                    </a:ext>
                  </a:extLst>
                </p:cNvPr>
                <p:cNvSpPr txBox="1"/>
                <p:nvPr/>
              </p:nvSpPr>
              <p:spPr>
                <a:xfrm>
                  <a:off x="20257842" y="12292519"/>
                  <a:ext cx="108391" cy="3966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391" h="396684">
                      <a:moveTo>
                        <a:pt x="1" y="0"/>
                      </a:moveTo>
                      <a:lnTo>
                        <a:pt x="29153" y="0"/>
                      </a:lnTo>
                      <a:lnTo>
                        <a:pt x="29153" y="312458"/>
                      </a:lnTo>
                      <a:cubicBezTo>
                        <a:pt x="28989" y="331541"/>
                        <a:pt x="31705" y="345778"/>
                        <a:pt x="37301" y="355168"/>
                      </a:cubicBezTo>
                      <a:cubicBezTo>
                        <a:pt x="42897" y="364557"/>
                        <a:pt x="52357" y="369241"/>
                        <a:pt x="65681" y="369217"/>
                      </a:cubicBezTo>
                      <a:cubicBezTo>
                        <a:pt x="72529" y="369088"/>
                        <a:pt x="79063" y="367801"/>
                        <a:pt x="85279" y="365354"/>
                      </a:cubicBezTo>
                      <a:cubicBezTo>
                        <a:pt x="91497" y="362907"/>
                        <a:pt x="96765" y="360073"/>
                        <a:pt x="101085" y="356854"/>
                      </a:cubicBezTo>
                      <a:lnTo>
                        <a:pt x="108391" y="379867"/>
                      </a:lnTo>
                      <a:cubicBezTo>
                        <a:pt x="102443" y="384492"/>
                        <a:pt x="94951" y="388416"/>
                        <a:pt x="85913" y="391639"/>
                      </a:cubicBezTo>
                      <a:cubicBezTo>
                        <a:pt x="76873" y="394862"/>
                        <a:pt x="66571" y="396544"/>
                        <a:pt x="55003" y="396684"/>
                      </a:cubicBezTo>
                      <a:cubicBezTo>
                        <a:pt x="36251" y="396709"/>
                        <a:pt x="22381" y="391053"/>
                        <a:pt x="13393" y="379714"/>
                      </a:cubicBezTo>
                      <a:cubicBezTo>
                        <a:pt x="4405" y="368376"/>
                        <a:pt x="-59" y="351202"/>
                        <a:pt x="1" y="328193"/>
                      </a:cubicBezTo>
                      <a:lnTo>
                        <a:pt x="1" y="0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0D309299-4DF4-D98B-CE2B-66C94167FDC9}"/>
                    </a:ext>
                  </a:extLst>
                </p:cNvPr>
                <p:cNvSpPr txBox="1"/>
                <p:nvPr/>
              </p:nvSpPr>
              <p:spPr>
                <a:xfrm>
                  <a:off x="20401782" y="12292519"/>
                  <a:ext cx="239894" cy="3978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9894" h="397808">
                      <a:moveTo>
                        <a:pt x="210742" y="0"/>
                      </a:moveTo>
                      <a:lnTo>
                        <a:pt x="239894" y="0"/>
                      </a:lnTo>
                      <a:lnTo>
                        <a:pt x="239894" y="393312"/>
                      </a:lnTo>
                      <a:lnTo>
                        <a:pt x="210742" y="393312"/>
                      </a:lnTo>
                      <a:lnTo>
                        <a:pt x="210742" y="357411"/>
                      </a:lnTo>
                      <a:cubicBezTo>
                        <a:pt x="200786" y="368920"/>
                        <a:pt x="188372" y="378461"/>
                        <a:pt x="173496" y="386032"/>
                      </a:cubicBezTo>
                      <a:cubicBezTo>
                        <a:pt x="158622" y="393603"/>
                        <a:pt x="141990" y="397528"/>
                        <a:pt x="123602" y="397808"/>
                      </a:cubicBezTo>
                      <a:cubicBezTo>
                        <a:pt x="85740" y="397320"/>
                        <a:pt x="55792" y="385526"/>
                        <a:pt x="33762" y="362427"/>
                      </a:cubicBezTo>
                      <a:cubicBezTo>
                        <a:pt x="11732" y="339327"/>
                        <a:pt x="478" y="307849"/>
                        <a:pt x="0" y="267991"/>
                      </a:cubicBezTo>
                      <a:cubicBezTo>
                        <a:pt x="818" y="228293"/>
                        <a:pt x="13922" y="196436"/>
                        <a:pt x="39314" y="172421"/>
                      </a:cubicBezTo>
                      <a:cubicBezTo>
                        <a:pt x="64706" y="148405"/>
                        <a:pt x="97486" y="136077"/>
                        <a:pt x="137656" y="135436"/>
                      </a:cubicBezTo>
                      <a:cubicBezTo>
                        <a:pt x="152192" y="135401"/>
                        <a:pt x="165428" y="137152"/>
                        <a:pt x="177362" y="140691"/>
                      </a:cubicBezTo>
                      <a:cubicBezTo>
                        <a:pt x="189296" y="144229"/>
                        <a:pt x="200424" y="149764"/>
                        <a:pt x="210742" y="157297"/>
                      </a:cubicBezTo>
                      <a:lnTo>
                        <a:pt x="210742" y="0"/>
                      </a:lnTo>
                      <a:close/>
                      <a:moveTo>
                        <a:pt x="138220" y="162902"/>
                      </a:moveTo>
                      <a:cubicBezTo>
                        <a:pt x="107920" y="163335"/>
                        <a:pt x="82644" y="172869"/>
                        <a:pt x="62392" y="191503"/>
                      </a:cubicBezTo>
                      <a:cubicBezTo>
                        <a:pt x="42142" y="210136"/>
                        <a:pt x="31624" y="235270"/>
                        <a:pt x="30840" y="266903"/>
                      </a:cubicBezTo>
                      <a:cubicBezTo>
                        <a:pt x="31320" y="299497"/>
                        <a:pt x="40478" y="324818"/>
                        <a:pt x="58316" y="342865"/>
                      </a:cubicBezTo>
                      <a:cubicBezTo>
                        <a:pt x="76154" y="360913"/>
                        <a:pt x="99790" y="370072"/>
                        <a:pt x="129224" y="370341"/>
                      </a:cubicBezTo>
                      <a:cubicBezTo>
                        <a:pt x="146360" y="369873"/>
                        <a:pt x="162124" y="365610"/>
                        <a:pt x="176520" y="357552"/>
                      </a:cubicBezTo>
                      <a:cubicBezTo>
                        <a:pt x="190912" y="349494"/>
                        <a:pt x="202320" y="340453"/>
                        <a:pt x="210742" y="330427"/>
                      </a:cubicBezTo>
                      <a:lnTo>
                        <a:pt x="210742" y="185951"/>
                      </a:lnTo>
                      <a:cubicBezTo>
                        <a:pt x="197882" y="177367"/>
                        <a:pt x="185514" y="171347"/>
                        <a:pt x="173638" y="167892"/>
                      </a:cubicBezTo>
                      <a:cubicBezTo>
                        <a:pt x="161760" y="164437"/>
                        <a:pt x="149956" y="162773"/>
                        <a:pt x="138220" y="162902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18DCBDF0-DF46-32F2-FBF5-C26B3CFEE406}"/>
                    </a:ext>
                  </a:extLst>
                </p:cNvPr>
                <p:cNvSpPr txBox="1"/>
                <p:nvPr/>
              </p:nvSpPr>
              <p:spPr>
                <a:xfrm>
                  <a:off x="17876058" y="12316122"/>
                  <a:ext cx="39830" cy="393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830" h="39338">
                      <a:moveTo>
                        <a:pt x="20756" y="0"/>
                      </a:moveTo>
                      <a:cubicBezTo>
                        <a:pt x="25720" y="70"/>
                        <a:pt x="30090" y="1756"/>
                        <a:pt x="33866" y="5057"/>
                      </a:cubicBezTo>
                      <a:cubicBezTo>
                        <a:pt x="37642" y="8359"/>
                        <a:pt x="39630" y="12855"/>
                        <a:pt x="39830" y="18545"/>
                      </a:cubicBezTo>
                      <a:cubicBezTo>
                        <a:pt x="39630" y="25066"/>
                        <a:pt x="37642" y="30147"/>
                        <a:pt x="33866" y="33788"/>
                      </a:cubicBezTo>
                      <a:cubicBezTo>
                        <a:pt x="30090" y="37429"/>
                        <a:pt x="25720" y="39279"/>
                        <a:pt x="20756" y="39338"/>
                      </a:cubicBezTo>
                      <a:cubicBezTo>
                        <a:pt x="14984" y="39279"/>
                        <a:pt x="10124" y="37429"/>
                        <a:pt x="6172" y="33788"/>
                      </a:cubicBezTo>
                      <a:cubicBezTo>
                        <a:pt x="2222" y="30147"/>
                        <a:pt x="164" y="25066"/>
                        <a:pt x="0" y="18545"/>
                      </a:cubicBezTo>
                      <a:cubicBezTo>
                        <a:pt x="164" y="12855"/>
                        <a:pt x="2222" y="8359"/>
                        <a:pt x="6172" y="5057"/>
                      </a:cubicBezTo>
                      <a:cubicBezTo>
                        <a:pt x="10124" y="1756"/>
                        <a:pt x="14984" y="70"/>
                        <a:pt x="20756" y="0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92F95043-2FD2-2089-880E-3FE2031CBC41}"/>
                    </a:ext>
                  </a:extLst>
                </p:cNvPr>
                <p:cNvSpPr txBox="1"/>
                <p:nvPr/>
              </p:nvSpPr>
              <p:spPr>
                <a:xfrm>
                  <a:off x="18442466" y="12362767"/>
                  <a:ext cx="135932" cy="3264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5932" h="326437">
                      <a:moveTo>
                        <a:pt x="6" y="0"/>
                      </a:moveTo>
                      <a:lnTo>
                        <a:pt x="29158" y="0"/>
                      </a:lnTo>
                      <a:lnTo>
                        <a:pt x="29158" y="70246"/>
                      </a:lnTo>
                      <a:lnTo>
                        <a:pt x="130876" y="70246"/>
                      </a:lnTo>
                      <a:lnTo>
                        <a:pt x="130876" y="97713"/>
                      </a:lnTo>
                      <a:lnTo>
                        <a:pt x="29158" y="97713"/>
                      </a:lnTo>
                      <a:lnTo>
                        <a:pt x="29158" y="222515"/>
                      </a:lnTo>
                      <a:cubicBezTo>
                        <a:pt x="28994" y="247344"/>
                        <a:pt x="33396" y="266270"/>
                        <a:pt x="42364" y="279294"/>
                      </a:cubicBezTo>
                      <a:cubicBezTo>
                        <a:pt x="51332" y="292318"/>
                        <a:pt x="65850" y="298876"/>
                        <a:pt x="85918" y="298970"/>
                      </a:cubicBezTo>
                      <a:cubicBezTo>
                        <a:pt x="94418" y="298830"/>
                        <a:pt x="102144" y="297424"/>
                        <a:pt x="109098" y="294754"/>
                      </a:cubicBezTo>
                      <a:cubicBezTo>
                        <a:pt x="116054" y="292084"/>
                        <a:pt x="121814" y="288992"/>
                        <a:pt x="126380" y="285478"/>
                      </a:cubicBezTo>
                      <a:lnTo>
                        <a:pt x="135932" y="308499"/>
                      </a:lnTo>
                      <a:cubicBezTo>
                        <a:pt x="129916" y="313416"/>
                        <a:pt x="122000" y="317596"/>
                        <a:pt x="112190" y="321042"/>
                      </a:cubicBezTo>
                      <a:cubicBezTo>
                        <a:pt x="102378" y="324486"/>
                        <a:pt x="91374" y="326285"/>
                        <a:pt x="79174" y="326437"/>
                      </a:cubicBezTo>
                      <a:cubicBezTo>
                        <a:pt x="51296" y="326335"/>
                        <a:pt x="31078" y="317845"/>
                        <a:pt x="18520" y="300968"/>
                      </a:cubicBezTo>
                      <a:cubicBezTo>
                        <a:pt x="5964" y="284091"/>
                        <a:pt x="-208" y="259439"/>
                        <a:pt x="6" y="227012"/>
                      </a:cubicBez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322898C7-6220-49D6-B51D-743A9A4D112C}"/>
                    </a:ext>
                  </a:extLst>
                </p:cNvPr>
                <p:cNvSpPr txBox="1"/>
                <p:nvPr/>
              </p:nvSpPr>
              <p:spPr>
                <a:xfrm>
                  <a:off x="16151948" y="12427955"/>
                  <a:ext cx="193835" cy="2612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835" h="261248">
                      <a:moveTo>
                        <a:pt x="99998" y="0"/>
                      </a:moveTo>
                      <a:cubicBezTo>
                        <a:pt x="134648" y="207"/>
                        <a:pt x="159068" y="9050"/>
                        <a:pt x="173254" y="26529"/>
                      </a:cubicBezTo>
                      <a:cubicBezTo>
                        <a:pt x="187442" y="44008"/>
                        <a:pt x="194294" y="68882"/>
                        <a:pt x="193812" y="101150"/>
                      </a:cubicBezTo>
                      <a:lnTo>
                        <a:pt x="193812" y="257876"/>
                      </a:lnTo>
                      <a:lnTo>
                        <a:pt x="164658" y="257876"/>
                      </a:lnTo>
                      <a:lnTo>
                        <a:pt x="164658" y="219160"/>
                      </a:lnTo>
                      <a:cubicBezTo>
                        <a:pt x="157044" y="230253"/>
                        <a:pt x="146408" y="239936"/>
                        <a:pt x="132750" y="248209"/>
                      </a:cubicBezTo>
                      <a:cubicBezTo>
                        <a:pt x="119090" y="256482"/>
                        <a:pt x="100864" y="260828"/>
                        <a:pt x="78068" y="261248"/>
                      </a:cubicBezTo>
                      <a:cubicBezTo>
                        <a:pt x="54398" y="260994"/>
                        <a:pt x="35554" y="254213"/>
                        <a:pt x="21534" y="240907"/>
                      </a:cubicBezTo>
                      <a:cubicBezTo>
                        <a:pt x="7514" y="227600"/>
                        <a:pt x="336" y="209291"/>
                        <a:pt x="0" y="185981"/>
                      </a:cubicBezTo>
                      <a:cubicBezTo>
                        <a:pt x="594" y="160561"/>
                        <a:pt x="9786" y="141127"/>
                        <a:pt x="27578" y="127679"/>
                      </a:cubicBezTo>
                      <a:cubicBezTo>
                        <a:pt x="45370" y="114231"/>
                        <a:pt x="68198" y="107450"/>
                        <a:pt x="96062" y="107337"/>
                      </a:cubicBezTo>
                      <a:cubicBezTo>
                        <a:pt x="106510" y="107220"/>
                        <a:pt x="117942" y="108574"/>
                        <a:pt x="130360" y="111399"/>
                      </a:cubicBezTo>
                      <a:cubicBezTo>
                        <a:pt x="142776" y="114224"/>
                        <a:pt x="154210" y="119221"/>
                        <a:pt x="164658" y="126388"/>
                      </a:cubicBezTo>
                      <a:cubicBezTo>
                        <a:pt x="165006" y="106243"/>
                        <a:pt x="163936" y="88789"/>
                        <a:pt x="161452" y="74025"/>
                      </a:cubicBezTo>
                      <a:cubicBezTo>
                        <a:pt x="158966" y="59262"/>
                        <a:pt x="152982" y="47839"/>
                        <a:pt x="143500" y="39754"/>
                      </a:cubicBezTo>
                      <a:cubicBezTo>
                        <a:pt x="134018" y="31670"/>
                        <a:pt x="118954" y="27574"/>
                        <a:pt x="98310" y="27466"/>
                      </a:cubicBezTo>
                      <a:cubicBezTo>
                        <a:pt x="83726" y="27513"/>
                        <a:pt x="71006" y="29247"/>
                        <a:pt x="60148" y="32669"/>
                      </a:cubicBezTo>
                      <a:cubicBezTo>
                        <a:pt x="49290" y="36090"/>
                        <a:pt x="38398" y="40918"/>
                        <a:pt x="27474" y="47152"/>
                      </a:cubicBezTo>
                      <a:lnTo>
                        <a:pt x="19624" y="22982"/>
                      </a:lnTo>
                      <a:cubicBezTo>
                        <a:pt x="31428" y="15648"/>
                        <a:pt x="44048" y="9996"/>
                        <a:pt x="57480" y="6025"/>
                      </a:cubicBezTo>
                      <a:cubicBezTo>
                        <a:pt x="70912" y="2055"/>
                        <a:pt x="85084" y="46"/>
                        <a:pt x="99998" y="0"/>
                      </a:cubicBezTo>
                      <a:close/>
                      <a:moveTo>
                        <a:pt x="98872" y="131431"/>
                      </a:moveTo>
                      <a:cubicBezTo>
                        <a:pt x="81524" y="131314"/>
                        <a:pt x="66038" y="135485"/>
                        <a:pt x="52416" y="143944"/>
                      </a:cubicBezTo>
                      <a:cubicBezTo>
                        <a:pt x="38792" y="152403"/>
                        <a:pt x="31600" y="165853"/>
                        <a:pt x="30838" y="184293"/>
                      </a:cubicBezTo>
                      <a:cubicBezTo>
                        <a:pt x="31214" y="200133"/>
                        <a:pt x="36648" y="212318"/>
                        <a:pt x="47144" y="220847"/>
                      </a:cubicBezTo>
                      <a:cubicBezTo>
                        <a:pt x="57640" y="229376"/>
                        <a:pt x="70946" y="233687"/>
                        <a:pt x="87066" y="233781"/>
                      </a:cubicBezTo>
                      <a:cubicBezTo>
                        <a:pt x="108114" y="233277"/>
                        <a:pt x="124632" y="228943"/>
                        <a:pt x="136614" y="220777"/>
                      </a:cubicBezTo>
                      <a:cubicBezTo>
                        <a:pt x="148598" y="212611"/>
                        <a:pt x="157946" y="203636"/>
                        <a:pt x="164658" y="193854"/>
                      </a:cubicBezTo>
                      <a:lnTo>
                        <a:pt x="164658" y="151677"/>
                      </a:lnTo>
                      <a:cubicBezTo>
                        <a:pt x="155416" y="144928"/>
                        <a:pt x="145366" y="139867"/>
                        <a:pt x="134506" y="136493"/>
                      </a:cubicBezTo>
                      <a:cubicBezTo>
                        <a:pt x="123648" y="133119"/>
                        <a:pt x="111770" y="131431"/>
                        <a:pt x="98872" y="131431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EF3148FC-3E82-C31C-EFB7-4228D96A0D19}"/>
                    </a:ext>
                  </a:extLst>
                </p:cNvPr>
                <p:cNvSpPr txBox="1"/>
                <p:nvPr/>
              </p:nvSpPr>
              <p:spPr>
                <a:xfrm>
                  <a:off x="18944458" y="12427955"/>
                  <a:ext cx="242704" cy="262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2704" h="262934">
                      <a:moveTo>
                        <a:pt x="128098" y="0"/>
                      </a:moveTo>
                      <a:cubicBezTo>
                        <a:pt x="161404" y="429"/>
                        <a:pt x="188658" y="10795"/>
                        <a:pt x="209856" y="31098"/>
                      </a:cubicBezTo>
                      <a:cubicBezTo>
                        <a:pt x="231054" y="51400"/>
                        <a:pt x="242004" y="79060"/>
                        <a:pt x="242704" y="114079"/>
                      </a:cubicBezTo>
                      <a:cubicBezTo>
                        <a:pt x="242704" y="118807"/>
                        <a:pt x="242562" y="123079"/>
                        <a:pt x="242282" y="126897"/>
                      </a:cubicBezTo>
                      <a:cubicBezTo>
                        <a:pt x="242002" y="130714"/>
                        <a:pt x="241582" y="134286"/>
                        <a:pt x="241020" y="137613"/>
                      </a:cubicBezTo>
                      <a:lnTo>
                        <a:pt x="32524" y="137613"/>
                      </a:lnTo>
                      <a:cubicBezTo>
                        <a:pt x="34024" y="168263"/>
                        <a:pt x="43956" y="192164"/>
                        <a:pt x="62320" y="209317"/>
                      </a:cubicBezTo>
                      <a:cubicBezTo>
                        <a:pt x="80686" y="226469"/>
                        <a:pt x="105236" y="235186"/>
                        <a:pt x="135968" y="235467"/>
                      </a:cubicBezTo>
                      <a:cubicBezTo>
                        <a:pt x="153304" y="235303"/>
                        <a:pt x="169092" y="232397"/>
                        <a:pt x="183332" y="226750"/>
                      </a:cubicBezTo>
                      <a:cubicBezTo>
                        <a:pt x="197572" y="221103"/>
                        <a:pt x="209140" y="213698"/>
                        <a:pt x="218034" y="204536"/>
                      </a:cubicBezTo>
                      <a:lnTo>
                        <a:pt x="227566" y="227031"/>
                      </a:lnTo>
                      <a:cubicBezTo>
                        <a:pt x="215720" y="239085"/>
                        <a:pt x="201514" y="248085"/>
                        <a:pt x="184944" y="254032"/>
                      </a:cubicBezTo>
                      <a:cubicBezTo>
                        <a:pt x="168376" y="259979"/>
                        <a:pt x="151488" y="262946"/>
                        <a:pt x="134282" y="262934"/>
                      </a:cubicBezTo>
                      <a:cubicBezTo>
                        <a:pt x="93760" y="262445"/>
                        <a:pt x="61400" y="250510"/>
                        <a:pt x="37204" y="227130"/>
                      </a:cubicBezTo>
                      <a:cubicBezTo>
                        <a:pt x="13008" y="203749"/>
                        <a:pt x="606" y="171856"/>
                        <a:pt x="0" y="131449"/>
                      </a:cubicBezTo>
                      <a:cubicBezTo>
                        <a:pt x="136" y="93767"/>
                        <a:pt x="11086" y="62657"/>
                        <a:pt x="32848" y="38120"/>
                      </a:cubicBezTo>
                      <a:cubicBezTo>
                        <a:pt x="54608" y="13583"/>
                        <a:pt x="86358" y="876"/>
                        <a:pt x="128098" y="0"/>
                      </a:cubicBezTo>
                      <a:close/>
                      <a:moveTo>
                        <a:pt x="125288" y="27466"/>
                      </a:moveTo>
                      <a:cubicBezTo>
                        <a:pt x="97072" y="27958"/>
                        <a:pt x="74936" y="36113"/>
                        <a:pt x="58878" y="51932"/>
                      </a:cubicBezTo>
                      <a:cubicBezTo>
                        <a:pt x="42820" y="67750"/>
                        <a:pt x="33476" y="88279"/>
                        <a:pt x="30842" y="113519"/>
                      </a:cubicBezTo>
                      <a:lnTo>
                        <a:pt x="212988" y="113519"/>
                      </a:lnTo>
                      <a:cubicBezTo>
                        <a:pt x="212146" y="86557"/>
                        <a:pt x="203994" y="65536"/>
                        <a:pt x="188534" y="50455"/>
                      </a:cubicBezTo>
                      <a:cubicBezTo>
                        <a:pt x="173074" y="35375"/>
                        <a:pt x="151992" y="27712"/>
                        <a:pt x="125288" y="27466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F880CB47-3BE3-19DC-BA80-D2F1E5ADA3CA}"/>
                    </a:ext>
                  </a:extLst>
                </p:cNvPr>
                <p:cNvSpPr txBox="1"/>
                <p:nvPr/>
              </p:nvSpPr>
              <p:spPr>
                <a:xfrm>
                  <a:off x="19744558" y="12427955"/>
                  <a:ext cx="265182" cy="2629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5182" h="262934">
                      <a:moveTo>
                        <a:pt x="132592" y="0"/>
                      </a:moveTo>
                      <a:cubicBezTo>
                        <a:pt x="172550" y="734"/>
                        <a:pt x="204486" y="13159"/>
                        <a:pt x="228400" y="37274"/>
                      </a:cubicBezTo>
                      <a:cubicBezTo>
                        <a:pt x="252316" y="61389"/>
                        <a:pt x="264576" y="92786"/>
                        <a:pt x="265182" y="131467"/>
                      </a:cubicBezTo>
                      <a:cubicBezTo>
                        <a:pt x="264576" y="170147"/>
                        <a:pt x="252316" y="201545"/>
                        <a:pt x="228400" y="225660"/>
                      </a:cubicBezTo>
                      <a:cubicBezTo>
                        <a:pt x="204486" y="249775"/>
                        <a:pt x="172550" y="262199"/>
                        <a:pt x="132592" y="262934"/>
                      </a:cubicBezTo>
                      <a:cubicBezTo>
                        <a:pt x="92634" y="262199"/>
                        <a:pt x="60696" y="249775"/>
                        <a:pt x="36782" y="225660"/>
                      </a:cubicBezTo>
                      <a:cubicBezTo>
                        <a:pt x="12866" y="201545"/>
                        <a:pt x="606" y="170147"/>
                        <a:pt x="0" y="131467"/>
                      </a:cubicBezTo>
                      <a:cubicBezTo>
                        <a:pt x="606" y="92786"/>
                        <a:pt x="12866" y="61389"/>
                        <a:pt x="36782" y="37274"/>
                      </a:cubicBezTo>
                      <a:cubicBezTo>
                        <a:pt x="60696" y="13159"/>
                        <a:pt x="92634" y="734"/>
                        <a:pt x="132592" y="0"/>
                      </a:cubicBezTo>
                      <a:close/>
                      <a:moveTo>
                        <a:pt x="132592" y="27466"/>
                      </a:moveTo>
                      <a:cubicBezTo>
                        <a:pt x="102772" y="27970"/>
                        <a:pt x="78506" y="37644"/>
                        <a:pt x="59790" y="56488"/>
                      </a:cubicBezTo>
                      <a:cubicBezTo>
                        <a:pt x="41074" y="75332"/>
                        <a:pt x="31424" y="100325"/>
                        <a:pt x="30838" y="131467"/>
                      </a:cubicBezTo>
                      <a:cubicBezTo>
                        <a:pt x="31388" y="162362"/>
                        <a:pt x="40970" y="187285"/>
                        <a:pt x="59580" y="206235"/>
                      </a:cubicBezTo>
                      <a:cubicBezTo>
                        <a:pt x="78190" y="225184"/>
                        <a:pt x="102528" y="234928"/>
                        <a:pt x="132592" y="235467"/>
                      </a:cubicBezTo>
                      <a:cubicBezTo>
                        <a:pt x="162902" y="234963"/>
                        <a:pt x="187310" y="225290"/>
                        <a:pt x="205814" y="206445"/>
                      </a:cubicBezTo>
                      <a:cubicBezTo>
                        <a:pt x="224318" y="187601"/>
                        <a:pt x="233828" y="162608"/>
                        <a:pt x="234344" y="131467"/>
                      </a:cubicBezTo>
                      <a:cubicBezTo>
                        <a:pt x="233828" y="100571"/>
                        <a:pt x="224318" y="75649"/>
                        <a:pt x="205814" y="56699"/>
                      </a:cubicBezTo>
                      <a:cubicBezTo>
                        <a:pt x="187310" y="37749"/>
                        <a:pt x="162902" y="28005"/>
                        <a:pt x="132592" y="27466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77F82666-68C9-0D88-F95C-7A1DEBA067CA}"/>
                    </a:ext>
                  </a:extLst>
                </p:cNvPr>
                <p:cNvSpPr txBox="1"/>
                <p:nvPr/>
              </p:nvSpPr>
              <p:spPr>
                <a:xfrm>
                  <a:off x="16428791" y="12428511"/>
                  <a:ext cx="225844" cy="257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844" h="257320">
                      <a:moveTo>
                        <a:pt x="120230" y="6"/>
                      </a:moveTo>
                      <a:cubicBezTo>
                        <a:pt x="154638" y="-243"/>
                        <a:pt x="180814" y="8666"/>
                        <a:pt x="198758" y="26735"/>
                      </a:cubicBezTo>
                      <a:cubicBezTo>
                        <a:pt x="216702" y="44803"/>
                        <a:pt x="225730" y="73522"/>
                        <a:pt x="225844" y="112892"/>
                      </a:cubicBezTo>
                      <a:lnTo>
                        <a:pt x="225844" y="257320"/>
                      </a:lnTo>
                      <a:lnTo>
                        <a:pt x="196692" y="257320"/>
                      </a:lnTo>
                      <a:lnTo>
                        <a:pt x="196692" y="118512"/>
                      </a:lnTo>
                      <a:cubicBezTo>
                        <a:pt x="196738" y="87674"/>
                        <a:pt x="189898" y="64773"/>
                        <a:pt x="176170" y="49811"/>
                      </a:cubicBezTo>
                      <a:cubicBezTo>
                        <a:pt x="162442" y="34848"/>
                        <a:pt x="141548" y="27402"/>
                        <a:pt x="113484" y="27472"/>
                      </a:cubicBezTo>
                      <a:cubicBezTo>
                        <a:pt x="95774" y="27823"/>
                        <a:pt x="79470" y="31757"/>
                        <a:pt x="64572" y="39274"/>
                      </a:cubicBezTo>
                      <a:cubicBezTo>
                        <a:pt x="49674" y="46790"/>
                        <a:pt x="37866" y="55782"/>
                        <a:pt x="29152" y="66248"/>
                      </a:cubicBezTo>
                      <a:lnTo>
                        <a:pt x="29152" y="257320"/>
                      </a:lnTo>
                      <a:lnTo>
                        <a:pt x="0" y="257320"/>
                      </a:lnTo>
                      <a:lnTo>
                        <a:pt x="0" y="4501"/>
                      </a:lnTo>
                      <a:lnTo>
                        <a:pt x="29152" y="4501"/>
                      </a:lnTo>
                      <a:lnTo>
                        <a:pt x="29152" y="39835"/>
                      </a:lnTo>
                      <a:cubicBezTo>
                        <a:pt x="39062" y="28598"/>
                        <a:pt x="52132" y="19223"/>
                        <a:pt x="68366" y="11711"/>
                      </a:cubicBezTo>
                      <a:cubicBezTo>
                        <a:pt x="84600" y="4199"/>
                        <a:pt x="101888" y="297"/>
                        <a:pt x="120230" y="6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100" name="TextBox 99">
                  <a:extLst>
                    <a:ext uri="{FF2B5EF4-FFF2-40B4-BE49-F238E27FC236}">
                      <a16:creationId xmlns:a16="http://schemas.microsoft.com/office/drawing/2014/main" id="{E37058FA-3B97-9261-E325-5CF2719A9DE0}"/>
                    </a:ext>
                  </a:extLst>
                </p:cNvPr>
                <p:cNvSpPr txBox="1"/>
                <p:nvPr/>
              </p:nvSpPr>
              <p:spPr>
                <a:xfrm>
                  <a:off x="17425087" y="12234386"/>
                  <a:ext cx="107742" cy="1713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1780" h="257314">
                      <a:moveTo>
                        <a:pt x="122440" y="0"/>
                      </a:moveTo>
                      <a:cubicBezTo>
                        <a:pt x="132650" y="11"/>
                        <a:pt x="140752" y="830"/>
                        <a:pt x="146746" y="2455"/>
                      </a:cubicBezTo>
                      <a:cubicBezTo>
                        <a:pt x="152740" y="4081"/>
                        <a:pt x="157752" y="6443"/>
                        <a:pt x="161780" y="9542"/>
                      </a:cubicBezTo>
                      <a:lnTo>
                        <a:pt x="138738" y="70176"/>
                      </a:lnTo>
                      <a:cubicBezTo>
                        <a:pt x="132814" y="66582"/>
                        <a:pt x="127522" y="64076"/>
                        <a:pt x="122862" y="62660"/>
                      </a:cubicBezTo>
                      <a:cubicBezTo>
                        <a:pt x="118202" y="61243"/>
                        <a:pt x="112630" y="60564"/>
                        <a:pt x="106144" y="60623"/>
                      </a:cubicBezTo>
                      <a:cubicBezTo>
                        <a:pt x="95032" y="60833"/>
                        <a:pt x="86206" y="63503"/>
                        <a:pt x="79660" y="68631"/>
                      </a:cubicBezTo>
                      <a:cubicBezTo>
                        <a:pt x="73116" y="73759"/>
                        <a:pt x="68082" y="80081"/>
                        <a:pt x="64558" y="87597"/>
                      </a:cubicBezTo>
                      <a:lnTo>
                        <a:pt x="64558" y="257314"/>
                      </a:lnTo>
                      <a:lnTo>
                        <a:pt x="0" y="257314"/>
                      </a:lnTo>
                      <a:lnTo>
                        <a:pt x="0" y="4495"/>
                      </a:lnTo>
                      <a:lnTo>
                        <a:pt x="64558" y="4495"/>
                      </a:lnTo>
                      <a:lnTo>
                        <a:pt x="64558" y="29189"/>
                      </a:lnTo>
                      <a:cubicBezTo>
                        <a:pt x="70236" y="20851"/>
                        <a:pt x="77564" y="13951"/>
                        <a:pt x="86544" y="8490"/>
                      </a:cubicBezTo>
                      <a:cubicBezTo>
                        <a:pt x="95524" y="3028"/>
                        <a:pt x="107490" y="198"/>
                        <a:pt x="122440" y="0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101" name="TextBox 100">
                  <a:extLst>
                    <a:ext uri="{FF2B5EF4-FFF2-40B4-BE49-F238E27FC236}">
                      <a16:creationId xmlns:a16="http://schemas.microsoft.com/office/drawing/2014/main" id="{080C5D1E-E188-3B0D-9310-4326A02F076A}"/>
                    </a:ext>
                  </a:extLst>
                </p:cNvPr>
                <p:cNvSpPr txBox="1"/>
                <p:nvPr/>
              </p:nvSpPr>
              <p:spPr>
                <a:xfrm>
                  <a:off x="18009942" y="12428511"/>
                  <a:ext cx="225842" cy="257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5842" h="257320">
                      <a:moveTo>
                        <a:pt x="120228" y="6"/>
                      </a:moveTo>
                      <a:cubicBezTo>
                        <a:pt x="154638" y="-243"/>
                        <a:pt x="180814" y="8666"/>
                        <a:pt x="198756" y="26735"/>
                      </a:cubicBezTo>
                      <a:cubicBezTo>
                        <a:pt x="216700" y="44803"/>
                        <a:pt x="225730" y="73522"/>
                        <a:pt x="225842" y="112892"/>
                      </a:cubicBezTo>
                      <a:lnTo>
                        <a:pt x="225842" y="257320"/>
                      </a:lnTo>
                      <a:lnTo>
                        <a:pt x="196690" y="257320"/>
                      </a:lnTo>
                      <a:lnTo>
                        <a:pt x="196690" y="118512"/>
                      </a:lnTo>
                      <a:cubicBezTo>
                        <a:pt x="196738" y="87674"/>
                        <a:pt x="189896" y="64773"/>
                        <a:pt x="176170" y="49811"/>
                      </a:cubicBezTo>
                      <a:cubicBezTo>
                        <a:pt x="162442" y="34848"/>
                        <a:pt x="141546" y="27402"/>
                        <a:pt x="113482" y="27472"/>
                      </a:cubicBezTo>
                      <a:cubicBezTo>
                        <a:pt x="95772" y="27823"/>
                        <a:pt x="79468" y="31757"/>
                        <a:pt x="64570" y="39274"/>
                      </a:cubicBezTo>
                      <a:cubicBezTo>
                        <a:pt x="49672" y="46790"/>
                        <a:pt x="37866" y="55782"/>
                        <a:pt x="29152" y="66248"/>
                      </a:cubicBezTo>
                      <a:lnTo>
                        <a:pt x="29152" y="257320"/>
                      </a:lnTo>
                      <a:lnTo>
                        <a:pt x="0" y="257320"/>
                      </a:lnTo>
                      <a:lnTo>
                        <a:pt x="0" y="4501"/>
                      </a:lnTo>
                      <a:lnTo>
                        <a:pt x="29152" y="4501"/>
                      </a:lnTo>
                      <a:lnTo>
                        <a:pt x="29152" y="39835"/>
                      </a:lnTo>
                      <a:cubicBezTo>
                        <a:pt x="39060" y="28598"/>
                        <a:pt x="52132" y="19223"/>
                        <a:pt x="68366" y="11711"/>
                      </a:cubicBezTo>
                      <a:cubicBezTo>
                        <a:pt x="84600" y="4199"/>
                        <a:pt x="101888" y="297"/>
                        <a:pt x="120228" y="6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53C6A425-0EC1-0C6A-F579-5FA517D1812D}"/>
                    </a:ext>
                  </a:extLst>
                </p:cNvPr>
                <p:cNvSpPr txBox="1"/>
                <p:nvPr/>
              </p:nvSpPr>
              <p:spPr>
                <a:xfrm>
                  <a:off x="20076866" y="12428517"/>
                  <a:ext cx="136490" cy="2573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490" h="257314">
                      <a:moveTo>
                        <a:pt x="97152" y="0"/>
                      </a:moveTo>
                      <a:cubicBezTo>
                        <a:pt x="107360" y="11"/>
                        <a:pt x="115462" y="829"/>
                        <a:pt x="121456" y="2452"/>
                      </a:cubicBezTo>
                      <a:cubicBezTo>
                        <a:pt x="127452" y="4075"/>
                        <a:pt x="132462" y="6434"/>
                        <a:pt x="136490" y="9529"/>
                      </a:cubicBezTo>
                      <a:lnTo>
                        <a:pt x="126374" y="37020"/>
                      </a:lnTo>
                      <a:cubicBezTo>
                        <a:pt x="120508" y="33425"/>
                        <a:pt x="115100" y="30920"/>
                        <a:pt x="110148" y="29503"/>
                      </a:cubicBezTo>
                      <a:cubicBezTo>
                        <a:pt x="105196" y="28087"/>
                        <a:pt x="98802" y="27408"/>
                        <a:pt x="90970" y="27466"/>
                      </a:cubicBezTo>
                      <a:cubicBezTo>
                        <a:pt x="74626" y="27911"/>
                        <a:pt x="61654" y="32219"/>
                        <a:pt x="52052" y="40392"/>
                      </a:cubicBezTo>
                      <a:cubicBezTo>
                        <a:pt x="42452" y="48564"/>
                        <a:pt x="34820" y="57930"/>
                        <a:pt x="29152" y="68490"/>
                      </a:cubicBezTo>
                      <a:lnTo>
                        <a:pt x="29152" y="257314"/>
                      </a:lnTo>
                      <a:lnTo>
                        <a:pt x="0" y="257314"/>
                      </a:lnTo>
                      <a:lnTo>
                        <a:pt x="0" y="4495"/>
                      </a:lnTo>
                      <a:lnTo>
                        <a:pt x="29152" y="4495"/>
                      </a:lnTo>
                      <a:lnTo>
                        <a:pt x="29152" y="38144"/>
                      </a:lnTo>
                      <a:cubicBezTo>
                        <a:pt x="36060" y="27223"/>
                        <a:pt x="45004" y="18200"/>
                        <a:pt x="55988" y="11074"/>
                      </a:cubicBezTo>
                      <a:cubicBezTo>
                        <a:pt x="66968" y="3947"/>
                        <a:pt x="80690" y="256"/>
                        <a:pt x="97152" y="0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F8F5AD3F-BB64-67DA-D138-A7906AEB6C44}"/>
                    </a:ext>
                  </a:extLst>
                </p:cNvPr>
                <p:cNvSpPr txBox="1"/>
                <p:nvPr/>
              </p:nvSpPr>
              <p:spPr>
                <a:xfrm>
                  <a:off x="17881116" y="12433013"/>
                  <a:ext cx="29152" cy="2528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152" h="252819">
                      <a:moveTo>
                        <a:pt x="0" y="0"/>
                      </a:moveTo>
                      <a:lnTo>
                        <a:pt x="29152" y="0"/>
                      </a:lnTo>
                      <a:lnTo>
                        <a:pt x="29152" y="252819"/>
                      </a:lnTo>
                      <a:lnTo>
                        <a:pt x="0" y="2528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18E17040-A13B-2894-9664-A67F0DB4F5F6}"/>
                    </a:ext>
                  </a:extLst>
                </p:cNvPr>
                <p:cNvSpPr txBox="1"/>
                <p:nvPr/>
              </p:nvSpPr>
              <p:spPr>
                <a:xfrm>
                  <a:off x="19335452" y="12433013"/>
                  <a:ext cx="374276" cy="25619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4276" h="256191">
                      <a:moveTo>
                        <a:pt x="0" y="0"/>
                      </a:moveTo>
                      <a:lnTo>
                        <a:pt x="31472" y="0"/>
                      </a:lnTo>
                      <a:lnTo>
                        <a:pt x="88792" y="176974"/>
                      </a:lnTo>
                      <a:cubicBezTo>
                        <a:pt x="90712" y="183400"/>
                        <a:pt x="92492" y="189650"/>
                        <a:pt x="94132" y="195725"/>
                      </a:cubicBezTo>
                      <a:cubicBezTo>
                        <a:pt x="95770" y="201800"/>
                        <a:pt x="97550" y="207909"/>
                        <a:pt x="99470" y="214054"/>
                      </a:cubicBezTo>
                      <a:cubicBezTo>
                        <a:pt x="101390" y="207944"/>
                        <a:pt x="103310" y="201905"/>
                        <a:pt x="105230" y="195936"/>
                      </a:cubicBezTo>
                      <a:cubicBezTo>
                        <a:pt x="107150" y="189966"/>
                        <a:pt x="109352" y="183646"/>
                        <a:pt x="111834" y="176974"/>
                      </a:cubicBezTo>
                      <a:lnTo>
                        <a:pt x="176460" y="0"/>
                      </a:lnTo>
                      <a:lnTo>
                        <a:pt x="200626" y="0"/>
                      </a:lnTo>
                      <a:lnTo>
                        <a:pt x="266376" y="176412"/>
                      </a:lnTo>
                      <a:cubicBezTo>
                        <a:pt x="268602" y="182604"/>
                        <a:pt x="270756" y="188901"/>
                        <a:pt x="272840" y="195303"/>
                      </a:cubicBezTo>
                      <a:cubicBezTo>
                        <a:pt x="274924" y="201706"/>
                        <a:pt x="277078" y="208143"/>
                        <a:pt x="279302" y="214616"/>
                      </a:cubicBezTo>
                      <a:cubicBezTo>
                        <a:pt x="281024" y="207640"/>
                        <a:pt x="282920" y="200805"/>
                        <a:pt x="284992" y="194110"/>
                      </a:cubicBezTo>
                      <a:cubicBezTo>
                        <a:pt x="287064" y="187414"/>
                        <a:pt x="289102" y="180579"/>
                        <a:pt x="291104" y="173603"/>
                      </a:cubicBezTo>
                      <a:lnTo>
                        <a:pt x="344492" y="0"/>
                      </a:lnTo>
                      <a:lnTo>
                        <a:pt x="374276" y="0"/>
                      </a:lnTo>
                      <a:lnTo>
                        <a:pt x="292228" y="256191"/>
                      </a:lnTo>
                      <a:lnTo>
                        <a:pt x="268062" y="256191"/>
                      </a:lnTo>
                      <a:lnTo>
                        <a:pt x="198378" y="72475"/>
                      </a:lnTo>
                      <a:cubicBezTo>
                        <a:pt x="194350" y="61801"/>
                        <a:pt x="190604" y="51126"/>
                        <a:pt x="187138" y="40452"/>
                      </a:cubicBezTo>
                      <a:cubicBezTo>
                        <a:pt x="185476" y="46316"/>
                        <a:pt x="183744" y="52004"/>
                        <a:pt x="181940" y="57517"/>
                      </a:cubicBezTo>
                      <a:cubicBezTo>
                        <a:pt x="180138" y="63030"/>
                        <a:pt x="178124" y="68578"/>
                        <a:pt x="175898" y="74161"/>
                      </a:cubicBezTo>
                      <a:lnTo>
                        <a:pt x="107900" y="256191"/>
                      </a:lnTo>
                      <a:lnTo>
                        <a:pt x="84858" y="25619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1996" dirty="0">
                    <a:solidFill>
                      <a:srgbClr val="3A3A3A"/>
                    </a:solidFill>
                    <a:latin typeface="Circe Light" panose="020B0402020203020203" pitchFamily="34" charset="-52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105" name="Полілінія: фігура 104">
                  <a:extLst>
                    <a:ext uri="{FF2B5EF4-FFF2-40B4-BE49-F238E27FC236}">
                      <a16:creationId xmlns:a16="http://schemas.microsoft.com/office/drawing/2014/main" id="{89A489C8-58C5-390E-84A9-FBF70A3CFE6E}"/>
                    </a:ext>
                  </a:extLst>
                </p:cNvPr>
                <p:cNvSpPr/>
                <p:nvPr/>
              </p:nvSpPr>
              <p:spPr>
                <a:xfrm>
                  <a:off x="17545982" y="12164238"/>
                  <a:ext cx="153266" cy="2376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0136" h="356848">
                      <a:moveTo>
                        <a:pt x="172144" y="0"/>
                      </a:moveTo>
                      <a:lnTo>
                        <a:pt x="230136" y="0"/>
                      </a:lnTo>
                      <a:lnTo>
                        <a:pt x="230136" y="352809"/>
                      </a:lnTo>
                      <a:lnTo>
                        <a:pt x="172144" y="352809"/>
                      </a:lnTo>
                      <a:lnTo>
                        <a:pt x="172144" y="329115"/>
                      </a:lnTo>
                      <a:cubicBezTo>
                        <a:pt x="164632" y="337330"/>
                        <a:pt x="155540" y="343969"/>
                        <a:pt x="144868" y="349032"/>
                      </a:cubicBezTo>
                      <a:cubicBezTo>
                        <a:pt x="134198" y="354096"/>
                        <a:pt x="121570" y="356701"/>
                        <a:pt x="106986" y="356848"/>
                      </a:cubicBezTo>
                      <a:cubicBezTo>
                        <a:pt x="74034" y="356378"/>
                        <a:pt x="48062" y="345847"/>
                        <a:pt x="29070" y="325254"/>
                      </a:cubicBezTo>
                      <a:cubicBezTo>
                        <a:pt x="10076" y="304661"/>
                        <a:pt x="386" y="276825"/>
                        <a:pt x="0" y="241748"/>
                      </a:cubicBezTo>
                      <a:cubicBezTo>
                        <a:pt x="618" y="205321"/>
                        <a:pt x="12242" y="176095"/>
                        <a:pt x="34872" y="154068"/>
                      </a:cubicBezTo>
                      <a:cubicBezTo>
                        <a:pt x="57504" y="132042"/>
                        <a:pt x="87434" y="120735"/>
                        <a:pt x="124664" y="120148"/>
                      </a:cubicBezTo>
                      <a:cubicBezTo>
                        <a:pt x="134692" y="120138"/>
                        <a:pt x="143554" y="121041"/>
                        <a:pt x="151246" y="122859"/>
                      </a:cubicBezTo>
                      <a:cubicBezTo>
                        <a:pt x="158938" y="124676"/>
                        <a:pt x="165904" y="127470"/>
                        <a:pt x="172144" y="131242"/>
                      </a:cubicBezTo>
                      <a:lnTo>
                        <a:pt x="172144" y="0"/>
                      </a:lnTo>
                      <a:close/>
                      <a:moveTo>
                        <a:pt x="127190" y="174606"/>
                      </a:moveTo>
                      <a:cubicBezTo>
                        <a:pt x="109448" y="174701"/>
                        <a:pt x="94294" y="180320"/>
                        <a:pt x="81730" y="191463"/>
                      </a:cubicBezTo>
                      <a:cubicBezTo>
                        <a:pt x="69164" y="202607"/>
                        <a:pt x="62598" y="218706"/>
                        <a:pt x="62030" y="239761"/>
                      </a:cubicBezTo>
                      <a:cubicBezTo>
                        <a:pt x="62482" y="260069"/>
                        <a:pt x="68144" y="275642"/>
                        <a:pt x="79014" y="286480"/>
                      </a:cubicBezTo>
                      <a:cubicBezTo>
                        <a:pt x="89884" y="297318"/>
                        <a:pt x="103250" y="302790"/>
                        <a:pt x="119108" y="302895"/>
                      </a:cubicBezTo>
                      <a:cubicBezTo>
                        <a:pt x="129778" y="302748"/>
                        <a:pt x="139628" y="300517"/>
                        <a:pt x="148658" y="296203"/>
                      </a:cubicBezTo>
                      <a:cubicBezTo>
                        <a:pt x="157686" y="291889"/>
                        <a:pt x="165516" y="286375"/>
                        <a:pt x="172144" y="279662"/>
                      </a:cubicBezTo>
                      <a:lnTo>
                        <a:pt x="172144" y="188244"/>
                      </a:lnTo>
                      <a:cubicBezTo>
                        <a:pt x="164842" y="183698"/>
                        <a:pt x="157476" y="180289"/>
                        <a:pt x="150046" y="178016"/>
                      </a:cubicBezTo>
                      <a:cubicBezTo>
                        <a:pt x="142616" y="175743"/>
                        <a:pt x="134998" y="174606"/>
                        <a:pt x="127190" y="174606"/>
                      </a:cubicBezTo>
                      <a:close/>
                    </a:path>
                  </a:pathLst>
                </a:custGeom>
                <a:solidFill>
                  <a:srgbClr val="3A3A3A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 sz="816"/>
                </a:p>
              </p:txBody>
            </p:sp>
          </p:grpSp>
        </p:grpSp>
        <p:grpSp>
          <p:nvGrpSpPr>
            <p:cNvPr id="197" name="Групувати 196">
              <a:extLst>
                <a:ext uri="{FF2B5EF4-FFF2-40B4-BE49-F238E27FC236}">
                  <a16:creationId xmlns:a16="http://schemas.microsoft.com/office/drawing/2014/main" id="{6D90366E-DEA9-4923-E428-050E214BAF96}"/>
                </a:ext>
              </a:extLst>
            </p:cNvPr>
            <p:cNvGrpSpPr/>
            <p:nvPr/>
          </p:nvGrpSpPr>
          <p:grpSpPr>
            <a:xfrm>
              <a:off x="3672870" y="227341"/>
              <a:ext cx="4811137" cy="206276"/>
              <a:chOff x="3672870" y="227341"/>
              <a:chExt cx="4811137" cy="206276"/>
            </a:xfrm>
          </p:grpSpPr>
          <p:sp>
            <p:nvSpPr>
              <p:cNvPr id="196" name="Полілінія: фігура 195">
                <a:extLst>
                  <a:ext uri="{FF2B5EF4-FFF2-40B4-BE49-F238E27FC236}">
                    <a16:creationId xmlns:a16="http://schemas.microsoft.com/office/drawing/2014/main" id="{CC4D7AF5-A614-520B-997A-3210C6F4A40C}"/>
                  </a:ext>
                </a:extLst>
              </p:cNvPr>
              <p:cNvSpPr/>
              <p:nvPr/>
            </p:nvSpPr>
            <p:spPr>
              <a:xfrm>
                <a:off x="5375369" y="227341"/>
                <a:ext cx="179129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79129" h="206275">
                    <a:moveTo>
                      <a:pt x="99711" y="0"/>
                    </a:moveTo>
                    <a:cubicBezTo>
                      <a:pt x="113878" y="41"/>
                      <a:pt x="126133" y="1813"/>
                      <a:pt x="136474" y="5316"/>
                    </a:cubicBezTo>
                    <a:cubicBezTo>
                      <a:pt x="146815" y="8818"/>
                      <a:pt x="155991" y="13802"/>
                      <a:pt x="164001" y="20266"/>
                    </a:cubicBezTo>
                    <a:lnTo>
                      <a:pt x="149158" y="48265"/>
                    </a:lnTo>
                    <a:cubicBezTo>
                      <a:pt x="143991" y="43494"/>
                      <a:pt x="137394" y="39741"/>
                      <a:pt x="129367" y="37007"/>
                    </a:cubicBezTo>
                    <a:cubicBezTo>
                      <a:pt x="121340" y="34273"/>
                      <a:pt x="112884" y="32879"/>
                      <a:pt x="103999" y="32825"/>
                    </a:cubicBezTo>
                    <a:cubicBezTo>
                      <a:pt x="84329" y="32968"/>
                      <a:pt x="68358" y="39115"/>
                      <a:pt x="56084" y="51265"/>
                    </a:cubicBezTo>
                    <a:cubicBezTo>
                      <a:pt x="43811" y="63415"/>
                      <a:pt x="37487" y="80709"/>
                      <a:pt x="37112" y="103147"/>
                    </a:cubicBezTo>
                    <a:cubicBezTo>
                      <a:pt x="37398" y="124698"/>
                      <a:pt x="43615" y="141735"/>
                      <a:pt x="55763" y="154260"/>
                    </a:cubicBezTo>
                    <a:cubicBezTo>
                      <a:pt x="67911" y="166784"/>
                      <a:pt x="84276" y="173181"/>
                      <a:pt x="104856" y="173450"/>
                    </a:cubicBezTo>
                    <a:cubicBezTo>
                      <a:pt x="112872" y="173325"/>
                      <a:pt x="120780" y="171931"/>
                      <a:pt x="128581" y="169267"/>
                    </a:cubicBezTo>
                    <a:cubicBezTo>
                      <a:pt x="136382" y="166604"/>
                      <a:pt x="142290" y="163423"/>
                      <a:pt x="146304" y="159723"/>
                    </a:cubicBezTo>
                    <a:lnTo>
                      <a:pt x="146304" y="128266"/>
                    </a:lnTo>
                    <a:lnTo>
                      <a:pt x="97996" y="128266"/>
                    </a:lnTo>
                    <a:lnTo>
                      <a:pt x="97996" y="95440"/>
                    </a:lnTo>
                    <a:lnTo>
                      <a:pt x="179129" y="95440"/>
                    </a:lnTo>
                    <a:lnTo>
                      <a:pt x="179129" y="178302"/>
                    </a:lnTo>
                    <a:cubicBezTo>
                      <a:pt x="169823" y="187210"/>
                      <a:pt x="158245" y="194085"/>
                      <a:pt x="144396" y="198925"/>
                    </a:cubicBezTo>
                    <a:cubicBezTo>
                      <a:pt x="130547" y="203766"/>
                      <a:pt x="117177" y="206216"/>
                      <a:pt x="104285" y="206275"/>
                    </a:cubicBezTo>
                    <a:cubicBezTo>
                      <a:pt x="71301" y="205872"/>
                      <a:pt x="45739" y="196471"/>
                      <a:pt x="27596" y="178072"/>
                    </a:cubicBezTo>
                    <a:cubicBezTo>
                      <a:pt x="9453" y="159673"/>
                      <a:pt x="254" y="134698"/>
                      <a:pt x="0" y="103147"/>
                    </a:cubicBezTo>
                    <a:cubicBezTo>
                      <a:pt x="98" y="83786"/>
                      <a:pt x="4184" y="66360"/>
                      <a:pt x="12257" y="50869"/>
                    </a:cubicBezTo>
                    <a:cubicBezTo>
                      <a:pt x="20331" y="35379"/>
                      <a:pt x="31803" y="23080"/>
                      <a:pt x="46673" y="13974"/>
                    </a:cubicBezTo>
                    <a:cubicBezTo>
                      <a:pt x="61544" y="4867"/>
                      <a:pt x="79223" y="209"/>
                      <a:pt x="99711" y="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95" name="Полілінія: фігура 194">
                <a:extLst>
                  <a:ext uri="{FF2B5EF4-FFF2-40B4-BE49-F238E27FC236}">
                    <a16:creationId xmlns:a16="http://schemas.microsoft.com/office/drawing/2014/main" id="{D2096144-7949-BB80-48BD-48F5465FB824}"/>
                  </a:ext>
                </a:extLst>
              </p:cNvPr>
              <p:cNvSpPr/>
              <p:nvPr/>
            </p:nvSpPr>
            <p:spPr>
              <a:xfrm>
                <a:off x="5784944" y="227341"/>
                <a:ext cx="132267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32267" h="206275">
                    <a:moveTo>
                      <a:pt x="66847" y="0"/>
                    </a:moveTo>
                    <a:cubicBezTo>
                      <a:pt x="79237" y="71"/>
                      <a:pt x="90335" y="1998"/>
                      <a:pt x="100143" y="5780"/>
                    </a:cubicBezTo>
                    <a:cubicBezTo>
                      <a:pt x="109950" y="9562"/>
                      <a:pt x="117898" y="14771"/>
                      <a:pt x="123988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5" y="39285"/>
                      <a:pt x="89791" y="36719"/>
                    </a:cubicBezTo>
                    <a:cubicBezTo>
                      <a:pt x="84277" y="34153"/>
                      <a:pt x="77582" y="32855"/>
                      <a:pt x="69706" y="32825"/>
                    </a:cubicBezTo>
                    <a:cubicBezTo>
                      <a:pt x="60907" y="32920"/>
                      <a:pt x="54057" y="34945"/>
                      <a:pt x="49154" y="38899"/>
                    </a:cubicBezTo>
                    <a:cubicBezTo>
                      <a:pt x="44251" y="42852"/>
                      <a:pt x="41761" y="48164"/>
                      <a:pt x="41684" y="54833"/>
                    </a:cubicBezTo>
                    <a:cubicBezTo>
                      <a:pt x="42155" y="64844"/>
                      <a:pt x="46873" y="72493"/>
                      <a:pt x="55837" y="77779"/>
                    </a:cubicBezTo>
                    <a:cubicBezTo>
                      <a:pt x="64801" y="83065"/>
                      <a:pt x="75180" y="88088"/>
                      <a:pt x="86975" y="92847"/>
                    </a:cubicBezTo>
                    <a:cubicBezTo>
                      <a:pt x="98770" y="97607"/>
                      <a:pt x="109149" y="104202"/>
                      <a:pt x="118113" y="112632"/>
                    </a:cubicBezTo>
                    <a:cubicBezTo>
                      <a:pt x="127077" y="121062"/>
                      <a:pt x="131794" y="133427"/>
                      <a:pt x="132267" y="149726"/>
                    </a:cubicBezTo>
                    <a:cubicBezTo>
                      <a:pt x="131821" y="166832"/>
                      <a:pt x="125361" y="180471"/>
                      <a:pt x="112884" y="190644"/>
                    </a:cubicBezTo>
                    <a:cubicBezTo>
                      <a:pt x="100407" y="200816"/>
                      <a:pt x="84585" y="206026"/>
                      <a:pt x="65417" y="206275"/>
                    </a:cubicBezTo>
                    <a:cubicBezTo>
                      <a:pt x="56688" y="206263"/>
                      <a:pt x="47942" y="205051"/>
                      <a:pt x="39178" y="202639"/>
                    </a:cubicBezTo>
                    <a:cubicBezTo>
                      <a:pt x="30415" y="200227"/>
                      <a:pt x="22541" y="196688"/>
                      <a:pt x="15557" y="192025"/>
                    </a:cubicBezTo>
                    <a:cubicBezTo>
                      <a:pt x="8574" y="187361"/>
                      <a:pt x="3388" y="181645"/>
                      <a:pt x="0" y="174877"/>
                    </a:cubicBezTo>
                    <a:lnTo>
                      <a:pt x="19988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9" y="173450"/>
                    </a:cubicBezTo>
                    <a:cubicBezTo>
                      <a:pt x="74460" y="173420"/>
                      <a:pt x="81394" y="171407"/>
                      <a:pt x="86791" y="167412"/>
                    </a:cubicBezTo>
                    <a:cubicBezTo>
                      <a:pt x="92188" y="163416"/>
                      <a:pt x="94976" y="157616"/>
                      <a:pt x="95155" y="150012"/>
                    </a:cubicBezTo>
                    <a:cubicBezTo>
                      <a:pt x="94683" y="140474"/>
                      <a:pt x="89965" y="133040"/>
                      <a:pt x="81001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9" y="107212"/>
                      <a:pt x="27689" y="100438"/>
                      <a:pt x="18725" y="91892"/>
                    </a:cubicBezTo>
                    <a:cubicBezTo>
                      <a:pt x="9761" y="83345"/>
                      <a:pt x="5044" y="71088"/>
                      <a:pt x="4572" y="55119"/>
                    </a:cubicBezTo>
                    <a:cubicBezTo>
                      <a:pt x="4738" y="39697"/>
                      <a:pt x="10259" y="26760"/>
                      <a:pt x="21134" y="16309"/>
                    </a:cubicBezTo>
                    <a:cubicBezTo>
                      <a:pt x="32011" y="5858"/>
                      <a:pt x="47248" y="421"/>
                      <a:pt x="66847" y="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94" name="Полілінія: фігура 193">
                <a:extLst>
                  <a:ext uri="{FF2B5EF4-FFF2-40B4-BE49-F238E27FC236}">
                    <a16:creationId xmlns:a16="http://schemas.microsoft.com/office/drawing/2014/main" id="{86451EF3-6198-64E0-F2E9-31C377A3B551}"/>
                  </a:ext>
                </a:extLst>
              </p:cNvPr>
              <p:cNvSpPr/>
              <p:nvPr/>
            </p:nvSpPr>
            <p:spPr>
              <a:xfrm>
                <a:off x="6004019" y="227341"/>
                <a:ext cx="13226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32266" h="206275">
                    <a:moveTo>
                      <a:pt x="66847" y="0"/>
                    </a:moveTo>
                    <a:cubicBezTo>
                      <a:pt x="79236" y="71"/>
                      <a:pt x="90335" y="1998"/>
                      <a:pt x="100142" y="5780"/>
                    </a:cubicBezTo>
                    <a:cubicBezTo>
                      <a:pt x="109950" y="9562"/>
                      <a:pt x="117898" y="14771"/>
                      <a:pt x="123988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6" y="39285"/>
                      <a:pt x="89791" y="36719"/>
                    </a:cubicBezTo>
                    <a:cubicBezTo>
                      <a:pt x="84277" y="34153"/>
                      <a:pt x="77581" y="32855"/>
                      <a:pt x="69706" y="32825"/>
                    </a:cubicBezTo>
                    <a:cubicBezTo>
                      <a:pt x="60907" y="32920"/>
                      <a:pt x="54057" y="34945"/>
                      <a:pt x="49154" y="38899"/>
                    </a:cubicBezTo>
                    <a:cubicBezTo>
                      <a:pt x="44251" y="42852"/>
                      <a:pt x="41761" y="48164"/>
                      <a:pt x="41684" y="54833"/>
                    </a:cubicBezTo>
                    <a:cubicBezTo>
                      <a:pt x="42156" y="64844"/>
                      <a:pt x="46873" y="72493"/>
                      <a:pt x="55837" y="77779"/>
                    </a:cubicBezTo>
                    <a:cubicBezTo>
                      <a:pt x="64801" y="83065"/>
                      <a:pt x="75180" y="88088"/>
                      <a:pt x="86975" y="92847"/>
                    </a:cubicBezTo>
                    <a:cubicBezTo>
                      <a:pt x="98770" y="97607"/>
                      <a:pt x="109149" y="104202"/>
                      <a:pt x="118113" y="112632"/>
                    </a:cubicBezTo>
                    <a:cubicBezTo>
                      <a:pt x="127077" y="121062"/>
                      <a:pt x="131795" y="133427"/>
                      <a:pt x="132266" y="149726"/>
                    </a:cubicBezTo>
                    <a:cubicBezTo>
                      <a:pt x="131821" y="166832"/>
                      <a:pt x="125360" y="180471"/>
                      <a:pt x="112884" y="190644"/>
                    </a:cubicBezTo>
                    <a:cubicBezTo>
                      <a:pt x="100407" y="200816"/>
                      <a:pt x="84585" y="206026"/>
                      <a:pt x="65417" y="206275"/>
                    </a:cubicBezTo>
                    <a:cubicBezTo>
                      <a:pt x="56688" y="206263"/>
                      <a:pt x="47942" y="205051"/>
                      <a:pt x="39179" y="202639"/>
                    </a:cubicBezTo>
                    <a:cubicBezTo>
                      <a:pt x="30415" y="200227"/>
                      <a:pt x="22541" y="196688"/>
                      <a:pt x="15557" y="192025"/>
                    </a:cubicBezTo>
                    <a:cubicBezTo>
                      <a:pt x="8574" y="187361"/>
                      <a:pt x="3388" y="181645"/>
                      <a:pt x="0" y="174877"/>
                    </a:cubicBezTo>
                    <a:lnTo>
                      <a:pt x="19987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9" y="173450"/>
                    </a:cubicBezTo>
                    <a:cubicBezTo>
                      <a:pt x="74460" y="173420"/>
                      <a:pt x="81394" y="171407"/>
                      <a:pt x="86791" y="167412"/>
                    </a:cubicBezTo>
                    <a:cubicBezTo>
                      <a:pt x="92188" y="163416"/>
                      <a:pt x="94976" y="157616"/>
                      <a:pt x="95155" y="150012"/>
                    </a:cubicBezTo>
                    <a:cubicBezTo>
                      <a:pt x="94683" y="140474"/>
                      <a:pt x="89965" y="133040"/>
                      <a:pt x="81001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8" y="107212"/>
                      <a:pt x="27689" y="100438"/>
                      <a:pt x="18725" y="91892"/>
                    </a:cubicBezTo>
                    <a:cubicBezTo>
                      <a:pt x="9761" y="83345"/>
                      <a:pt x="5044" y="71088"/>
                      <a:pt x="4572" y="55119"/>
                    </a:cubicBezTo>
                    <a:cubicBezTo>
                      <a:pt x="4738" y="39697"/>
                      <a:pt x="10258" y="26760"/>
                      <a:pt x="21134" y="16309"/>
                    </a:cubicBezTo>
                    <a:cubicBezTo>
                      <a:pt x="32011" y="5858"/>
                      <a:pt x="47248" y="421"/>
                      <a:pt x="66847" y="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93" name="Полілінія: фігура 192">
                <a:extLst>
                  <a:ext uri="{FF2B5EF4-FFF2-40B4-BE49-F238E27FC236}">
                    <a16:creationId xmlns:a16="http://schemas.microsoft.com/office/drawing/2014/main" id="{E8FCE3F3-4A87-7633-5291-17D52C089756}"/>
                  </a:ext>
                </a:extLst>
              </p:cNvPr>
              <p:cNvSpPr/>
              <p:nvPr/>
            </p:nvSpPr>
            <p:spPr>
              <a:xfrm>
                <a:off x="6327869" y="227341"/>
                <a:ext cx="20827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208276" h="206275">
                    <a:moveTo>
                      <a:pt x="103994" y="0"/>
                    </a:moveTo>
                    <a:cubicBezTo>
                      <a:pt x="123998" y="119"/>
                      <a:pt x="141818" y="4417"/>
                      <a:pt x="157453" y="12892"/>
                    </a:cubicBezTo>
                    <a:cubicBezTo>
                      <a:pt x="173089" y="21368"/>
                      <a:pt x="185422" y="33306"/>
                      <a:pt x="194452" y="48705"/>
                    </a:cubicBezTo>
                    <a:cubicBezTo>
                      <a:pt x="203481" y="64104"/>
                      <a:pt x="208089" y="82248"/>
                      <a:pt x="208276" y="103137"/>
                    </a:cubicBezTo>
                    <a:cubicBezTo>
                      <a:pt x="208089" y="123307"/>
                      <a:pt x="203481" y="141112"/>
                      <a:pt x="194452" y="156554"/>
                    </a:cubicBezTo>
                    <a:cubicBezTo>
                      <a:pt x="185422" y="171995"/>
                      <a:pt x="173089" y="184102"/>
                      <a:pt x="157453" y="192874"/>
                    </a:cubicBezTo>
                    <a:cubicBezTo>
                      <a:pt x="141818" y="201647"/>
                      <a:pt x="123998" y="206114"/>
                      <a:pt x="103994" y="206275"/>
                    </a:cubicBezTo>
                    <a:cubicBezTo>
                      <a:pt x="83994" y="206156"/>
                      <a:pt x="66200" y="201858"/>
                      <a:pt x="50610" y="193382"/>
                    </a:cubicBezTo>
                    <a:cubicBezTo>
                      <a:pt x="35021" y="184907"/>
                      <a:pt x="22734" y="172969"/>
                      <a:pt x="13750" y="157570"/>
                    </a:cubicBezTo>
                    <a:cubicBezTo>
                      <a:pt x="4766" y="142171"/>
                      <a:pt x="183" y="124026"/>
                      <a:pt x="0" y="103137"/>
                    </a:cubicBezTo>
                    <a:cubicBezTo>
                      <a:pt x="146" y="83598"/>
                      <a:pt x="4581" y="66089"/>
                      <a:pt x="13305" y="50610"/>
                    </a:cubicBezTo>
                    <a:cubicBezTo>
                      <a:pt x="22030" y="35132"/>
                      <a:pt x="34168" y="22877"/>
                      <a:pt x="49721" y="13845"/>
                    </a:cubicBezTo>
                    <a:cubicBezTo>
                      <a:pt x="65273" y="4814"/>
                      <a:pt x="83364" y="198"/>
                      <a:pt x="103994" y="0"/>
                    </a:cubicBezTo>
                    <a:close/>
                    <a:moveTo>
                      <a:pt x="103994" y="32825"/>
                    </a:moveTo>
                    <a:cubicBezTo>
                      <a:pt x="84451" y="33165"/>
                      <a:pt x="68516" y="39703"/>
                      <a:pt x="56190" y="52439"/>
                    </a:cubicBezTo>
                    <a:cubicBezTo>
                      <a:pt x="43864" y="65176"/>
                      <a:pt x="37505" y="82076"/>
                      <a:pt x="37111" y="103137"/>
                    </a:cubicBezTo>
                    <a:cubicBezTo>
                      <a:pt x="37558" y="123574"/>
                      <a:pt x="44025" y="140294"/>
                      <a:pt x="56512" y="153299"/>
                    </a:cubicBezTo>
                    <a:cubicBezTo>
                      <a:pt x="68999" y="166304"/>
                      <a:pt x="84827" y="173021"/>
                      <a:pt x="103994" y="173450"/>
                    </a:cubicBezTo>
                    <a:cubicBezTo>
                      <a:pt x="125175" y="172985"/>
                      <a:pt x="141622" y="166197"/>
                      <a:pt x="153335" y="153085"/>
                    </a:cubicBezTo>
                    <a:cubicBezTo>
                      <a:pt x="165048" y="139973"/>
                      <a:pt x="170991" y="123323"/>
                      <a:pt x="171164" y="103137"/>
                    </a:cubicBezTo>
                    <a:cubicBezTo>
                      <a:pt x="170723" y="82076"/>
                      <a:pt x="164245" y="65176"/>
                      <a:pt x="151728" y="52439"/>
                    </a:cubicBezTo>
                    <a:cubicBezTo>
                      <a:pt x="139210" y="39703"/>
                      <a:pt x="123299" y="33165"/>
                      <a:pt x="103994" y="32825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92" name="Полілінія: фігура 191">
                <a:extLst>
                  <a:ext uri="{FF2B5EF4-FFF2-40B4-BE49-F238E27FC236}">
                    <a16:creationId xmlns:a16="http://schemas.microsoft.com/office/drawing/2014/main" id="{D4045C63-3BD0-C820-4EC3-E880D824D9AC}"/>
                  </a:ext>
                </a:extLst>
              </p:cNvPr>
              <p:cNvSpPr/>
              <p:nvPr/>
            </p:nvSpPr>
            <p:spPr>
              <a:xfrm>
                <a:off x="6946994" y="227341"/>
                <a:ext cx="179129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79129" h="206275">
                    <a:moveTo>
                      <a:pt x="99711" y="0"/>
                    </a:moveTo>
                    <a:cubicBezTo>
                      <a:pt x="113879" y="41"/>
                      <a:pt x="126133" y="1813"/>
                      <a:pt x="136474" y="5316"/>
                    </a:cubicBezTo>
                    <a:cubicBezTo>
                      <a:pt x="146815" y="8818"/>
                      <a:pt x="155990" y="13802"/>
                      <a:pt x="164001" y="20266"/>
                    </a:cubicBezTo>
                    <a:lnTo>
                      <a:pt x="149158" y="48265"/>
                    </a:lnTo>
                    <a:cubicBezTo>
                      <a:pt x="143991" y="43494"/>
                      <a:pt x="137394" y="39741"/>
                      <a:pt x="129367" y="37007"/>
                    </a:cubicBezTo>
                    <a:cubicBezTo>
                      <a:pt x="121339" y="34273"/>
                      <a:pt x="112884" y="32879"/>
                      <a:pt x="103999" y="32825"/>
                    </a:cubicBezTo>
                    <a:cubicBezTo>
                      <a:pt x="84329" y="32968"/>
                      <a:pt x="68358" y="39115"/>
                      <a:pt x="56084" y="51265"/>
                    </a:cubicBezTo>
                    <a:cubicBezTo>
                      <a:pt x="43811" y="63415"/>
                      <a:pt x="37487" y="80709"/>
                      <a:pt x="37112" y="103147"/>
                    </a:cubicBezTo>
                    <a:cubicBezTo>
                      <a:pt x="37397" y="124698"/>
                      <a:pt x="43614" y="141735"/>
                      <a:pt x="55763" y="154260"/>
                    </a:cubicBezTo>
                    <a:cubicBezTo>
                      <a:pt x="67911" y="166784"/>
                      <a:pt x="84275" y="173181"/>
                      <a:pt x="104856" y="173450"/>
                    </a:cubicBezTo>
                    <a:cubicBezTo>
                      <a:pt x="112872" y="173325"/>
                      <a:pt x="120780" y="171931"/>
                      <a:pt x="128581" y="169267"/>
                    </a:cubicBezTo>
                    <a:cubicBezTo>
                      <a:pt x="136382" y="166604"/>
                      <a:pt x="142290" y="163423"/>
                      <a:pt x="146304" y="159723"/>
                    </a:cubicBezTo>
                    <a:lnTo>
                      <a:pt x="146304" y="128266"/>
                    </a:lnTo>
                    <a:lnTo>
                      <a:pt x="97996" y="128266"/>
                    </a:lnTo>
                    <a:lnTo>
                      <a:pt x="97996" y="95440"/>
                    </a:lnTo>
                    <a:lnTo>
                      <a:pt x="179129" y="95440"/>
                    </a:lnTo>
                    <a:lnTo>
                      <a:pt x="179129" y="178302"/>
                    </a:lnTo>
                    <a:cubicBezTo>
                      <a:pt x="169822" y="187210"/>
                      <a:pt x="158245" y="194085"/>
                      <a:pt x="144396" y="198925"/>
                    </a:cubicBezTo>
                    <a:cubicBezTo>
                      <a:pt x="130547" y="203766"/>
                      <a:pt x="117177" y="206216"/>
                      <a:pt x="104284" y="206275"/>
                    </a:cubicBezTo>
                    <a:cubicBezTo>
                      <a:pt x="71301" y="205872"/>
                      <a:pt x="45739" y="196471"/>
                      <a:pt x="27595" y="178072"/>
                    </a:cubicBezTo>
                    <a:cubicBezTo>
                      <a:pt x="9452" y="159673"/>
                      <a:pt x="254" y="134698"/>
                      <a:pt x="0" y="103147"/>
                    </a:cubicBezTo>
                    <a:cubicBezTo>
                      <a:pt x="98" y="83786"/>
                      <a:pt x="4184" y="66360"/>
                      <a:pt x="12257" y="50869"/>
                    </a:cubicBezTo>
                    <a:cubicBezTo>
                      <a:pt x="20331" y="35379"/>
                      <a:pt x="31803" y="23080"/>
                      <a:pt x="46673" y="13974"/>
                    </a:cubicBezTo>
                    <a:cubicBezTo>
                      <a:pt x="61543" y="4867"/>
                      <a:pt x="79223" y="209"/>
                      <a:pt x="99711" y="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91" name="Полілінія: фігура 190">
                <a:extLst>
                  <a:ext uri="{FF2B5EF4-FFF2-40B4-BE49-F238E27FC236}">
                    <a16:creationId xmlns:a16="http://schemas.microsoft.com/office/drawing/2014/main" id="{6DA278EC-286C-FE92-88F3-69D0189C6037}"/>
                  </a:ext>
                </a:extLst>
              </p:cNvPr>
              <p:cNvSpPr/>
              <p:nvPr/>
            </p:nvSpPr>
            <p:spPr>
              <a:xfrm>
                <a:off x="7318469" y="227341"/>
                <a:ext cx="13226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32266" h="206275">
                    <a:moveTo>
                      <a:pt x="66846" y="0"/>
                    </a:moveTo>
                    <a:cubicBezTo>
                      <a:pt x="79236" y="71"/>
                      <a:pt x="90335" y="1998"/>
                      <a:pt x="100142" y="5780"/>
                    </a:cubicBezTo>
                    <a:cubicBezTo>
                      <a:pt x="109950" y="9562"/>
                      <a:pt x="117898" y="14771"/>
                      <a:pt x="123988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6" y="39285"/>
                      <a:pt x="89791" y="36719"/>
                    </a:cubicBezTo>
                    <a:cubicBezTo>
                      <a:pt x="84277" y="34153"/>
                      <a:pt x="77582" y="32855"/>
                      <a:pt x="69706" y="32825"/>
                    </a:cubicBezTo>
                    <a:cubicBezTo>
                      <a:pt x="60907" y="32920"/>
                      <a:pt x="54057" y="34945"/>
                      <a:pt x="49154" y="38899"/>
                    </a:cubicBezTo>
                    <a:cubicBezTo>
                      <a:pt x="44251" y="42852"/>
                      <a:pt x="41761" y="48164"/>
                      <a:pt x="41684" y="54833"/>
                    </a:cubicBezTo>
                    <a:cubicBezTo>
                      <a:pt x="42156" y="64844"/>
                      <a:pt x="46873" y="72493"/>
                      <a:pt x="55837" y="77779"/>
                    </a:cubicBezTo>
                    <a:cubicBezTo>
                      <a:pt x="64801" y="83065"/>
                      <a:pt x="75180" y="88088"/>
                      <a:pt x="86975" y="92847"/>
                    </a:cubicBezTo>
                    <a:cubicBezTo>
                      <a:pt x="98770" y="97607"/>
                      <a:pt x="109149" y="104202"/>
                      <a:pt x="118113" y="112632"/>
                    </a:cubicBezTo>
                    <a:cubicBezTo>
                      <a:pt x="127077" y="121062"/>
                      <a:pt x="131795" y="133427"/>
                      <a:pt x="132266" y="149726"/>
                    </a:cubicBezTo>
                    <a:cubicBezTo>
                      <a:pt x="131821" y="166832"/>
                      <a:pt x="125360" y="180471"/>
                      <a:pt x="112884" y="190644"/>
                    </a:cubicBezTo>
                    <a:cubicBezTo>
                      <a:pt x="100407" y="200816"/>
                      <a:pt x="84585" y="206026"/>
                      <a:pt x="65417" y="206275"/>
                    </a:cubicBezTo>
                    <a:cubicBezTo>
                      <a:pt x="56688" y="206263"/>
                      <a:pt x="47942" y="205051"/>
                      <a:pt x="39178" y="202639"/>
                    </a:cubicBezTo>
                    <a:cubicBezTo>
                      <a:pt x="30415" y="200227"/>
                      <a:pt x="22541" y="196688"/>
                      <a:pt x="15557" y="192025"/>
                    </a:cubicBezTo>
                    <a:cubicBezTo>
                      <a:pt x="8574" y="187361"/>
                      <a:pt x="3388" y="181645"/>
                      <a:pt x="0" y="174877"/>
                    </a:cubicBezTo>
                    <a:lnTo>
                      <a:pt x="19987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8" y="173450"/>
                    </a:cubicBezTo>
                    <a:cubicBezTo>
                      <a:pt x="74460" y="173420"/>
                      <a:pt x="81394" y="171407"/>
                      <a:pt x="86791" y="167412"/>
                    </a:cubicBezTo>
                    <a:cubicBezTo>
                      <a:pt x="92188" y="163416"/>
                      <a:pt x="94976" y="157616"/>
                      <a:pt x="95155" y="150012"/>
                    </a:cubicBezTo>
                    <a:cubicBezTo>
                      <a:pt x="94683" y="140474"/>
                      <a:pt x="89965" y="133040"/>
                      <a:pt x="81001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8" y="107212"/>
                      <a:pt x="27689" y="100438"/>
                      <a:pt x="18725" y="91892"/>
                    </a:cubicBezTo>
                    <a:cubicBezTo>
                      <a:pt x="9761" y="83345"/>
                      <a:pt x="5044" y="71088"/>
                      <a:pt x="4572" y="55119"/>
                    </a:cubicBezTo>
                    <a:cubicBezTo>
                      <a:pt x="4738" y="39697"/>
                      <a:pt x="10258" y="26760"/>
                      <a:pt x="21134" y="16309"/>
                    </a:cubicBezTo>
                    <a:cubicBezTo>
                      <a:pt x="32011" y="5858"/>
                      <a:pt x="47248" y="421"/>
                      <a:pt x="66846" y="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90" name="Полілінія: фігура 189">
                <a:extLst>
                  <a:ext uri="{FF2B5EF4-FFF2-40B4-BE49-F238E27FC236}">
                    <a16:creationId xmlns:a16="http://schemas.microsoft.com/office/drawing/2014/main" id="{0A92D156-2E09-28EE-A467-FA19A7CBB6AA}"/>
                  </a:ext>
                </a:extLst>
              </p:cNvPr>
              <p:cNvSpPr/>
              <p:nvPr/>
            </p:nvSpPr>
            <p:spPr>
              <a:xfrm>
                <a:off x="7699469" y="227341"/>
                <a:ext cx="20827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208276" h="206275">
                    <a:moveTo>
                      <a:pt x="103994" y="0"/>
                    </a:moveTo>
                    <a:cubicBezTo>
                      <a:pt x="123998" y="119"/>
                      <a:pt x="141818" y="4417"/>
                      <a:pt x="157453" y="12892"/>
                    </a:cubicBezTo>
                    <a:cubicBezTo>
                      <a:pt x="173089" y="21368"/>
                      <a:pt x="185422" y="33306"/>
                      <a:pt x="194452" y="48705"/>
                    </a:cubicBezTo>
                    <a:cubicBezTo>
                      <a:pt x="203481" y="64104"/>
                      <a:pt x="208089" y="82248"/>
                      <a:pt x="208276" y="103137"/>
                    </a:cubicBezTo>
                    <a:cubicBezTo>
                      <a:pt x="208089" y="123307"/>
                      <a:pt x="203481" y="141112"/>
                      <a:pt x="194452" y="156554"/>
                    </a:cubicBezTo>
                    <a:cubicBezTo>
                      <a:pt x="185422" y="171995"/>
                      <a:pt x="173089" y="184102"/>
                      <a:pt x="157453" y="192874"/>
                    </a:cubicBezTo>
                    <a:cubicBezTo>
                      <a:pt x="141818" y="201647"/>
                      <a:pt x="123998" y="206114"/>
                      <a:pt x="103994" y="206275"/>
                    </a:cubicBezTo>
                    <a:cubicBezTo>
                      <a:pt x="83994" y="206156"/>
                      <a:pt x="66200" y="201858"/>
                      <a:pt x="50610" y="193382"/>
                    </a:cubicBezTo>
                    <a:cubicBezTo>
                      <a:pt x="35021" y="184907"/>
                      <a:pt x="22734" y="172969"/>
                      <a:pt x="13750" y="157570"/>
                    </a:cubicBezTo>
                    <a:cubicBezTo>
                      <a:pt x="4766" y="142171"/>
                      <a:pt x="183" y="124026"/>
                      <a:pt x="0" y="103137"/>
                    </a:cubicBezTo>
                    <a:cubicBezTo>
                      <a:pt x="146" y="83598"/>
                      <a:pt x="4581" y="66089"/>
                      <a:pt x="13305" y="50610"/>
                    </a:cubicBezTo>
                    <a:cubicBezTo>
                      <a:pt x="22030" y="35132"/>
                      <a:pt x="34168" y="22877"/>
                      <a:pt x="49721" y="13845"/>
                    </a:cubicBezTo>
                    <a:cubicBezTo>
                      <a:pt x="65273" y="4814"/>
                      <a:pt x="83365" y="198"/>
                      <a:pt x="103994" y="0"/>
                    </a:cubicBezTo>
                    <a:close/>
                    <a:moveTo>
                      <a:pt x="103994" y="32825"/>
                    </a:moveTo>
                    <a:cubicBezTo>
                      <a:pt x="84451" y="33165"/>
                      <a:pt x="68517" y="39703"/>
                      <a:pt x="56190" y="52439"/>
                    </a:cubicBezTo>
                    <a:cubicBezTo>
                      <a:pt x="43864" y="65176"/>
                      <a:pt x="37505" y="82076"/>
                      <a:pt x="37111" y="103137"/>
                    </a:cubicBezTo>
                    <a:cubicBezTo>
                      <a:pt x="37558" y="123574"/>
                      <a:pt x="44025" y="140294"/>
                      <a:pt x="56512" y="153299"/>
                    </a:cubicBezTo>
                    <a:cubicBezTo>
                      <a:pt x="68999" y="166304"/>
                      <a:pt x="84827" y="173021"/>
                      <a:pt x="103994" y="173450"/>
                    </a:cubicBezTo>
                    <a:cubicBezTo>
                      <a:pt x="125175" y="172985"/>
                      <a:pt x="141622" y="166197"/>
                      <a:pt x="153335" y="153085"/>
                    </a:cubicBezTo>
                    <a:cubicBezTo>
                      <a:pt x="165048" y="139973"/>
                      <a:pt x="170991" y="123323"/>
                      <a:pt x="171164" y="103137"/>
                    </a:cubicBezTo>
                    <a:cubicBezTo>
                      <a:pt x="170723" y="82076"/>
                      <a:pt x="164245" y="65176"/>
                      <a:pt x="151728" y="52439"/>
                    </a:cubicBezTo>
                    <a:cubicBezTo>
                      <a:pt x="139211" y="39703"/>
                      <a:pt x="123300" y="33165"/>
                      <a:pt x="103994" y="32825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89" name="Полілінія: фігура 188">
                <a:extLst>
                  <a:ext uri="{FF2B5EF4-FFF2-40B4-BE49-F238E27FC236}">
                    <a16:creationId xmlns:a16="http://schemas.microsoft.com/office/drawing/2014/main" id="{4A92EF20-86CC-477B-4E38-A8BBA3C178AD}"/>
                  </a:ext>
                </a:extLst>
              </p:cNvPr>
              <p:cNvSpPr/>
              <p:nvPr/>
            </p:nvSpPr>
            <p:spPr>
              <a:xfrm>
                <a:off x="7952453" y="229626"/>
                <a:ext cx="171130" cy="201418"/>
              </a:xfrm>
              <a:custGeom>
                <a:avLst/>
                <a:gdLst/>
                <a:ahLst/>
                <a:cxnLst/>
                <a:rect l="l" t="t" r="r" b="b"/>
                <a:pathLst>
                  <a:path w="171130" h="201418">
                    <a:moveTo>
                      <a:pt x="58838" y="0"/>
                    </a:moveTo>
                    <a:cubicBezTo>
                      <a:pt x="85419" y="241"/>
                      <a:pt x="106980" y="4867"/>
                      <a:pt x="123520" y="13877"/>
                    </a:cubicBezTo>
                    <a:cubicBezTo>
                      <a:pt x="140060" y="22888"/>
                      <a:pt x="152154" y="34836"/>
                      <a:pt x="159801" y="49722"/>
                    </a:cubicBezTo>
                    <a:cubicBezTo>
                      <a:pt x="167448" y="64608"/>
                      <a:pt x="171224" y="80984"/>
                      <a:pt x="171129" y="98851"/>
                    </a:cubicBezTo>
                    <a:cubicBezTo>
                      <a:pt x="171127" y="117844"/>
                      <a:pt x="166879" y="135049"/>
                      <a:pt x="158384" y="150468"/>
                    </a:cubicBezTo>
                    <a:cubicBezTo>
                      <a:pt x="149888" y="165886"/>
                      <a:pt x="137153" y="178177"/>
                      <a:pt x="120177" y="187339"/>
                    </a:cubicBezTo>
                    <a:cubicBezTo>
                      <a:pt x="103202" y="196501"/>
                      <a:pt x="81993" y="201194"/>
                      <a:pt x="56551" y="201418"/>
                    </a:cubicBezTo>
                    <a:cubicBezTo>
                      <a:pt x="50250" y="201394"/>
                      <a:pt x="42274" y="201299"/>
                      <a:pt x="32622" y="201132"/>
                    </a:cubicBezTo>
                    <a:cubicBezTo>
                      <a:pt x="22971" y="200966"/>
                      <a:pt x="13429" y="200871"/>
                      <a:pt x="3996" y="200847"/>
                    </a:cubicBezTo>
                    <a:lnTo>
                      <a:pt x="0" y="200847"/>
                    </a:lnTo>
                    <a:lnTo>
                      <a:pt x="0" y="856"/>
                    </a:lnTo>
                    <a:lnTo>
                      <a:pt x="3711" y="856"/>
                    </a:lnTo>
                    <a:cubicBezTo>
                      <a:pt x="7896" y="845"/>
                      <a:pt x="13356" y="771"/>
                      <a:pt x="20092" y="634"/>
                    </a:cubicBezTo>
                    <a:cubicBezTo>
                      <a:pt x="26827" y="496"/>
                      <a:pt x="33707" y="359"/>
                      <a:pt x="40730" y="222"/>
                    </a:cubicBezTo>
                    <a:cubicBezTo>
                      <a:pt x="47754" y="84"/>
                      <a:pt x="53789" y="10"/>
                      <a:pt x="58838" y="0"/>
                    </a:cubicBezTo>
                    <a:close/>
                    <a:moveTo>
                      <a:pt x="58266" y="32825"/>
                    </a:moveTo>
                    <a:cubicBezTo>
                      <a:pt x="54174" y="32825"/>
                      <a:pt x="50280" y="32897"/>
                      <a:pt x="46582" y="33040"/>
                    </a:cubicBezTo>
                    <a:cubicBezTo>
                      <a:pt x="42883" y="33183"/>
                      <a:pt x="39060" y="33397"/>
                      <a:pt x="35112" y="33683"/>
                    </a:cubicBezTo>
                    <a:lnTo>
                      <a:pt x="35112" y="168020"/>
                    </a:lnTo>
                    <a:cubicBezTo>
                      <a:pt x="40001" y="168294"/>
                      <a:pt x="44372" y="168461"/>
                      <a:pt x="48225" y="168521"/>
                    </a:cubicBezTo>
                    <a:cubicBezTo>
                      <a:pt x="52078" y="168580"/>
                      <a:pt x="55234" y="168604"/>
                      <a:pt x="57694" y="168592"/>
                    </a:cubicBezTo>
                    <a:cubicBezTo>
                      <a:pt x="82009" y="168330"/>
                      <a:pt x="100768" y="161994"/>
                      <a:pt x="113971" y="149585"/>
                    </a:cubicBezTo>
                    <a:cubicBezTo>
                      <a:pt x="127174" y="137175"/>
                      <a:pt x="133856" y="120264"/>
                      <a:pt x="134017" y="98851"/>
                    </a:cubicBezTo>
                    <a:cubicBezTo>
                      <a:pt x="133844" y="78468"/>
                      <a:pt x="127186" y="62426"/>
                      <a:pt x="114043" y="50725"/>
                    </a:cubicBezTo>
                    <a:cubicBezTo>
                      <a:pt x="100899" y="39024"/>
                      <a:pt x="82307" y="33057"/>
                      <a:pt x="58266" y="32825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78" name="Полілінія: фігура 177">
                <a:extLst>
                  <a:ext uri="{FF2B5EF4-FFF2-40B4-BE49-F238E27FC236}">
                    <a16:creationId xmlns:a16="http://schemas.microsoft.com/office/drawing/2014/main" id="{3904D6E0-A901-19DE-74EC-2D8AA125468F}"/>
                  </a:ext>
                </a:extLst>
              </p:cNvPr>
              <p:cNvSpPr/>
              <p:nvPr/>
            </p:nvSpPr>
            <p:spPr>
              <a:xfrm>
                <a:off x="4085303" y="229912"/>
                <a:ext cx="157412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157412" h="200561">
                    <a:moveTo>
                      <a:pt x="60844" y="0"/>
                    </a:moveTo>
                    <a:cubicBezTo>
                      <a:pt x="87746" y="410"/>
                      <a:pt x="106663" y="6370"/>
                      <a:pt x="117594" y="17882"/>
                    </a:cubicBezTo>
                    <a:cubicBezTo>
                      <a:pt x="128525" y="29394"/>
                      <a:pt x="133797" y="44001"/>
                      <a:pt x="133409" y="61704"/>
                    </a:cubicBezTo>
                    <a:cubicBezTo>
                      <a:pt x="133240" y="73103"/>
                      <a:pt x="131136" y="82701"/>
                      <a:pt x="127097" y="90496"/>
                    </a:cubicBezTo>
                    <a:cubicBezTo>
                      <a:pt x="123058" y="98291"/>
                      <a:pt x="118099" y="104498"/>
                      <a:pt x="112220" y="109116"/>
                    </a:cubicBezTo>
                    <a:cubicBezTo>
                      <a:pt x="106341" y="113734"/>
                      <a:pt x="100557" y="116977"/>
                      <a:pt x="94868" y="118844"/>
                    </a:cubicBezTo>
                    <a:lnTo>
                      <a:pt x="157412" y="200561"/>
                    </a:lnTo>
                    <a:lnTo>
                      <a:pt x="114854" y="200561"/>
                    </a:lnTo>
                    <a:lnTo>
                      <a:pt x="59700" y="125695"/>
                    </a:lnTo>
                    <a:lnTo>
                      <a:pt x="35111" y="125695"/>
                    </a:lnTo>
                    <a:lnTo>
                      <a:pt x="35111" y="200561"/>
                    </a:lnTo>
                    <a:lnTo>
                      <a:pt x="0" y="200561"/>
                    </a:lnTo>
                    <a:lnTo>
                      <a:pt x="0" y="571"/>
                    </a:lnTo>
                    <a:cubicBezTo>
                      <a:pt x="4150" y="564"/>
                      <a:pt x="10634" y="515"/>
                      <a:pt x="19451" y="423"/>
                    </a:cubicBezTo>
                    <a:cubicBezTo>
                      <a:pt x="28269" y="332"/>
                      <a:pt x="36786" y="240"/>
                      <a:pt x="45002" y="148"/>
                    </a:cubicBezTo>
                    <a:cubicBezTo>
                      <a:pt x="53218" y="57"/>
                      <a:pt x="58499" y="7"/>
                      <a:pt x="60844" y="0"/>
                    </a:cubicBezTo>
                    <a:close/>
                    <a:moveTo>
                      <a:pt x="59128" y="32826"/>
                    </a:moveTo>
                    <a:cubicBezTo>
                      <a:pt x="55840" y="32832"/>
                      <a:pt x="52195" y="32891"/>
                      <a:pt x="48192" y="33005"/>
                    </a:cubicBezTo>
                    <a:cubicBezTo>
                      <a:pt x="44189" y="33118"/>
                      <a:pt x="39829" y="33249"/>
                      <a:pt x="35111" y="33398"/>
                    </a:cubicBezTo>
                    <a:lnTo>
                      <a:pt x="35111" y="92869"/>
                    </a:lnTo>
                    <a:lnTo>
                      <a:pt x="57985" y="92869"/>
                    </a:lnTo>
                    <a:cubicBezTo>
                      <a:pt x="68462" y="92869"/>
                      <a:pt x="77385" y="90296"/>
                      <a:pt x="84754" y="85149"/>
                    </a:cubicBezTo>
                    <a:cubicBezTo>
                      <a:pt x="92122" y="80003"/>
                      <a:pt x="95970" y="72283"/>
                      <a:pt x="96298" y="61990"/>
                    </a:cubicBezTo>
                    <a:cubicBezTo>
                      <a:pt x="96536" y="53895"/>
                      <a:pt x="93915" y="47068"/>
                      <a:pt x="88435" y="41511"/>
                    </a:cubicBezTo>
                    <a:cubicBezTo>
                      <a:pt x="82955" y="35953"/>
                      <a:pt x="73186" y="33058"/>
                      <a:pt x="59128" y="32826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76" name="Полілінія: фігура 175">
                <a:extLst>
                  <a:ext uri="{FF2B5EF4-FFF2-40B4-BE49-F238E27FC236}">
                    <a16:creationId xmlns:a16="http://schemas.microsoft.com/office/drawing/2014/main" id="{76DBA658-F3F1-F828-B52E-4778F50C41FC}"/>
                  </a:ext>
                </a:extLst>
              </p:cNvPr>
              <p:cNvSpPr/>
              <p:nvPr/>
            </p:nvSpPr>
            <p:spPr>
              <a:xfrm>
                <a:off x="4250068" y="229912"/>
                <a:ext cx="200025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200025" h="200561">
                    <a:moveTo>
                      <a:pt x="84581" y="0"/>
                    </a:moveTo>
                    <a:lnTo>
                      <a:pt x="115443" y="0"/>
                    </a:lnTo>
                    <a:lnTo>
                      <a:pt x="200025" y="200561"/>
                    </a:lnTo>
                    <a:lnTo>
                      <a:pt x="162591" y="200561"/>
                    </a:lnTo>
                    <a:lnTo>
                      <a:pt x="141731" y="149412"/>
                    </a:lnTo>
                    <a:lnTo>
                      <a:pt x="56292" y="149412"/>
                    </a:lnTo>
                    <a:lnTo>
                      <a:pt x="35433" y="200561"/>
                    </a:lnTo>
                    <a:lnTo>
                      <a:pt x="0" y="200561"/>
                    </a:lnTo>
                    <a:lnTo>
                      <a:pt x="84581" y="0"/>
                    </a:lnTo>
                    <a:close/>
                    <a:moveTo>
                      <a:pt x="99155" y="45435"/>
                    </a:moveTo>
                    <a:lnTo>
                      <a:pt x="69723" y="116586"/>
                    </a:lnTo>
                    <a:lnTo>
                      <a:pt x="128301" y="116586"/>
                    </a:lnTo>
                    <a:lnTo>
                      <a:pt x="99155" y="45435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75" name="Полілінія: фігура 174">
                <a:extLst>
                  <a:ext uri="{FF2B5EF4-FFF2-40B4-BE49-F238E27FC236}">
                    <a16:creationId xmlns:a16="http://schemas.microsoft.com/office/drawing/2014/main" id="{DE879C17-0445-A38D-013E-B233ADE92B24}"/>
                  </a:ext>
                </a:extLst>
              </p:cNvPr>
              <p:cNvSpPr/>
              <p:nvPr/>
            </p:nvSpPr>
            <p:spPr>
              <a:xfrm>
                <a:off x="4869193" y="229912"/>
                <a:ext cx="200024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200024" h="200561">
                    <a:moveTo>
                      <a:pt x="84582" y="0"/>
                    </a:moveTo>
                    <a:lnTo>
                      <a:pt x="115443" y="0"/>
                    </a:lnTo>
                    <a:lnTo>
                      <a:pt x="200024" y="200561"/>
                    </a:lnTo>
                    <a:lnTo>
                      <a:pt x="162591" y="200561"/>
                    </a:lnTo>
                    <a:lnTo>
                      <a:pt x="141731" y="149412"/>
                    </a:lnTo>
                    <a:lnTo>
                      <a:pt x="56292" y="149412"/>
                    </a:lnTo>
                    <a:lnTo>
                      <a:pt x="35432" y="200561"/>
                    </a:lnTo>
                    <a:lnTo>
                      <a:pt x="0" y="200561"/>
                    </a:lnTo>
                    <a:lnTo>
                      <a:pt x="84582" y="0"/>
                    </a:lnTo>
                    <a:close/>
                    <a:moveTo>
                      <a:pt x="99155" y="45435"/>
                    </a:moveTo>
                    <a:lnTo>
                      <a:pt x="69722" y="116586"/>
                    </a:lnTo>
                    <a:lnTo>
                      <a:pt x="128301" y="116586"/>
                    </a:lnTo>
                    <a:lnTo>
                      <a:pt x="99155" y="45435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73" name="Полілінія: фігура 172">
                <a:extLst>
                  <a:ext uri="{FF2B5EF4-FFF2-40B4-BE49-F238E27FC236}">
                    <a16:creationId xmlns:a16="http://schemas.microsoft.com/office/drawing/2014/main" id="{A04C8B69-FFAC-E260-E8F4-FE7D87D1FDC3}"/>
                  </a:ext>
                </a:extLst>
              </p:cNvPr>
              <p:cNvSpPr/>
              <p:nvPr/>
            </p:nvSpPr>
            <p:spPr>
              <a:xfrm>
                <a:off x="5574043" y="229912"/>
                <a:ext cx="200024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200024" h="200561">
                    <a:moveTo>
                      <a:pt x="84582" y="0"/>
                    </a:moveTo>
                    <a:lnTo>
                      <a:pt x="115442" y="0"/>
                    </a:lnTo>
                    <a:lnTo>
                      <a:pt x="200024" y="200561"/>
                    </a:lnTo>
                    <a:lnTo>
                      <a:pt x="162591" y="200561"/>
                    </a:lnTo>
                    <a:lnTo>
                      <a:pt x="141732" y="149412"/>
                    </a:lnTo>
                    <a:lnTo>
                      <a:pt x="56292" y="149412"/>
                    </a:lnTo>
                    <a:lnTo>
                      <a:pt x="35433" y="200561"/>
                    </a:lnTo>
                    <a:lnTo>
                      <a:pt x="0" y="200561"/>
                    </a:lnTo>
                    <a:lnTo>
                      <a:pt x="84582" y="0"/>
                    </a:lnTo>
                    <a:close/>
                    <a:moveTo>
                      <a:pt x="99155" y="45435"/>
                    </a:moveTo>
                    <a:lnTo>
                      <a:pt x="69723" y="116586"/>
                    </a:lnTo>
                    <a:lnTo>
                      <a:pt x="128301" y="116586"/>
                    </a:lnTo>
                    <a:lnTo>
                      <a:pt x="99155" y="45435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72" name="Полілінія: фігура 171">
                <a:extLst>
                  <a:ext uri="{FF2B5EF4-FFF2-40B4-BE49-F238E27FC236}">
                    <a16:creationId xmlns:a16="http://schemas.microsoft.com/office/drawing/2014/main" id="{A48DBCA3-608F-B224-4A9E-F94C93C61B8D}"/>
                  </a:ext>
                </a:extLst>
              </p:cNvPr>
              <p:cNvSpPr/>
              <p:nvPr/>
            </p:nvSpPr>
            <p:spPr>
              <a:xfrm>
                <a:off x="6580853" y="229912"/>
                <a:ext cx="157412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157412" h="200561">
                    <a:moveTo>
                      <a:pt x="60844" y="0"/>
                    </a:moveTo>
                    <a:cubicBezTo>
                      <a:pt x="87746" y="410"/>
                      <a:pt x="106663" y="6370"/>
                      <a:pt x="117594" y="17882"/>
                    </a:cubicBezTo>
                    <a:cubicBezTo>
                      <a:pt x="128526" y="29394"/>
                      <a:pt x="133797" y="44001"/>
                      <a:pt x="133409" y="61704"/>
                    </a:cubicBezTo>
                    <a:cubicBezTo>
                      <a:pt x="133240" y="73103"/>
                      <a:pt x="131136" y="82701"/>
                      <a:pt x="127097" y="90496"/>
                    </a:cubicBezTo>
                    <a:cubicBezTo>
                      <a:pt x="123058" y="98291"/>
                      <a:pt x="118099" y="104498"/>
                      <a:pt x="112220" y="109116"/>
                    </a:cubicBezTo>
                    <a:cubicBezTo>
                      <a:pt x="106341" y="113734"/>
                      <a:pt x="100557" y="116977"/>
                      <a:pt x="94868" y="118844"/>
                    </a:cubicBezTo>
                    <a:lnTo>
                      <a:pt x="157412" y="200561"/>
                    </a:lnTo>
                    <a:lnTo>
                      <a:pt x="114853" y="200561"/>
                    </a:lnTo>
                    <a:lnTo>
                      <a:pt x="59700" y="125695"/>
                    </a:lnTo>
                    <a:lnTo>
                      <a:pt x="35112" y="125695"/>
                    </a:lnTo>
                    <a:lnTo>
                      <a:pt x="35112" y="200561"/>
                    </a:lnTo>
                    <a:lnTo>
                      <a:pt x="0" y="200561"/>
                    </a:lnTo>
                    <a:lnTo>
                      <a:pt x="0" y="571"/>
                    </a:lnTo>
                    <a:cubicBezTo>
                      <a:pt x="4150" y="564"/>
                      <a:pt x="10634" y="515"/>
                      <a:pt x="19451" y="423"/>
                    </a:cubicBezTo>
                    <a:cubicBezTo>
                      <a:pt x="28269" y="332"/>
                      <a:pt x="36786" y="240"/>
                      <a:pt x="45002" y="148"/>
                    </a:cubicBezTo>
                    <a:cubicBezTo>
                      <a:pt x="53218" y="57"/>
                      <a:pt x="58498" y="7"/>
                      <a:pt x="60844" y="0"/>
                    </a:cubicBezTo>
                    <a:close/>
                    <a:moveTo>
                      <a:pt x="59128" y="32826"/>
                    </a:moveTo>
                    <a:cubicBezTo>
                      <a:pt x="55840" y="32832"/>
                      <a:pt x="52195" y="32891"/>
                      <a:pt x="48192" y="33005"/>
                    </a:cubicBezTo>
                    <a:cubicBezTo>
                      <a:pt x="44189" y="33118"/>
                      <a:pt x="39829" y="33249"/>
                      <a:pt x="35112" y="33398"/>
                    </a:cubicBezTo>
                    <a:lnTo>
                      <a:pt x="35112" y="92869"/>
                    </a:lnTo>
                    <a:lnTo>
                      <a:pt x="57985" y="92869"/>
                    </a:lnTo>
                    <a:cubicBezTo>
                      <a:pt x="68462" y="92869"/>
                      <a:pt x="77385" y="90296"/>
                      <a:pt x="84754" y="85149"/>
                    </a:cubicBezTo>
                    <a:cubicBezTo>
                      <a:pt x="92122" y="80003"/>
                      <a:pt x="95970" y="72283"/>
                      <a:pt x="96298" y="61990"/>
                    </a:cubicBezTo>
                    <a:cubicBezTo>
                      <a:pt x="96536" y="53895"/>
                      <a:pt x="93915" y="47068"/>
                      <a:pt x="88435" y="41511"/>
                    </a:cubicBezTo>
                    <a:cubicBezTo>
                      <a:pt x="82955" y="35953"/>
                      <a:pt x="73186" y="33058"/>
                      <a:pt x="59128" y="32826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dirty="0"/>
              </a:p>
            </p:txBody>
          </p:sp>
          <p:sp>
            <p:nvSpPr>
              <p:cNvPr id="171" name="Полілінія: фігура 170">
                <a:extLst>
                  <a:ext uri="{FF2B5EF4-FFF2-40B4-BE49-F238E27FC236}">
                    <a16:creationId xmlns:a16="http://schemas.microsoft.com/office/drawing/2014/main" id="{CFCCA8D1-C619-9B1F-5D15-DCC964813C20}"/>
                  </a:ext>
                </a:extLst>
              </p:cNvPr>
              <p:cNvSpPr/>
              <p:nvPr/>
            </p:nvSpPr>
            <p:spPr>
              <a:xfrm>
                <a:off x="6745617" y="229912"/>
                <a:ext cx="200025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200025" h="200561">
                    <a:moveTo>
                      <a:pt x="84582" y="0"/>
                    </a:moveTo>
                    <a:lnTo>
                      <a:pt x="115443" y="0"/>
                    </a:lnTo>
                    <a:lnTo>
                      <a:pt x="200025" y="200561"/>
                    </a:lnTo>
                    <a:lnTo>
                      <a:pt x="162592" y="200561"/>
                    </a:lnTo>
                    <a:lnTo>
                      <a:pt x="141732" y="149412"/>
                    </a:lnTo>
                    <a:lnTo>
                      <a:pt x="56293" y="149412"/>
                    </a:lnTo>
                    <a:lnTo>
                      <a:pt x="35433" y="200561"/>
                    </a:lnTo>
                    <a:lnTo>
                      <a:pt x="0" y="200561"/>
                    </a:lnTo>
                    <a:lnTo>
                      <a:pt x="84582" y="0"/>
                    </a:lnTo>
                    <a:close/>
                    <a:moveTo>
                      <a:pt x="99156" y="45435"/>
                    </a:moveTo>
                    <a:lnTo>
                      <a:pt x="69723" y="116586"/>
                    </a:lnTo>
                    <a:lnTo>
                      <a:pt x="128302" y="116586"/>
                    </a:lnTo>
                    <a:lnTo>
                      <a:pt x="99156" y="45435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70" name="Полілінія: фігура 169">
                <a:extLst>
                  <a:ext uri="{FF2B5EF4-FFF2-40B4-BE49-F238E27FC236}">
                    <a16:creationId xmlns:a16="http://schemas.microsoft.com/office/drawing/2014/main" id="{C22BA560-D390-F948-46CA-7EE21CA2C43C}"/>
                  </a:ext>
                </a:extLst>
              </p:cNvPr>
              <p:cNvSpPr/>
              <p:nvPr/>
            </p:nvSpPr>
            <p:spPr>
              <a:xfrm>
                <a:off x="8126743" y="229912"/>
                <a:ext cx="200025" cy="200561"/>
              </a:xfrm>
              <a:custGeom>
                <a:avLst/>
                <a:gdLst/>
                <a:ahLst/>
                <a:cxnLst/>
                <a:rect l="l" t="t" r="r" b="b"/>
                <a:pathLst>
                  <a:path w="200025" h="200561">
                    <a:moveTo>
                      <a:pt x="84582" y="0"/>
                    </a:moveTo>
                    <a:lnTo>
                      <a:pt x="115443" y="0"/>
                    </a:lnTo>
                    <a:lnTo>
                      <a:pt x="200025" y="200561"/>
                    </a:lnTo>
                    <a:lnTo>
                      <a:pt x="162591" y="200561"/>
                    </a:lnTo>
                    <a:lnTo>
                      <a:pt x="141732" y="149412"/>
                    </a:lnTo>
                    <a:lnTo>
                      <a:pt x="56292" y="149412"/>
                    </a:lnTo>
                    <a:lnTo>
                      <a:pt x="35433" y="200561"/>
                    </a:lnTo>
                    <a:lnTo>
                      <a:pt x="0" y="200561"/>
                    </a:lnTo>
                    <a:lnTo>
                      <a:pt x="84582" y="0"/>
                    </a:lnTo>
                    <a:close/>
                    <a:moveTo>
                      <a:pt x="99155" y="45435"/>
                    </a:moveTo>
                    <a:lnTo>
                      <a:pt x="69723" y="116586"/>
                    </a:lnTo>
                    <a:lnTo>
                      <a:pt x="128302" y="116586"/>
                    </a:lnTo>
                    <a:lnTo>
                      <a:pt x="99155" y="45435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9" name="Полілінія: фігура 168">
                <a:extLst>
                  <a:ext uri="{FF2B5EF4-FFF2-40B4-BE49-F238E27FC236}">
                    <a16:creationId xmlns:a16="http://schemas.microsoft.com/office/drawing/2014/main" id="{0BA2570C-C287-8485-2E87-4EC19908936A}"/>
                  </a:ext>
                </a:extLst>
              </p:cNvPr>
              <p:cNvSpPr/>
              <p:nvPr/>
            </p:nvSpPr>
            <p:spPr>
              <a:xfrm>
                <a:off x="3672870" y="230770"/>
                <a:ext cx="164557" cy="202847"/>
              </a:xfrm>
              <a:custGeom>
                <a:avLst/>
                <a:gdLst/>
                <a:ahLst/>
                <a:cxnLst/>
                <a:rect l="l" t="t" r="r" b="b"/>
                <a:pathLst>
                  <a:path w="164557" h="202847">
                    <a:moveTo>
                      <a:pt x="0" y="0"/>
                    </a:moveTo>
                    <a:lnTo>
                      <a:pt x="35112" y="0"/>
                    </a:lnTo>
                    <a:lnTo>
                      <a:pt x="35112" y="107547"/>
                    </a:lnTo>
                    <a:cubicBezTo>
                      <a:pt x="35034" y="126499"/>
                      <a:pt x="39048" y="141583"/>
                      <a:pt x="47154" y="152798"/>
                    </a:cubicBezTo>
                    <a:cubicBezTo>
                      <a:pt x="55259" y="164012"/>
                      <a:pt x="67920" y="169753"/>
                      <a:pt x="85137" y="170021"/>
                    </a:cubicBezTo>
                    <a:cubicBezTo>
                      <a:pt x="100252" y="169938"/>
                      <a:pt x="111472" y="164755"/>
                      <a:pt x="118797" y="154474"/>
                    </a:cubicBezTo>
                    <a:cubicBezTo>
                      <a:pt x="126122" y="144192"/>
                      <a:pt x="129767" y="129310"/>
                      <a:pt x="129731" y="109829"/>
                    </a:cubicBezTo>
                    <a:lnTo>
                      <a:pt x="129731" y="0"/>
                    </a:lnTo>
                    <a:lnTo>
                      <a:pt x="164557" y="0"/>
                    </a:lnTo>
                    <a:lnTo>
                      <a:pt x="164557" y="116961"/>
                    </a:lnTo>
                    <a:cubicBezTo>
                      <a:pt x="164354" y="137241"/>
                      <a:pt x="160604" y="153708"/>
                      <a:pt x="153304" y="166362"/>
                    </a:cubicBezTo>
                    <a:cubicBezTo>
                      <a:pt x="146005" y="179015"/>
                      <a:pt x="136372" y="188277"/>
                      <a:pt x="124404" y="194147"/>
                    </a:cubicBezTo>
                    <a:cubicBezTo>
                      <a:pt x="112435" y="200017"/>
                      <a:pt x="99347" y="202917"/>
                      <a:pt x="85137" y="202846"/>
                    </a:cubicBezTo>
                    <a:cubicBezTo>
                      <a:pt x="59829" y="202840"/>
                      <a:pt x="39422" y="195503"/>
                      <a:pt x="23916" y="180836"/>
                    </a:cubicBezTo>
                    <a:cubicBezTo>
                      <a:pt x="8411" y="166169"/>
                      <a:pt x="439" y="144212"/>
                      <a:pt x="0" y="11496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8" name="Полілінія: фігура 167">
                <a:extLst>
                  <a:ext uri="{FF2B5EF4-FFF2-40B4-BE49-F238E27FC236}">
                    <a16:creationId xmlns:a16="http://schemas.microsoft.com/office/drawing/2014/main" id="{91A4082E-1FB9-C577-4118-3BEA610AD627}"/>
                  </a:ext>
                </a:extLst>
              </p:cNvPr>
              <p:cNvSpPr/>
              <p:nvPr/>
            </p:nvSpPr>
            <p:spPr>
              <a:xfrm>
                <a:off x="3894803" y="230770"/>
                <a:ext cx="161413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61413" h="199703">
                    <a:moveTo>
                      <a:pt x="0" y="0"/>
                    </a:moveTo>
                    <a:lnTo>
                      <a:pt x="35111" y="0"/>
                    </a:lnTo>
                    <a:lnTo>
                      <a:pt x="35111" y="94716"/>
                    </a:lnTo>
                    <a:lnTo>
                      <a:pt x="113978" y="0"/>
                    </a:lnTo>
                    <a:lnTo>
                      <a:pt x="156269" y="0"/>
                    </a:lnTo>
                    <a:lnTo>
                      <a:pt x="73973" y="93004"/>
                    </a:lnTo>
                    <a:lnTo>
                      <a:pt x="161413" y="199703"/>
                    </a:lnTo>
                    <a:lnTo>
                      <a:pt x="116836" y="199703"/>
                    </a:lnTo>
                    <a:lnTo>
                      <a:pt x="35111" y="96713"/>
                    </a:lnTo>
                    <a:lnTo>
                      <a:pt x="35111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7" name="Полілінія: фігура 166">
                <a:extLst>
                  <a:ext uri="{FF2B5EF4-FFF2-40B4-BE49-F238E27FC236}">
                    <a16:creationId xmlns:a16="http://schemas.microsoft.com/office/drawing/2014/main" id="{80C24FA6-6B01-941B-F81C-6DDD428651C5}"/>
                  </a:ext>
                </a:extLst>
              </p:cNvPr>
              <p:cNvSpPr/>
              <p:nvPr/>
            </p:nvSpPr>
            <p:spPr>
              <a:xfrm>
                <a:off x="4480114" y="230770"/>
                <a:ext cx="35112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35112" h="199703">
                    <a:moveTo>
                      <a:pt x="0" y="0"/>
                    </a:moveTo>
                    <a:lnTo>
                      <a:pt x="35112" y="0"/>
                    </a:lnTo>
                    <a:lnTo>
                      <a:pt x="35112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6" name="Полілінія: фігура 165">
                <a:extLst>
                  <a:ext uri="{FF2B5EF4-FFF2-40B4-BE49-F238E27FC236}">
                    <a16:creationId xmlns:a16="http://schemas.microsoft.com/office/drawing/2014/main" id="{5DA558AB-4723-43F7-D81F-FE2F71ABBD08}"/>
                  </a:ext>
                </a:extLst>
              </p:cNvPr>
              <p:cNvSpPr/>
              <p:nvPr/>
            </p:nvSpPr>
            <p:spPr>
              <a:xfrm>
                <a:off x="4571078" y="230770"/>
                <a:ext cx="170843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70843" h="199703">
                    <a:moveTo>
                      <a:pt x="0" y="0"/>
                    </a:moveTo>
                    <a:lnTo>
                      <a:pt x="27973" y="0"/>
                    </a:lnTo>
                    <a:lnTo>
                      <a:pt x="138017" y="138936"/>
                    </a:lnTo>
                    <a:lnTo>
                      <a:pt x="138017" y="0"/>
                    </a:lnTo>
                    <a:lnTo>
                      <a:pt x="170843" y="0"/>
                    </a:lnTo>
                    <a:lnTo>
                      <a:pt x="170843" y="199703"/>
                    </a:lnTo>
                    <a:lnTo>
                      <a:pt x="142870" y="199703"/>
                    </a:lnTo>
                    <a:lnTo>
                      <a:pt x="32825" y="61336"/>
                    </a:lnTo>
                    <a:lnTo>
                      <a:pt x="32825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5" name="Полілінія: фігура 164">
                <a:extLst>
                  <a:ext uri="{FF2B5EF4-FFF2-40B4-BE49-F238E27FC236}">
                    <a16:creationId xmlns:a16="http://schemas.microsoft.com/office/drawing/2014/main" id="{C98A13F7-CE07-D287-E19B-88DCF0B8BE8A}"/>
                  </a:ext>
                </a:extLst>
              </p:cNvPr>
              <p:cNvSpPr/>
              <p:nvPr/>
            </p:nvSpPr>
            <p:spPr>
              <a:xfrm>
                <a:off x="4803964" y="230770"/>
                <a:ext cx="35112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35112" h="199703">
                    <a:moveTo>
                      <a:pt x="0" y="0"/>
                    </a:moveTo>
                    <a:lnTo>
                      <a:pt x="35112" y="0"/>
                    </a:lnTo>
                    <a:lnTo>
                      <a:pt x="35112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4" name="Полілінія: фігура 163">
                <a:extLst>
                  <a:ext uri="{FF2B5EF4-FFF2-40B4-BE49-F238E27FC236}">
                    <a16:creationId xmlns:a16="http://schemas.microsoft.com/office/drawing/2014/main" id="{01CCBE0C-7397-C18C-8F5F-C9941DA94D59}"/>
                  </a:ext>
                </a:extLst>
              </p:cNvPr>
              <p:cNvSpPr/>
              <p:nvPr/>
            </p:nvSpPr>
            <p:spPr>
              <a:xfrm>
                <a:off x="5094953" y="230770"/>
                <a:ext cx="170843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70843" h="199703">
                    <a:moveTo>
                      <a:pt x="0" y="0"/>
                    </a:moveTo>
                    <a:lnTo>
                      <a:pt x="27973" y="0"/>
                    </a:lnTo>
                    <a:lnTo>
                      <a:pt x="138017" y="138936"/>
                    </a:lnTo>
                    <a:lnTo>
                      <a:pt x="138017" y="0"/>
                    </a:lnTo>
                    <a:lnTo>
                      <a:pt x="170843" y="0"/>
                    </a:lnTo>
                    <a:lnTo>
                      <a:pt x="170843" y="199703"/>
                    </a:lnTo>
                    <a:lnTo>
                      <a:pt x="142870" y="199703"/>
                    </a:lnTo>
                    <a:lnTo>
                      <a:pt x="32825" y="61336"/>
                    </a:lnTo>
                    <a:lnTo>
                      <a:pt x="32825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3" name="Полілінія: фігура 162">
                <a:extLst>
                  <a:ext uri="{FF2B5EF4-FFF2-40B4-BE49-F238E27FC236}">
                    <a16:creationId xmlns:a16="http://schemas.microsoft.com/office/drawing/2014/main" id="{F13F3042-1349-0E40-5DAF-D937404E10EC}"/>
                  </a:ext>
                </a:extLst>
              </p:cNvPr>
              <p:cNvSpPr/>
              <p:nvPr/>
            </p:nvSpPr>
            <p:spPr>
              <a:xfrm>
                <a:off x="6155943" y="230770"/>
                <a:ext cx="164842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64842" h="199703">
                    <a:moveTo>
                      <a:pt x="0" y="0"/>
                    </a:moveTo>
                    <a:lnTo>
                      <a:pt x="164842" y="0"/>
                    </a:lnTo>
                    <a:lnTo>
                      <a:pt x="164842" y="32825"/>
                    </a:lnTo>
                    <a:lnTo>
                      <a:pt x="99976" y="32825"/>
                    </a:lnTo>
                    <a:lnTo>
                      <a:pt x="99976" y="199703"/>
                    </a:lnTo>
                    <a:lnTo>
                      <a:pt x="64865" y="199703"/>
                    </a:lnTo>
                    <a:lnTo>
                      <a:pt x="64865" y="32825"/>
                    </a:lnTo>
                    <a:lnTo>
                      <a:pt x="0" y="328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2" name="Полілінія: фігура 161">
                <a:extLst>
                  <a:ext uri="{FF2B5EF4-FFF2-40B4-BE49-F238E27FC236}">
                    <a16:creationId xmlns:a16="http://schemas.microsoft.com/office/drawing/2014/main" id="{AEF5DFC0-42F3-A972-95D6-040223244F4F}"/>
                  </a:ext>
                </a:extLst>
              </p:cNvPr>
              <p:cNvSpPr/>
              <p:nvPr/>
            </p:nvSpPr>
            <p:spPr>
              <a:xfrm>
                <a:off x="7171403" y="230770"/>
                <a:ext cx="118550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18550" h="199703">
                    <a:moveTo>
                      <a:pt x="0" y="0"/>
                    </a:moveTo>
                    <a:lnTo>
                      <a:pt x="115693" y="0"/>
                    </a:lnTo>
                    <a:lnTo>
                      <a:pt x="115693" y="32825"/>
                    </a:lnTo>
                    <a:lnTo>
                      <a:pt x="35111" y="32825"/>
                    </a:lnTo>
                    <a:lnTo>
                      <a:pt x="35111" y="82296"/>
                    </a:lnTo>
                    <a:lnTo>
                      <a:pt x="107120" y="82296"/>
                    </a:lnTo>
                    <a:lnTo>
                      <a:pt x="107120" y="115121"/>
                    </a:lnTo>
                    <a:lnTo>
                      <a:pt x="35111" y="115121"/>
                    </a:lnTo>
                    <a:lnTo>
                      <a:pt x="35111" y="166878"/>
                    </a:lnTo>
                    <a:lnTo>
                      <a:pt x="118550" y="166878"/>
                    </a:lnTo>
                    <a:lnTo>
                      <a:pt x="118550" y="199703"/>
                    </a:lnTo>
                    <a:lnTo>
                      <a:pt x="0" y="1997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1" name="Полілінія: фігура 160">
                <a:extLst>
                  <a:ext uri="{FF2B5EF4-FFF2-40B4-BE49-F238E27FC236}">
                    <a16:creationId xmlns:a16="http://schemas.microsoft.com/office/drawing/2014/main" id="{091F8AF9-F93A-580B-85E3-4213FCB86E97}"/>
                  </a:ext>
                </a:extLst>
              </p:cNvPr>
              <p:cNvSpPr/>
              <p:nvPr/>
            </p:nvSpPr>
            <p:spPr>
              <a:xfrm>
                <a:off x="7527543" y="230770"/>
                <a:ext cx="164842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64842" h="199703">
                    <a:moveTo>
                      <a:pt x="0" y="0"/>
                    </a:moveTo>
                    <a:lnTo>
                      <a:pt x="164842" y="0"/>
                    </a:lnTo>
                    <a:lnTo>
                      <a:pt x="164842" y="32825"/>
                    </a:lnTo>
                    <a:lnTo>
                      <a:pt x="99976" y="32825"/>
                    </a:lnTo>
                    <a:lnTo>
                      <a:pt x="99976" y="199703"/>
                    </a:lnTo>
                    <a:lnTo>
                      <a:pt x="64865" y="199703"/>
                    </a:lnTo>
                    <a:lnTo>
                      <a:pt x="64865" y="32825"/>
                    </a:lnTo>
                    <a:lnTo>
                      <a:pt x="0" y="328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160" name="Полілінія: фігура 159">
                <a:extLst>
                  <a:ext uri="{FF2B5EF4-FFF2-40B4-BE49-F238E27FC236}">
                    <a16:creationId xmlns:a16="http://schemas.microsoft.com/office/drawing/2014/main" id="{381C400C-F11D-9E42-14C8-A30E19EE94F2}"/>
                  </a:ext>
                </a:extLst>
              </p:cNvPr>
              <p:cNvSpPr/>
              <p:nvPr/>
            </p:nvSpPr>
            <p:spPr>
              <a:xfrm>
                <a:off x="8307164" y="230770"/>
                <a:ext cx="176843" cy="199703"/>
              </a:xfrm>
              <a:custGeom>
                <a:avLst/>
                <a:gdLst/>
                <a:ahLst/>
                <a:cxnLst/>
                <a:rect l="l" t="t" r="r" b="b"/>
                <a:pathLst>
                  <a:path w="176843" h="199703">
                    <a:moveTo>
                      <a:pt x="0" y="0"/>
                    </a:moveTo>
                    <a:lnTo>
                      <a:pt x="40005" y="0"/>
                    </a:lnTo>
                    <a:lnTo>
                      <a:pt x="89706" y="83589"/>
                    </a:lnTo>
                    <a:lnTo>
                      <a:pt x="138838" y="0"/>
                    </a:lnTo>
                    <a:lnTo>
                      <a:pt x="176843" y="0"/>
                    </a:lnTo>
                    <a:lnTo>
                      <a:pt x="105692" y="116398"/>
                    </a:lnTo>
                    <a:lnTo>
                      <a:pt x="105692" y="199703"/>
                    </a:lnTo>
                    <a:lnTo>
                      <a:pt x="70580" y="199703"/>
                    </a:lnTo>
                    <a:lnTo>
                      <a:pt x="70580" y="1163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</p:grpSp>
        <p:grpSp>
          <p:nvGrpSpPr>
            <p:cNvPr id="34" name="Групувати 33">
              <a:extLst>
                <a:ext uri="{FF2B5EF4-FFF2-40B4-BE49-F238E27FC236}">
                  <a16:creationId xmlns:a16="http://schemas.microsoft.com/office/drawing/2014/main" id="{2777BA48-EF39-6B1E-BAD4-A3019EEDECC7}"/>
                </a:ext>
              </a:extLst>
            </p:cNvPr>
            <p:cNvGrpSpPr/>
            <p:nvPr/>
          </p:nvGrpSpPr>
          <p:grpSpPr>
            <a:xfrm>
              <a:off x="9056089" y="890469"/>
              <a:ext cx="3140178" cy="1130820"/>
              <a:chOff x="9620223" y="-1895860"/>
              <a:chExt cx="3140178" cy="1130820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906C0865-F3D9-8807-5084-7DABAEF13817}"/>
                  </a:ext>
                </a:extLst>
              </p:cNvPr>
              <p:cNvSpPr txBox="1"/>
              <p:nvPr/>
            </p:nvSpPr>
            <p:spPr>
              <a:xfrm>
                <a:off x="9620223" y="-1072817"/>
                <a:ext cx="3140178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4590" algn="ctr"/>
                <a:r>
                  <a:rPr lang="en-US" sz="1400" b="1" dirty="0">
                    <a:solidFill>
                      <a:srgbClr val="666666"/>
                    </a:solidFill>
                    <a:latin typeface="Arial"/>
                    <a:ea typeface="DejaVu Sans"/>
                  </a:rPr>
                  <a:t>overall working gas volume</a:t>
                </a:r>
                <a:endParaRPr lang="ru-RU" sz="1400" dirty="0">
                  <a:solidFill>
                    <a:srgbClr val="666666"/>
                  </a:solidFill>
                  <a:latin typeface="Arial"/>
                </a:endParaRPr>
              </a:p>
            </p:txBody>
          </p:sp>
          <p:grpSp>
            <p:nvGrpSpPr>
              <p:cNvPr id="75" name="Групувати 74">
                <a:extLst>
                  <a:ext uri="{FF2B5EF4-FFF2-40B4-BE49-F238E27FC236}">
                    <a16:creationId xmlns:a16="http://schemas.microsoft.com/office/drawing/2014/main" id="{9656FA6C-AD85-3B25-DDB6-40F1B4DA86BE}"/>
                  </a:ext>
                </a:extLst>
              </p:cNvPr>
              <p:cNvGrpSpPr/>
              <p:nvPr/>
            </p:nvGrpSpPr>
            <p:grpSpPr>
              <a:xfrm>
                <a:off x="10125790" y="-1895860"/>
                <a:ext cx="2209050" cy="1071984"/>
                <a:chOff x="7431707" y="4935469"/>
                <a:chExt cx="2560377" cy="1389561"/>
              </a:xfrm>
            </p:grpSpPr>
            <p:sp>
              <p:nvSpPr>
                <p:cNvPr id="76" name="TextBox 2">
                  <a:extLst>
                    <a:ext uri="{FF2B5EF4-FFF2-40B4-BE49-F238E27FC236}">
                      <a16:creationId xmlns:a16="http://schemas.microsoft.com/office/drawing/2014/main" id="{F0D88A41-1315-04A8-B68A-50B10B50865E}"/>
                    </a:ext>
                  </a:extLst>
                </p:cNvPr>
                <p:cNvSpPr/>
                <p:nvPr/>
              </p:nvSpPr>
              <p:spPr>
                <a:xfrm>
                  <a:off x="7431707" y="5731670"/>
                  <a:ext cx="1709148" cy="593360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37018" tIns="18509" rIns="37018" bIns="18509" anchor="ctr">
                  <a:spAutoFit/>
                </a:bodyPr>
                <a:lstStyle/>
                <a:p>
                  <a:pPr marL="4590">
                    <a:lnSpc>
                      <a:spcPts val="1734"/>
                    </a:lnSpc>
                    <a:spcBef>
                      <a:spcPts val="36"/>
                    </a:spcBef>
                  </a:pPr>
                  <a:r>
                    <a:rPr lang="en-US" sz="8800" b="1" spc="-5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30</a:t>
                  </a:r>
                  <a:endParaRPr lang="ru-RU" sz="40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TextBox 2">
                  <a:extLst>
                    <a:ext uri="{FF2B5EF4-FFF2-40B4-BE49-F238E27FC236}">
                      <a16:creationId xmlns:a16="http://schemas.microsoft.com/office/drawing/2014/main" id="{DDE09DA0-E149-2DD5-5435-D28876BA7C7F}"/>
                    </a:ext>
                  </a:extLst>
                </p:cNvPr>
                <p:cNvSpPr/>
                <p:nvPr/>
              </p:nvSpPr>
              <p:spPr>
                <a:xfrm>
                  <a:off x="8794633" y="5740490"/>
                  <a:ext cx="1150035" cy="426880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37018" tIns="18509" rIns="37018" bIns="18509" anchor="t">
                  <a:spAutoFit/>
                </a:bodyPr>
                <a:lstStyle/>
                <a:p>
                  <a:pPr marL="4590">
                    <a:lnSpc>
                      <a:spcPts val="1734"/>
                    </a:lnSpc>
                    <a:spcBef>
                      <a:spcPts val="36"/>
                    </a:spcBef>
                  </a:pPr>
                  <a:r>
                    <a:rPr lang="en-US" sz="4400" b="1" spc="-5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.95</a:t>
                  </a:r>
                  <a:r>
                    <a:rPr lang="en-US" sz="1200" b="1" spc="-5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" panose="020B0604020202020204" pitchFamily="34" charset="0"/>
                      <a:ea typeface="DejaVu Sans"/>
                      <a:cs typeface="Arial" panose="020B0604020202020204" pitchFamily="34" charset="0"/>
                    </a:rPr>
                    <a:t> </a:t>
                  </a:r>
                  <a:endParaRPr lang="ru-RU" sz="1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" name="object 8">
                  <a:extLst>
                    <a:ext uri="{FF2B5EF4-FFF2-40B4-BE49-F238E27FC236}">
                      <a16:creationId xmlns:a16="http://schemas.microsoft.com/office/drawing/2014/main" id="{B7615EBD-C469-006A-FB9E-C98254359C03}"/>
                    </a:ext>
                  </a:extLst>
                </p:cNvPr>
                <p:cNvSpPr/>
                <p:nvPr/>
              </p:nvSpPr>
              <p:spPr>
                <a:xfrm>
                  <a:off x="8967065" y="4935469"/>
                  <a:ext cx="1025019" cy="447409"/>
                </a:xfrm>
                <a:prstGeom prst="rect">
                  <a:avLst/>
                </a:prstGeom>
                <a:noFill/>
                <a:ln w="0"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/>
              </p:style>
              <p:txBody>
                <a:bodyPr wrap="square" lIns="37018" tIns="18509" rIns="37018" bIns="18509" anchor="t">
                  <a:spAutoFit/>
                </a:bodyPr>
                <a:lstStyle/>
                <a:p>
                  <a:pPr>
                    <a:lnSpc>
                      <a:spcPct val="100000"/>
                    </a:lnSpc>
                  </a:pPr>
                  <a:r>
                    <a:rPr lang="en-US" sz="2000" dirty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Arial Black"/>
                      <a:ea typeface="DejaVu Sans"/>
                    </a:rPr>
                    <a:t>bcm </a:t>
                  </a:r>
                  <a:endParaRPr lang="ru-RU" sz="20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500" name="Групувати 499">
              <a:extLst>
                <a:ext uri="{FF2B5EF4-FFF2-40B4-BE49-F238E27FC236}">
                  <a16:creationId xmlns:a16="http://schemas.microsoft.com/office/drawing/2014/main" id="{DCBB0817-D5D1-8D82-B0F9-E6AAF76A4B3F}"/>
                </a:ext>
              </a:extLst>
            </p:cNvPr>
            <p:cNvGrpSpPr/>
            <p:nvPr/>
          </p:nvGrpSpPr>
          <p:grpSpPr>
            <a:xfrm>
              <a:off x="6693353" y="6382791"/>
              <a:ext cx="4914165" cy="346597"/>
              <a:chOff x="6094828" y="6310003"/>
              <a:chExt cx="4914165" cy="346597"/>
            </a:xfrm>
          </p:grpSpPr>
          <p:grpSp>
            <p:nvGrpSpPr>
              <p:cNvPr id="493" name="Групувати 492">
                <a:extLst>
                  <a:ext uri="{FF2B5EF4-FFF2-40B4-BE49-F238E27FC236}">
                    <a16:creationId xmlns:a16="http://schemas.microsoft.com/office/drawing/2014/main" id="{B828A49C-CE5D-04A4-6A2B-A1A3537505AE}"/>
                  </a:ext>
                </a:extLst>
              </p:cNvPr>
              <p:cNvGrpSpPr/>
              <p:nvPr/>
            </p:nvGrpSpPr>
            <p:grpSpPr>
              <a:xfrm>
                <a:off x="6094828" y="6310588"/>
                <a:ext cx="1025438" cy="345426"/>
                <a:chOff x="10293949" y="2467243"/>
                <a:chExt cx="1025438" cy="345426"/>
              </a:xfrm>
            </p:grpSpPr>
            <p:grpSp>
              <p:nvGrpSpPr>
                <p:cNvPr id="483" name="Групувати 482">
                  <a:extLst>
                    <a:ext uri="{FF2B5EF4-FFF2-40B4-BE49-F238E27FC236}">
                      <a16:creationId xmlns:a16="http://schemas.microsoft.com/office/drawing/2014/main" id="{3BFF7187-D62C-D204-7BD0-A4EE9392471C}"/>
                    </a:ext>
                  </a:extLst>
                </p:cNvPr>
                <p:cNvGrpSpPr/>
                <p:nvPr/>
              </p:nvGrpSpPr>
              <p:grpSpPr>
                <a:xfrm>
                  <a:off x="10293949" y="2613713"/>
                  <a:ext cx="312594" cy="198956"/>
                  <a:chOff x="4568921" y="2603617"/>
                  <a:chExt cx="1644053" cy="1046392"/>
                </a:xfrm>
              </p:grpSpPr>
              <p:grpSp>
                <p:nvGrpSpPr>
                  <p:cNvPr id="484" name="Групувати 483">
                    <a:extLst>
                      <a:ext uri="{FF2B5EF4-FFF2-40B4-BE49-F238E27FC236}">
                        <a16:creationId xmlns:a16="http://schemas.microsoft.com/office/drawing/2014/main" id="{2DA53CD1-4F92-EE01-466E-7F2F10516879}"/>
                      </a:ext>
                    </a:extLst>
                  </p:cNvPr>
                  <p:cNvGrpSpPr/>
                  <p:nvPr/>
                </p:nvGrpSpPr>
                <p:grpSpPr>
                  <a:xfrm>
                    <a:off x="4569309" y="3035791"/>
                    <a:ext cx="1642070" cy="614218"/>
                    <a:chOff x="4730350" y="2639282"/>
                    <a:chExt cx="1253118" cy="468731"/>
                  </a:xfrm>
                </p:grpSpPr>
                <p:sp>
                  <p:nvSpPr>
                    <p:cNvPr id="486" name="Полілінія: фігура 485">
                      <a:extLst>
                        <a:ext uri="{FF2B5EF4-FFF2-40B4-BE49-F238E27FC236}">
                          <a16:creationId xmlns:a16="http://schemas.microsoft.com/office/drawing/2014/main" id="{1B479A08-C0D9-032B-D728-183FA98185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0350" y="2657531"/>
                      <a:ext cx="625828" cy="450482"/>
                    </a:xfrm>
                    <a:custGeom>
                      <a:avLst/>
                      <a:gdLst>
                        <a:gd name="connsiteX0" fmla="*/ 664472 w 664472"/>
                        <a:gd name="connsiteY0" fmla="*/ 0 h 982583"/>
                        <a:gd name="connsiteX1" fmla="*/ 664472 w 664472"/>
                        <a:gd name="connsiteY1" fmla="*/ 670 h 982583"/>
                        <a:gd name="connsiteX2" fmla="*/ 1168 w 664472"/>
                        <a:gd name="connsiteY2" fmla="*/ 381620 h 982583"/>
                        <a:gd name="connsiteX3" fmla="*/ 664472 w 664472"/>
                        <a:gd name="connsiteY3" fmla="*/ 743518 h 982583"/>
                        <a:gd name="connsiteX4" fmla="*/ 664472 w 664472"/>
                        <a:gd name="connsiteY4" fmla="*/ 982197 h 982583"/>
                        <a:gd name="connsiteX5" fmla="*/ 663790 w 664472"/>
                        <a:gd name="connsiteY5" fmla="*/ 982583 h 982583"/>
                        <a:gd name="connsiteX6" fmla="*/ 4717 w 664472"/>
                        <a:gd name="connsiteY6" fmla="*/ 616498 h 982583"/>
                        <a:gd name="connsiteX7" fmla="*/ 0 w 664472"/>
                        <a:gd name="connsiteY7" fmla="*/ 381620 h 982583"/>
                        <a:gd name="connsiteX8" fmla="*/ 664472 w 664472"/>
                        <a:gd name="connsiteY8" fmla="*/ 0 h 982583"/>
                        <a:gd name="connsiteX0" fmla="*/ 0 w 664472"/>
                        <a:gd name="connsiteY0" fmla="*/ 380950 h 981913"/>
                        <a:gd name="connsiteX1" fmla="*/ 664472 w 664472"/>
                        <a:gd name="connsiteY1" fmla="*/ 0 h 981913"/>
                        <a:gd name="connsiteX2" fmla="*/ 1168 w 664472"/>
                        <a:gd name="connsiteY2" fmla="*/ 380950 h 981913"/>
                        <a:gd name="connsiteX3" fmla="*/ 664472 w 664472"/>
                        <a:gd name="connsiteY3" fmla="*/ 742848 h 981913"/>
                        <a:gd name="connsiteX4" fmla="*/ 664472 w 664472"/>
                        <a:gd name="connsiteY4" fmla="*/ 981527 h 981913"/>
                        <a:gd name="connsiteX5" fmla="*/ 663790 w 664472"/>
                        <a:gd name="connsiteY5" fmla="*/ 981913 h 981913"/>
                        <a:gd name="connsiteX6" fmla="*/ 4717 w 664472"/>
                        <a:gd name="connsiteY6" fmla="*/ 615828 h 981913"/>
                        <a:gd name="connsiteX7" fmla="*/ 0 w 664472"/>
                        <a:gd name="connsiteY7" fmla="*/ 380950 h 981913"/>
                        <a:gd name="connsiteX0" fmla="*/ 0 w 664472"/>
                        <a:gd name="connsiteY0" fmla="*/ 0 h 600963"/>
                        <a:gd name="connsiteX1" fmla="*/ 1168 w 664472"/>
                        <a:gd name="connsiteY1" fmla="*/ 0 h 600963"/>
                        <a:gd name="connsiteX2" fmla="*/ 664472 w 664472"/>
                        <a:gd name="connsiteY2" fmla="*/ 361898 h 600963"/>
                        <a:gd name="connsiteX3" fmla="*/ 664472 w 664472"/>
                        <a:gd name="connsiteY3" fmla="*/ 600577 h 600963"/>
                        <a:gd name="connsiteX4" fmla="*/ 663790 w 664472"/>
                        <a:gd name="connsiteY4" fmla="*/ 600963 h 600963"/>
                        <a:gd name="connsiteX5" fmla="*/ 4717 w 664472"/>
                        <a:gd name="connsiteY5" fmla="*/ 234878 h 600963"/>
                        <a:gd name="connsiteX6" fmla="*/ 0 w 664472"/>
                        <a:gd name="connsiteY6" fmla="*/ 0 h 600963"/>
                        <a:gd name="connsiteX0" fmla="*/ 5014 w 669486"/>
                        <a:gd name="connsiteY0" fmla="*/ 0 h 600963"/>
                        <a:gd name="connsiteX1" fmla="*/ 6182 w 669486"/>
                        <a:gd name="connsiteY1" fmla="*/ 0 h 600963"/>
                        <a:gd name="connsiteX2" fmla="*/ 669486 w 669486"/>
                        <a:gd name="connsiteY2" fmla="*/ 361898 h 600963"/>
                        <a:gd name="connsiteX3" fmla="*/ 669486 w 669486"/>
                        <a:gd name="connsiteY3" fmla="*/ 600577 h 600963"/>
                        <a:gd name="connsiteX4" fmla="*/ 668804 w 669486"/>
                        <a:gd name="connsiteY4" fmla="*/ 600963 h 600963"/>
                        <a:gd name="connsiteX5" fmla="*/ 206 w 669486"/>
                        <a:gd name="connsiteY5" fmla="*/ 234878 h 600963"/>
                        <a:gd name="connsiteX6" fmla="*/ 5014 w 669486"/>
                        <a:gd name="connsiteY6" fmla="*/ 0 h 600963"/>
                        <a:gd name="connsiteX0" fmla="*/ 5014 w 669486"/>
                        <a:gd name="connsiteY0" fmla="*/ 0 h 736694"/>
                        <a:gd name="connsiteX1" fmla="*/ 6182 w 669486"/>
                        <a:gd name="connsiteY1" fmla="*/ 135731 h 736694"/>
                        <a:gd name="connsiteX2" fmla="*/ 669486 w 669486"/>
                        <a:gd name="connsiteY2" fmla="*/ 497629 h 736694"/>
                        <a:gd name="connsiteX3" fmla="*/ 669486 w 669486"/>
                        <a:gd name="connsiteY3" fmla="*/ 736308 h 736694"/>
                        <a:gd name="connsiteX4" fmla="*/ 668804 w 669486"/>
                        <a:gd name="connsiteY4" fmla="*/ 736694 h 736694"/>
                        <a:gd name="connsiteX5" fmla="*/ 206 w 669486"/>
                        <a:gd name="connsiteY5" fmla="*/ 370609 h 736694"/>
                        <a:gd name="connsiteX6" fmla="*/ 5014 w 669486"/>
                        <a:gd name="connsiteY6" fmla="*/ 0 h 736694"/>
                        <a:gd name="connsiteX0" fmla="*/ 5014 w 669486"/>
                        <a:gd name="connsiteY0" fmla="*/ 0 h 736694"/>
                        <a:gd name="connsiteX1" fmla="*/ 669486 w 669486"/>
                        <a:gd name="connsiteY1" fmla="*/ 497629 h 736694"/>
                        <a:gd name="connsiteX2" fmla="*/ 669486 w 669486"/>
                        <a:gd name="connsiteY2" fmla="*/ 736308 h 736694"/>
                        <a:gd name="connsiteX3" fmla="*/ 668804 w 669486"/>
                        <a:gd name="connsiteY3" fmla="*/ 736694 h 736694"/>
                        <a:gd name="connsiteX4" fmla="*/ 206 w 669486"/>
                        <a:gd name="connsiteY4" fmla="*/ 370609 h 736694"/>
                        <a:gd name="connsiteX5" fmla="*/ 5014 w 669486"/>
                        <a:gd name="connsiteY5" fmla="*/ 0 h 736694"/>
                        <a:gd name="connsiteX0" fmla="*/ 494 w 669728"/>
                        <a:gd name="connsiteY0" fmla="*/ 0 h 767650"/>
                        <a:gd name="connsiteX1" fmla="*/ 669728 w 669728"/>
                        <a:gd name="connsiteY1" fmla="*/ 528585 h 767650"/>
                        <a:gd name="connsiteX2" fmla="*/ 669728 w 669728"/>
                        <a:gd name="connsiteY2" fmla="*/ 767264 h 767650"/>
                        <a:gd name="connsiteX3" fmla="*/ 669046 w 669728"/>
                        <a:gd name="connsiteY3" fmla="*/ 767650 h 767650"/>
                        <a:gd name="connsiteX4" fmla="*/ 448 w 669728"/>
                        <a:gd name="connsiteY4" fmla="*/ 401565 h 767650"/>
                        <a:gd name="connsiteX5" fmla="*/ 494 w 669728"/>
                        <a:gd name="connsiteY5" fmla="*/ 0 h 767650"/>
                        <a:gd name="connsiteX0" fmla="*/ 494 w 672110"/>
                        <a:gd name="connsiteY0" fmla="*/ 0 h 767650"/>
                        <a:gd name="connsiteX1" fmla="*/ 672110 w 672110"/>
                        <a:gd name="connsiteY1" fmla="*/ 373804 h 767650"/>
                        <a:gd name="connsiteX2" fmla="*/ 669728 w 672110"/>
                        <a:gd name="connsiteY2" fmla="*/ 767264 h 767650"/>
                        <a:gd name="connsiteX3" fmla="*/ 669046 w 672110"/>
                        <a:gd name="connsiteY3" fmla="*/ 767650 h 767650"/>
                        <a:gd name="connsiteX4" fmla="*/ 448 w 672110"/>
                        <a:gd name="connsiteY4" fmla="*/ 401565 h 767650"/>
                        <a:gd name="connsiteX5" fmla="*/ 494 w 672110"/>
                        <a:gd name="connsiteY5" fmla="*/ 0 h 767650"/>
                        <a:gd name="connsiteX0" fmla="*/ 494 w 672111"/>
                        <a:gd name="connsiteY0" fmla="*/ 75 h 767725"/>
                        <a:gd name="connsiteX1" fmla="*/ 672110 w 672111"/>
                        <a:gd name="connsiteY1" fmla="*/ 373879 h 767725"/>
                        <a:gd name="connsiteX2" fmla="*/ 669728 w 672111"/>
                        <a:gd name="connsiteY2" fmla="*/ 767339 h 767725"/>
                        <a:gd name="connsiteX3" fmla="*/ 669046 w 672111"/>
                        <a:gd name="connsiteY3" fmla="*/ 767725 h 767725"/>
                        <a:gd name="connsiteX4" fmla="*/ 448 w 672111"/>
                        <a:gd name="connsiteY4" fmla="*/ 401640 h 767725"/>
                        <a:gd name="connsiteX5" fmla="*/ 494 w 672111"/>
                        <a:gd name="connsiteY5" fmla="*/ 75 h 767725"/>
                        <a:gd name="connsiteX0" fmla="*/ 494 w 672111"/>
                        <a:gd name="connsiteY0" fmla="*/ 75 h 767725"/>
                        <a:gd name="connsiteX1" fmla="*/ 672110 w 672111"/>
                        <a:gd name="connsiteY1" fmla="*/ 373879 h 767725"/>
                        <a:gd name="connsiteX2" fmla="*/ 669728 w 672111"/>
                        <a:gd name="connsiteY2" fmla="*/ 767339 h 767725"/>
                        <a:gd name="connsiteX3" fmla="*/ 669046 w 672111"/>
                        <a:gd name="connsiteY3" fmla="*/ 767725 h 767725"/>
                        <a:gd name="connsiteX4" fmla="*/ 448 w 672111"/>
                        <a:gd name="connsiteY4" fmla="*/ 401640 h 767725"/>
                        <a:gd name="connsiteX5" fmla="*/ 494 w 672111"/>
                        <a:gd name="connsiteY5" fmla="*/ 75 h 767725"/>
                        <a:gd name="connsiteX0" fmla="*/ 494 w 672110"/>
                        <a:gd name="connsiteY0" fmla="*/ 50 h 767700"/>
                        <a:gd name="connsiteX1" fmla="*/ 672110 w 672110"/>
                        <a:gd name="connsiteY1" fmla="*/ 373854 h 767700"/>
                        <a:gd name="connsiteX2" fmla="*/ 669728 w 672110"/>
                        <a:gd name="connsiteY2" fmla="*/ 767314 h 767700"/>
                        <a:gd name="connsiteX3" fmla="*/ 669046 w 672110"/>
                        <a:gd name="connsiteY3" fmla="*/ 767700 h 767700"/>
                        <a:gd name="connsiteX4" fmla="*/ 448 w 672110"/>
                        <a:gd name="connsiteY4" fmla="*/ 401615 h 767700"/>
                        <a:gd name="connsiteX5" fmla="*/ 494 w 672110"/>
                        <a:gd name="connsiteY5" fmla="*/ 50 h 767700"/>
                        <a:gd name="connsiteX0" fmla="*/ 494 w 672110"/>
                        <a:gd name="connsiteY0" fmla="*/ 0 h 767650"/>
                        <a:gd name="connsiteX1" fmla="*/ 672110 w 672110"/>
                        <a:gd name="connsiteY1" fmla="*/ 373804 h 767650"/>
                        <a:gd name="connsiteX2" fmla="*/ 669728 w 672110"/>
                        <a:gd name="connsiteY2" fmla="*/ 767264 h 767650"/>
                        <a:gd name="connsiteX3" fmla="*/ 669046 w 672110"/>
                        <a:gd name="connsiteY3" fmla="*/ 767650 h 767650"/>
                        <a:gd name="connsiteX4" fmla="*/ 448 w 672110"/>
                        <a:gd name="connsiteY4" fmla="*/ 401565 h 767650"/>
                        <a:gd name="connsiteX5" fmla="*/ 494 w 672110"/>
                        <a:gd name="connsiteY5" fmla="*/ 0 h 767650"/>
                        <a:gd name="connsiteX0" fmla="*/ 494 w 672110"/>
                        <a:gd name="connsiteY0" fmla="*/ 0 h 767650"/>
                        <a:gd name="connsiteX1" fmla="*/ 672110 w 672110"/>
                        <a:gd name="connsiteY1" fmla="*/ 361898 h 767650"/>
                        <a:gd name="connsiteX2" fmla="*/ 669728 w 672110"/>
                        <a:gd name="connsiteY2" fmla="*/ 767264 h 767650"/>
                        <a:gd name="connsiteX3" fmla="*/ 669046 w 672110"/>
                        <a:gd name="connsiteY3" fmla="*/ 767650 h 767650"/>
                        <a:gd name="connsiteX4" fmla="*/ 448 w 672110"/>
                        <a:gd name="connsiteY4" fmla="*/ 401565 h 767650"/>
                        <a:gd name="connsiteX5" fmla="*/ 494 w 672110"/>
                        <a:gd name="connsiteY5" fmla="*/ 0 h 767650"/>
                        <a:gd name="connsiteX0" fmla="*/ 2710 w 671945"/>
                        <a:gd name="connsiteY0" fmla="*/ 0 h 767650"/>
                        <a:gd name="connsiteX1" fmla="*/ 671945 w 671945"/>
                        <a:gd name="connsiteY1" fmla="*/ 361898 h 767650"/>
                        <a:gd name="connsiteX2" fmla="*/ 669563 w 671945"/>
                        <a:gd name="connsiteY2" fmla="*/ 767264 h 767650"/>
                        <a:gd name="connsiteX3" fmla="*/ 668881 w 671945"/>
                        <a:gd name="connsiteY3" fmla="*/ 767650 h 767650"/>
                        <a:gd name="connsiteX4" fmla="*/ 283 w 671945"/>
                        <a:gd name="connsiteY4" fmla="*/ 401565 h 767650"/>
                        <a:gd name="connsiteX5" fmla="*/ 2710 w 671945"/>
                        <a:gd name="connsiteY5" fmla="*/ 0 h 767650"/>
                        <a:gd name="connsiteX0" fmla="*/ 2710 w 669563"/>
                        <a:gd name="connsiteY0" fmla="*/ 0 h 767650"/>
                        <a:gd name="connsiteX1" fmla="*/ 660039 w 669563"/>
                        <a:gd name="connsiteY1" fmla="*/ 642886 h 767650"/>
                        <a:gd name="connsiteX2" fmla="*/ 669563 w 669563"/>
                        <a:gd name="connsiteY2" fmla="*/ 767264 h 767650"/>
                        <a:gd name="connsiteX3" fmla="*/ 668881 w 669563"/>
                        <a:gd name="connsiteY3" fmla="*/ 767650 h 767650"/>
                        <a:gd name="connsiteX4" fmla="*/ 283 w 669563"/>
                        <a:gd name="connsiteY4" fmla="*/ 401565 h 767650"/>
                        <a:gd name="connsiteX5" fmla="*/ 2710 w 669563"/>
                        <a:gd name="connsiteY5" fmla="*/ 0 h 767650"/>
                        <a:gd name="connsiteX0" fmla="*/ 0 w 671615"/>
                        <a:gd name="connsiteY0" fmla="*/ 0 h 486662"/>
                        <a:gd name="connsiteX1" fmla="*/ 662091 w 671615"/>
                        <a:gd name="connsiteY1" fmla="*/ 361898 h 486662"/>
                        <a:gd name="connsiteX2" fmla="*/ 671615 w 671615"/>
                        <a:gd name="connsiteY2" fmla="*/ 486276 h 486662"/>
                        <a:gd name="connsiteX3" fmla="*/ 670933 w 671615"/>
                        <a:gd name="connsiteY3" fmla="*/ 486662 h 486662"/>
                        <a:gd name="connsiteX4" fmla="*/ 2335 w 671615"/>
                        <a:gd name="connsiteY4" fmla="*/ 120577 h 486662"/>
                        <a:gd name="connsiteX5" fmla="*/ 0 w 671615"/>
                        <a:gd name="connsiteY5" fmla="*/ 0 h 486662"/>
                        <a:gd name="connsiteX0" fmla="*/ 0 w 671615"/>
                        <a:gd name="connsiteY0" fmla="*/ 0 h 486276"/>
                        <a:gd name="connsiteX1" fmla="*/ 662091 w 671615"/>
                        <a:gd name="connsiteY1" fmla="*/ 361898 h 486276"/>
                        <a:gd name="connsiteX2" fmla="*/ 671615 w 671615"/>
                        <a:gd name="connsiteY2" fmla="*/ 486276 h 486276"/>
                        <a:gd name="connsiteX3" fmla="*/ 653298 w 671615"/>
                        <a:gd name="connsiteY3" fmla="*/ 469027 h 486276"/>
                        <a:gd name="connsiteX4" fmla="*/ 2335 w 671615"/>
                        <a:gd name="connsiteY4" fmla="*/ 120577 h 486276"/>
                        <a:gd name="connsiteX5" fmla="*/ 0 w 671615"/>
                        <a:gd name="connsiteY5" fmla="*/ 0 h 486276"/>
                        <a:gd name="connsiteX0" fmla="*/ 0 w 662091"/>
                        <a:gd name="connsiteY0" fmla="*/ 0 h 469027"/>
                        <a:gd name="connsiteX1" fmla="*/ 662091 w 662091"/>
                        <a:gd name="connsiteY1" fmla="*/ 361898 h 469027"/>
                        <a:gd name="connsiteX2" fmla="*/ 653298 w 662091"/>
                        <a:gd name="connsiteY2" fmla="*/ 469027 h 469027"/>
                        <a:gd name="connsiteX3" fmla="*/ 2335 w 662091"/>
                        <a:gd name="connsiteY3" fmla="*/ 120577 h 469027"/>
                        <a:gd name="connsiteX4" fmla="*/ 0 w 662091"/>
                        <a:gd name="connsiteY4" fmla="*/ 0 h 469027"/>
                        <a:gd name="connsiteX0" fmla="*/ 0 w 662091"/>
                        <a:gd name="connsiteY0" fmla="*/ 0 h 476585"/>
                        <a:gd name="connsiteX1" fmla="*/ 662091 w 662091"/>
                        <a:gd name="connsiteY1" fmla="*/ 361898 h 476585"/>
                        <a:gd name="connsiteX2" fmla="*/ 660856 w 662091"/>
                        <a:gd name="connsiteY2" fmla="*/ 476585 h 476585"/>
                        <a:gd name="connsiteX3" fmla="*/ 2335 w 662091"/>
                        <a:gd name="connsiteY3" fmla="*/ 120577 h 476585"/>
                        <a:gd name="connsiteX4" fmla="*/ 0 w 662091"/>
                        <a:gd name="connsiteY4" fmla="*/ 0 h 4765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2091" h="476585">
                          <a:moveTo>
                            <a:pt x="0" y="0"/>
                          </a:moveTo>
                          <a:cubicBezTo>
                            <a:pt x="140519" y="85860"/>
                            <a:pt x="563105" y="301752"/>
                            <a:pt x="662091" y="361898"/>
                          </a:cubicBezTo>
                          <a:cubicBezTo>
                            <a:pt x="661679" y="400127"/>
                            <a:pt x="661268" y="438356"/>
                            <a:pt x="660856" y="476585"/>
                          </a:cubicBezTo>
                          <a:lnTo>
                            <a:pt x="2335" y="120577"/>
                          </a:lnTo>
                          <a:cubicBezTo>
                            <a:pt x="763" y="42284"/>
                            <a:pt x="1572" y="78293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65D7FF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uk-UA"/>
                    </a:p>
                  </p:txBody>
                </p:sp>
                <p:sp>
                  <p:nvSpPr>
                    <p:cNvPr id="487" name="Полілінія: фігура 486">
                      <a:extLst>
                        <a:ext uri="{FF2B5EF4-FFF2-40B4-BE49-F238E27FC236}">
                          <a16:creationId xmlns:a16="http://schemas.microsoft.com/office/drawing/2014/main" id="{876526A9-6D1F-BDEB-E571-A38910C7D5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2776" y="2639282"/>
                      <a:ext cx="630692" cy="468731"/>
                    </a:xfrm>
                    <a:custGeom>
                      <a:avLst/>
                      <a:gdLst>
                        <a:gd name="connsiteX0" fmla="*/ 662330 w 664659"/>
                        <a:gd name="connsiteY0" fmla="*/ 0 h 610191"/>
                        <a:gd name="connsiteX1" fmla="*/ 664659 w 664659"/>
                        <a:gd name="connsiteY1" fmla="*/ 234211 h 610191"/>
                        <a:gd name="connsiteX2" fmla="*/ 0 w 664659"/>
                        <a:gd name="connsiteY2" fmla="*/ 610191 h 610191"/>
                        <a:gd name="connsiteX3" fmla="*/ 0 w 664659"/>
                        <a:gd name="connsiteY3" fmla="*/ 371512 h 610191"/>
                        <a:gd name="connsiteX4" fmla="*/ 7675 w 664659"/>
                        <a:gd name="connsiteY4" fmla="*/ 375699 h 610191"/>
                        <a:gd name="connsiteX5" fmla="*/ 662330 w 664659"/>
                        <a:gd name="connsiteY5" fmla="*/ 0 h 610191"/>
                        <a:gd name="connsiteX0" fmla="*/ 662330 w 664659"/>
                        <a:gd name="connsiteY0" fmla="*/ 0 h 610191"/>
                        <a:gd name="connsiteX1" fmla="*/ 664659 w 664659"/>
                        <a:gd name="connsiteY1" fmla="*/ 234211 h 610191"/>
                        <a:gd name="connsiteX2" fmla="*/ 0 w 664659"/>
                        <a:gd name="connsiteY2" fmla="*/ 610191 h 610191"/>
                        <a:gd name="connsiteX3" fmla="*/ 0 w 664659"/>
                        <a:gd name="connsiteY3" fmla="*/ 371512 h 610191"/>
                        <a:gd name="connsiteX4" fmla="*/ 662330 w 664659"/>
                        <a:gd name="connsiteY4" fmla="*/ 0 h 610191"/>
                        <a:gd name="connsiteX0" fmla="*/ 662330 w 664659"/>
                        <a:gd name="connsiteY0" fmla="*/ 0 h 610191"/>
                        <a:gd name="connsiteX1" fmla="*/ 664659 w 664659"/>
                        <a:gd name="connsiteY1" fmla="*/ 234211 h 610191"/>
                        <a:gd name="connsiteX2" fmla="*/ 0 w 664659"/>
                        <a:gd name="connsiteY2" fmla="*/ 610191 h 610191"/>
                        <a:gd name="connsiteX3" fmla="*/ 9525 w 664659"/>
                        <a:gd name="connsiteY3" fmla="*/ 209587 h 610191"/>
                        <a:gd name="connsiteX4" fmla="*/ 662330 w 664659"/>
                        <a:gd name="connsiteY4" fmla="*/ 0 h 610191"/>
                        <a:gd name="connsiteX0" fmla="*/ 671855 w 671903"/>
                        <a:gd name="connsiteY0" fmla="*/ 0 h 769735"/>
                        <a:gd name="connsiteX1" fmla="*/ 664659 w 671903"/>
                        <a:gd name="connsiteY1" fmla="*/ 393755 h 769735"/>
                        <a:gd name="connsiteX2" fmla="*/ 0 w 671903"/>
                        <a:gd name="connsiteY2" fmla="*/ 769735 h 769735"/>
                        <a:gd name="connsiteX3" fmla="*/ 9525 w 671903"/>
                        <a:gd name="connsiteY3" fmla="*/ 369131 h 769735"/>
                        <a:gd name="connsiteX4" fmla="*/ 671855 w 671903"/>
                        <a:gd name="connsiteY4" fmla="*/ 0 h 769735"/>
                        <a:gd name="connsiteX0" fmla="*/ 669474 w 669522"/>
                        <a:gd name="connsiteY0" fmla="*/ 0 h 776879"/>
                        <a:gd name="connsiteX1" fmla="*/ 662278 w 669522"/>
                        <a:gd name="connsiteY1" fmla="*/ 393755 h 776879"/>
                        <a:gd name="connsiteX2" fmla="*/ 0 w 669522"/>
                        <a:gd name="connsiteY2" fmla="*/ 776879 h 776879"/>
                        <a:gd name="connsiteX3" fmla="*/ 7144 w 669522"/>
                        <a:gd name="connsiteY3" fmla="*/ 369131 h 776879"/>
                        <a:gd name="connsiteX4" fmla="*/ 669474 w 669522"/>
                        <a:gd name="connsiteY4" fmla="*/ 0 h 776879"/>
                        <a:gd name="connsiteX0" fmla="*/ 669474 w 669522"/>
                        <a:gd name="connsiteY0" fmla="*/ 0 h 776879"/>
                        <a:gd name="connsiteX1" fmla="*/ 662278 w 669522"/>
                        <a:gd name="connsiteY1" fmla="*/ 393755 h 776879"/>
                        <a:gd name="connsiteX2" fmla="*/ 0 w 669522"/>
                        <a:gd name="connsiteY2" fmla="*/ 776879 h 776879"/>
                        <a:gd name="connsiteX3" fmla="*/ 26 w 669522"/>
                        <a:gd name="connsiteY3" fmla="*/ 640593 h 776879"/>
                        <a:gd name="connsiteX4" fmla="*/ 669474 w 669522"/>
                        <a:gd name="connsiteY4" fmla="*/ 0 h 776879"/>
                        <a:gd name="connsiteX0" fmla="*/ 667102 w 667167"/>
                        <a:gd name="connsiteY0" fmla="*/ 0 h 507797"/>
                        <a:gd name="connsiteX1" fmla="*/ 662278 w 667167"/>
                        <a:gd name="connsiteY1" fmla="*/ 124673 h 507797"/>
                        <a:gd name="connsiteX2" fmla="*/ 0 w 667167"/>
                        <a:gd name="connsiteY2" fmla="*/ 507797 h 507797"/>
                        <a:gd name="connsiteX3" fmla="*/ 26 w 667167"/>
                        <a:gd name="connsiteY3" fmla="*/ 371511 h 507797"/>
                        <a:gd name="connsiteX4" fmla="*/ 667102 w 667167"/>
                        <a:gd name="connsiteY4" fmla="*/ 0 h 507797"/>
                        <a:gd name="connsiteX0" fmla="*/ 667102 w 667167"/>
                        <a:gd name="connsiteY0" fmla="*/ 0 h 507797"/>
                        <a:gd name="connsiteX1" fmla="*/ 662278 w 667167"/>
                        <a:gd name="connsiteY1" fmla="*/ 124673 h 507797"/>
                        <a:gd name="connsiteX2" fmla="*/ 0 w 667167"/>
                        <a:gd name="connsiteY2" fmla="*/ 507797 h 507797"/>
                        <a:gd name="connsiteX3" fmla="*/ 26 w 667167"/>
                        <a:gd name="connsiteY3" fmla="*/ 404848 h 507797"/>
                        <a:gd name="connsiteX4" fmla="*/ 667102 w 667167"/>
                        <a:gd name="connsiteY4" fmla="*/ 0 h 507797"/>
                        <a:gd name="connsiteX0" fmla="*/ 667102 w 667167"/>
                        <a:gd name="connsiteY0" fmla="*/ 0 h 507797"/>
                        <a:gd name="connsiteX1" fmla="*/ 662278 w 667167"/>
                        <a:gd name="connsiteY1" fmla="*/ 124673 h 507797"/>
                        <a:gd name="connsiteX2" fmla="*/ 0 w 667167"/>
                        <a:gd name="connsiteY2" fmla="*/ 507797 h 507797"/>
                        <a:gd name="connsiteX3" fmla="*/ 26 w 667167"/>
                        <a:gd name="connsiteY3" fmla="*/ 392942 h 507797"/>
                        <a:gd name="connsiteX4" fmla="*/ 667102 w 667167"/>
                        <a:gd name="connsiteY4" fmla="*/ 0 h 507797"/>
                        <a:gd name="connsiteX0" fmla="*/ 664730 w 664830"/>
                        <a:gd name="connsiteY0" fmla="*/ 0 h 495891"/>
                        <a:gd name="connsiteX1" fmla="*/ 662278 w 664830"/>
                        <a:gd name="connsiteY1" fmla="*/ 112767 h 495891"/>
                        <a:gd name="connsiteX2" fmla="*/ 0 w 664830"/>
                        <a:gd name="connsiteY2" fmla="*/ 495891 h 495891"/>
                        <a:gd name="connsiteX3" fmla="*/ 26 w 664830"/>
                        <a:gd name="connsiteY3" fmla="*/ 381036 h 495891"/>
                        <a:gd name="connsiteX4" fmla="*/ 664730 w 664830"/>
                        <a:gd name="connsiteY4" fmla="*/ 0 h 49589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4830" h="495891">
                          <a:moveTo>
                            <a:pt x="664730" y="0"/>
                          </a:moveTo>
                          <a:cubicBezTo>
                            <a:pt x="665506" y="78070"/>
                            <a:pt x="661502" y="34697"/>
                            <a:pt x="662278" y="112767"/>
                          </a:cubicBezTo>
                          <a:lnTo>
                            <a:pt x="0" y="495891"/>
                          </a:lnTo>
                          <a:cubicBezTo>
                            <a:pt x="9" y="450462"/>
                            <a:pt x="17" y="426465"/>
                            <a:pt x="26" y="381036"/>
                          </a:cubicBezTo>
                          <a:lnTo>
                            <a:pt x="664730" y="0"/>
                          </a:lnTo>
                          <a:close/>
                        </a:path>
                      </a:pathLst>
                    </a:custGeom>
                    <a:solidFill>
                      <a:srgbClr val="00B0F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uk-UA"/>
                    </a:p>
                  </p:txBody>
                </p:sp>
              </p:grpSp>
              <p:sp>
                <p:nvSpPr>
                  <p:cNvPr id="485" name="Полілінія: фігура 484">
                    <a:extLst>
                      <a:ext uri="{FF2B5EF4-FFF2-40B4-BE49-F238E27FC236}">
                        <a16:creationId xmlns:a16="http://schemas.microsoft.com/office/drawing/2014/main" id="{B9D5C458-0CC5-B24D-BA9C-9A377FB79A92}"/>
                      </a:ext>
                    </a:extLst>
                  </p:cNvPr>
                  <p:cNvSpPr/>
                  <p:nvPr/>
                </p:nvSpPr>
                <p:spPr>
                  <a:xfrm>
                    <a:off x="4568921" y="2603617"/>
                    <a:ext cx="1644053" cy="914512"/>
                  </a:xfrm>
                  <a:custGeom>
                    <a:avLst/>
                    <a:gdLst>
                      <a:gd name="connsiteX0" fmla="*/ 680770 w 1325634"/>
                      <a:gd name="connsiteY0" fmla="*/ 0 h 757066"/>
                      <a:gd name="connsiteX1" fmla="*/ 1325627 w 1325634"/>
                      <a:gd name="connsiteY1" fmla="*/ 380700 h 757066"/>
                      <a:gd name="connsiteX2" fmla="*/ 1325634 w 1325634"/>
                      <a:gd name="connsiteY2" fmla="*/ 381367 h 757066"/>
                      <a:gd name="connsiteX3" fmla="*/ 670979 w 1325634"/>
                      <a:gd name="connsiteY3" fmla="*/ 757066 h 757066"/>
                      <a:gd name="connsiteX4" fmla="*/ 0 w 1325634"/>
                      <a:gd name="connsiteY4" fmla="*/ 390981 h 757066"/>
                      <a:gd name="connsiteX5" fmla="*/ 680770 w 1325634"/>
                      <a:gd name="connsiteY5" fmla="*/ 0 h 757066"/>
                      <a:gd name="connsiteX0" fmla="*/ 680770 w 1325627"/>
                      <a:gd name="connsiteY0" fmla="*/ 0 h 757066"/>
                      <a:gd name="connsiteX1" fmla="*/ 1325627 w 1325627"/>
                      <a:gd name="connsiteY1" fmla="*/ 380700 h 757066"/>
                      <a:gd name="connsiteX2" fmla="*/ 1323718 w 1325627"/>
                      <a:gd name="connsiteY2" fmla="*/ 367952 h 757066"/>
                      <a:gd name="connsiteX3" fmla="*/ 670979 w 1325627"/>
                      <a:gd name="connsiteY3" fmla="*/ 757066 h 757066"/>
                      <a:gd name="connsiteX4" fmla="*/ 0 w 1325627"/>
                      <a:gd name="connsiteY4" fmla="*/ 390981 h 757066"/>
                      <a:gd name="connsiteX5" fmla="*/ 680770 w 1325627"/>
                      <a:gd name="connsiteY5" fmla="*/ 0 h 757066"/>
                      <a:gd name="connsiteX0" fmla="*/ 680770 w 1325627"/>
                      <a:gd name="connsiteY0" fmla="*/ 0 h 757066"/>
                      <a:gd name="connsiteX1" fmla="*/ 1325627 w 1325627"/>
                      <a:gd name="connsiteY1" fmla="*/ 380700 h 757066"/>
                      <a:gd name="connsiteX2" fmla="*/ 670979 w 1325627"/>
                      <a:gd name="connsiteY2" fmla="*/ 757066 h 757066"/>
                      <a:gd name="connsiteX3" fmla="*/ 0 w 1325627"/>
                      <a:gd name="connsiteY3" fmla="*/ 390981 h 757066"/>
                      <a:gd name="connsiteX4" fmla="*/ 680770 w 1325627"/>
                      <a:gd name="connsiteY4" fmla="*/ 0 h 757066"/>
                      <a:gd name="connsiteX0" fmla="*/ 680770 w 1323711"/>
                      <a:gd name="connsiteY0" fmla="*/ 0 h 757066"/>
                      <a:gd name="connsiteX1" fmla="*/ 1323711 w 1323711"/>
                      <a:gd name="connsiteY1" fmla="*/ 373035 h 757066"/>
                      <a:gd name="connsiteX2" fmla="*/ 670979 w 1323711"/>
                      <a:gd name="connsiteY2" fmla="*/ 757066 h 757066"/>
                      <a:gd name="connsiteX3" fmla="*/ 0 w 1323711"/>
                      <a:gd name="connsiteY3" fmla="*/ 390981 h 757066"/>
                      <a:gd name="connsiteX4" fmla="*/ 680770 w 1323711"/>
                      <a:gd name="connsiteY4" fmla="*/ 0 h 757066"/>
                      <a:gd name="connsiteX0" fmla="*/ 680770 w 1323711"/>
                      <a:gd name="connsiteY0" fmla="*/ 0 h 747484"/>
                      <a:gd name="connsiteX1" fmla="*/ 1323711 w 1323711"/>
                      <a:gd name="connsiteY1" fmla="*/ 373035 h 747484"/>
                      <a:gd name="connsiteX2" fmla="*/ 661398 w 1323711"/>
                      <a:gd name="connsiteY2" fmla="*/ 747484 h 747484"/>
                      <a:gd name="connsiteX3" fmla="*/ 0 w 1323711"/>
                      <a:gd name="connsiteY3" fmla="*/ 390981 h 747484"/>
                      <a:gd name="connsiteX4" fmla="*/ 680770 w 1323711"/>
                      <a:gd name="connsiteY4" fmla="*/ 0 h 747484"/>
                      <a:gd name="connsiteX0" fmla="*/ 680770 w 1323711"/>
                      <a:gd name="connsiteY0" fmla="*/ 0 h 751316"/>
                      <a:gd name="connsiteX1" fmla="*/ 1323711 w 1323711"/>
                      <a:gd name="connsiteY1" fmla="*/ 373035 h 751316"/>
                      <a:gd name="connsiteX2" fmla="*/ 661398 w 1323711"/>
                      <a:gd name="connsiteY2" fmla="*/ 751316 h 751316"/>
                      <a:gd name="connsiteX3" fmla="*/ 0 w 1323711"/>
                      <a:gd name="connsiteY3" fmla="*/ 390981 h 751316"/>
                      <a:gd name="connsiteX4" fmla="*/ 680770 w 1323711"/>
                      <a:gd name="connsiteY4" fmla="*/ 0 h 751316"/>
                      <a:gd name="connsiteX0" fmla="*/ 671188 w 1314129"/>
                      <a:gd name="connsiteY0" fmla="*/ 0 h 751316"/>
                      <a:gd name="connsiteX1" fmla="*/ 1314129 w 1314129"/>
                      <a:gd name="connsiteY1" fmla="*/ 373035 h 751316"/>
                      <a:gd name="connsiteX2" fmla="*/ 651816 w 1314129"/>
                      <a:gd name="connsiteY2" fmla="*/ 751316 h 751316"/>
                      <a:gd name="connsiteX3" fmla="*/ 0 w 1314129"/>
                      <a:gd name="connsiteY3" fmla="*/ 392897 h 751316"/>
                      <a:gd name="connsiteX4" fmla="*/ 671188 w 1314129"/>
                      <a:gd name="connsiteY4" fmla="*/ 0 h 751316"/>
                      <a:gd name="connsiteX0" fmla="*/ 667354 w 1314129"/>
                      <a:gd name="connsiteY0" fmla="*/ 0 h 735985"/>
                      <a:gd name="connsiteX1" fmla="*/ 1314129 w 1314129"/>
                      <a:gd name="connsiteY1" fmla="*/ 357704 h 735985"/>
                      <a:gd name="connsiteX2" fmla="*/ 651816 w 1314129"/>
                      <a:gd name="connsiteY2" fmla="*/ 735985 h 735985"/>
                      <a:gd name="connsiteX3" fmla="*/ 0 w 1314129"/>
                      <a:gd name="connsiteY3" fmla="*/ 377566 h 735985"/>
                      <a:gd name="connsiteX4" fmla="*/ 667354 w 1314129"/>
                      <a:gd name="connsiteY4" fmla="*/ 0 h 735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14129" h="735985">
                        <a:moveTo>
                          <a:pt x="667354" y="0"/>
                        </a:moveTo>
                        <a:lnTo>
                          <a:pt x="1314129" y="357704"/>
                        </a:lnTo>
                        <a:lnTo>
                          <a:pt x="651816" y="735985"/>
                        </a:lnTo>
                        <a:lnTo>
                          <a:pt x="0" y="377566"/>
                        </a:lnTo>
                        <a:lnTo>
                          <a:pt x="667354" y="0"/>
                        </a:lnTo>
                        <a:close/>
                      </a:path>
                    </a:pathLst>
                  </a:custGeom>
                  <a:solidFill>
                    <a:srgbClr val="AFEAFF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/>
                  </a:p>
                </p:txBody>
              </p:sp>
            </p:grpSp>
            <p:sp>
              <p:nvSpPr>
                <p:cNvPr id="251" name="TextBox 250">
                  <a:extLst>
                    <a:ext uri="{FF2B5EF4-FFF2-40B4-BE49-F238E27FC236}">
                      <a16:creationId xmlns:a16="http://schemas.microsoft.com/office/drawing/2014/main" id="{BBEFF68F-C514-27BF-17A3-493C60F53C53}"/>
                    </a:ext>
                  </a:extLst>
                </p:cNvPr>
                <p:cNvSpPr txBox="1"/>
                <p:nvPr/>
              </p:nvSpPr>
              <p:spPr>
                <a:xfrm>
                  <a:off x="10353431" y="2467243"/>
                  <a:ext cx="965956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en-US" sz="1600" b="0" i="0" u="none" strike="noStrike" dirty="0">
                      <a:solidFill>
                        <a:srgbClr val="000000"/>
                      </a:solidFill>
                      <a:effectLst/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Aquifer</a:t>
                  </a:r>
                  <a:r>
                    <a:rPr lang="en-US" sz="1600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 </a:t>
                  </a:r>
                  <a:endParaRPr lang="uk-UA" sz="1600" dirty="0"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  <p:grpSp>
            <p:nvGrpSpPr>
              <p:cNvPr id="494" name="Групувати 493">
                <a:extLst>
                  <a:ext uri="{FF2B5EF4-FFF2-40B4-BE49-F238E27FC236}">
                    <a16:creationId xmlns:a16="http://schemas.microsoft.com/office/drawing/2014/main" id="{EF17CBC6-A70E-29AF-6B28-3F807E6C1819}"/>
                  </a:ext>
                </a:extLst>
              </p:cNvPr>
              <p:cNvGrpSpPr/>
              <p:nvPr/>
            </p:nvGrpSpPr>
            <p:grpSpPr>
              <a:xfrm>
                <a:off x="7367300" y="6313586"/>
                <a:ext cx="1908829" cy="339430"/>
                <a:chOff x="10681312" y="2964649"/>
                <a:chExt cx="1908829" cy="339430"/>
              </a:xfrm>
            </p:grpSpPr>
            <p:grpSp>
              <p:nvGrpSpPr>
                <p:cNvPr id="488" name="Групувати 487">
                  <a:extLst>
                    <a:ext uri="{FF2B5EF4-FFF2-40B4-BE49-F238E27FC236}">
                      <a16:creationId xmlns:a16="http://schemas.microsoft.com/office/drawing/2014/main" id="{EA21D186-F9C2-5991-0DBC-AFD93763A37C}"/>
                    </a:ext>
                  </a:extLst>
                </p:cNvPr>
                <p:cNvGrpSpPr/>
                <p:nvPr/>
              </p:nvGrpSpPr>
              <p:grpSpPr>
                <a:xfrm>
                  <a:off x="10681312" y="3095879"/>
                  <a:ext cx="323748" cy="208200"/>
                  <a:chOff x="4568921" y="2592718"/>
                  <a:chExt cx="1644053" cy="1057291"/>
                </a:xfrm>
              </p:grpSpPr>
              <p:grpSp>
                <p:nvGrpSpPr>
                  <p:cNvPr id="489" name="Групувати 488">
                    <a:extLst>
                      <a:ext uri="{FF2B5EF4-FFF2-40B4-BE49-F238E27FC236}">
                        <a16:creationId xmlns:a16="http://schemas.microsoft.com/office/drawing/2014/main" id="{2191B74A-A2C7-5726-5257-6D975685DBA5}"/>
                      </a:ext>
                    </a:extLst>
                  </p:cNvPr>
                  <p:cNvGrpSpPr/>
                  <p:nvPr/>
                </p:nvGrpSpPr>
                <p:grpSpPr>
                  <a:xfrm>
                    <a:off x="4569309" y="3035791"/>
                    <a:ext cx="1642070" cy="614218"/>
                    <a:chOff x="4730350" y="2639282"/>
                    <a:chExt cx="1253118" cy="468731"/>
                  </a:xfrm>
                </p:grpSpPr>
                <p:sp>
                  <p:nvSpPr>
                    <p:cNvPr id="491" name="Полілінія: фігура 490">
                      <a:extLst>
                        <a:ext uri="{FF2B5EF4-FFF2-40B4-BE49-F238E27FC236}">
                          <a16:creationId xmlns:a16="http://schemas.microsoft.com/office/drawing/2014/main" id="{60AA90E8-D35C-AF50-8822-3968010FA8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30350" y="2657531"/>
                      <a:ext cx="625828" cy="450482"/>
                    </a:xfrm>
                    <a:custGeom>
                      <a:avLst/>
                      <a:gdLst>
                        <a:gd name="connsiteX0" fmla="*/ 664472 w 664472"/>
                        <a:gd name="connsiteY0" fmla="*/ 0 h 982583"/>
                        <a:gd name="connsiteX1" fmla="*/ 664472 w 664472"/>
                        <a:gd name="connsiteY1" fmla="*/ 670 h 982583"/>
                        <a:gd name="connsiteX2" fmla="*/ 1168 w 664472"/>
                        <a:gd name="connsiteY2" fmla="*/ 381620 h 982583"/>
                        <a:gd name="connsiteX3" fmla="*/ 664472 w 664472"/>
                        <a:gd name="connsiteY3" fmla="*/ 743518 h 982583"/>
                        <a:gd name="connsiteX4" fmla="*/ 664472 w 664472"/>
                        <a:gd name="connsiteY4" fmla="*/ 982197 h 982583"/>
                        <a:gd name="connsiteX5" fmla="*/ 663790 w 664472"/>
                        <a:gd name="connsiteY5" fmla="*/ 982583 h 982583"/>
                        <a:gd name="connsiteX6" fmla="*/ 4717 w 664472"/>
                        <a:gd name="connsiteY6" fmla="*/ 616498 h 982583"/>
                        <a:gd name="connsiteX7" fmla="*/ 0 w 664472"/>
                        <a:gd name="connsiteY7" fmla="*/ 381620 h 982583"/>
                        <a:gd name="connsiteX8" fmla="*/ 664472 w 664472"/>
                        <a:gd name="connsiteY8" fmla="*/ 0 h 982583"/>
                        <a:gd name="connsiteX0" fmla="*/ 0 w 664472"/>
                        <a:gd name="connsiteY0" fmla="*/ 380950 h 981913"/>
                        <a:gd name="connsiteX1" fmla="*/ 664472 w 664472"/>
                        <a:gd name="connsiteY1" fmla="*/ 0 h 981913"/>
                        <a:gd name="connsiteX2" fmla="*/ 1168 w 664472"/>
                        <a:gd name="connsiteY2" fmla="*/ 380950 h 981913"/>
                        <a:gd name="connsiteX3" fmla="*/ 664472 w 664472"/>
                        <a:gd name="connsiteY3" fmla="*/ 742848 h 981913"/>
                        <a:gd name="connsiteX4" fmla="*/ 664472 w 664472"/>
                        <a:gd name="connsiteY4" fmla="*/ 981527 h 981913"/>
                        <a:gd name="connsiteX5" fmla="*/ 663790 w 664472"/>
                        <a:gd name="connsiteY5" fmla="*/ 981913 h 981913"/>
                        <a:gd name="connsiteX6" fmla="*/ 4717 w 664472"/>
                        <a:gd name="connsiteY6" fmla="*/ 615828 h 981913"/>
                        <a:gd name="connsiteX7" fmla="*/ 0 w 664472"/>
                        <a:gd name="connsiteY7" fmla="*/ 380950 h 981913"/>
                        <a:gd name="connsiteX0" fmla="*/ 0 w 664472"/>
                        <a:gd name="connsiteY0" fmla="*/ 0 h 600963"/>
                        <a:gd name="connsiteX1" fmla="*/ 1168 w 664472"/>
                        <a:gd name="connsiteY1" fmla="*/ 0 h 600963"/>
                        <a:gd name="connsiteX2" fmla="*/ 664472 w 664472"/>
                        <a:gd name="connsiteY2" fmla="*/ 361898 h 600963"/>
                        <a:gd name="connsiteX3" fmla="*/ 664472 w 664472"/>
                        <a:gd name="connsiteY3" fmla="*/ 600577 h 600963"/>
                        <a:gd name="connsiteX4" fmla="*/ 663790 w 664472"/>
                        <a:gd name="connsiteY4" fmla="*/ 600963 h 600963"/>
                        <a:gd name="connsiteX5" fmla="*/ 4717 w 664472"/>
                        <a:gd name="connsiteY5" fmla="*/ 234878 h 600963"/>
                        <a:gd name="connsiteX6" fmla="*/ 0 w 664472"/>
                        <a:gd name="connsiteY6" fmla="*/ 0 h 600963"/>
                        <a:gd name="connsiteX0" fmla="*/ 5014 w 669486"/>
                        <a:gd name="connsiteY0" fmla="*/ 0 h 600963"/>
                        <a:gd name="connsiteX1" fmla="*/ 6182 w 669486"/>
                        <a:gd name="connsiteY1" fmla="*/ 0 h 600963"/>
                        <a:gd name="connsiteX2" fmla="*/ 669486 w 669486"/>
                        <a:gd name="connsiteY2" fmla="*/ 361898 h 600963"/>
                        <a:gd name="connsiteX3" fmla="*/ 669486 w 669486"/>
                        <a:gd name="connsiteY3" fmla="*/ 600577 h 600963"/>
                        <a:gd name="connsiteX4" fmla="*/ 668804 w 669486"/>
                        <a:gd name="connsiteY4" fmla="*/ 600963 h 600963"/>
                        <a:gd name="connsiteX5" fmla="*/ 206 w 669486"/>
                        <a:gd name="connsiteY5" fmla="*/ 234878 h 600963"/>
                        <a:gd name="connsiteX6" fmla="*/ 5014 w 669486"/>
                        <a:gd name="connsiteY6" fmla="*/ 0 h 600963"/>
                        <a:gd name="connsiteX0" fmla="*/ 5014 w 669486"/>
                        <a:gd name="connsiteY0" fmla="*/ 0 h 736694"/>
                        <a:gd name="connsiteX1" fmla="*/ 6182 w 669486"/>
                        <a:gd name="connsiteY1" fmla="*/ 135731 h 736694"/>
                        <a:gd name="connsiteX2" fmla="*/ 669486 w 669486"/>
                        <a:gd name="connsiteY2" fmla="*/ 497629 h 736694"/>
                        <a:gd name="connsiteX3" fmla="*/ 669486 w 669486"/>
                        <a:gd name="connsiteY3" fmla="*/ 736308 h 736694"/>
                        <a:gd name="connsiteX4" fmla="*/ 668804 w 669486"/>
                        <a:gd name="connsiteY4" fmla="*/ 736694 h 736694"/>
                        <a:gd name="connsiteX5" fmla="*/ 206 w 669486"/>
                        <a:gd name="connsiteY5" fmla="*/ 370609 h 736694"/>
                        <a:gd name="connsiteX6" fmla="*/ 5014 w 669486"/>
                        <a:gd name="connsiteY6" fmla="*/ 0 h 736694"/>
                        <a:gd name="connsiteX0" fmla="*/ 5014 w 669486"/>
                        <a:gd name="connsiteY0" fmla="*/ 0 h 736694"/>
                        <a:gd name="connsiteX1" fmla="*/ 669486 w 669486"/>
                        <a:gd name="connsiteY1" fmla="*/ 497629 h 736694"/>
                        <a:gd name="connsiteX2" fmla="*/ 669486 w 669486"/>
                        <a:gd name="connsiteY2" fmla="*/ 736308 h 736694"/>
                        <a:gd name="connsiteX3" fmla="*/ 668804 w 669486"/>
                        <a:gd name="connsiteY3" fmla="*/ 736694 h 736694"/>
                        <a:gd name="connsiteX4" fmla="*/ 206 w 669486"/>
                        <a:gd name="connsiteY4" fmla="*/ 370609 h 736694"/>
                        <a:gd name="connsiteX5" fmla="*/ 5014 w 669486"/>
                        <a:gd name="connsiteY5" fmla="*/ 0 h 736694"/>
                        <a:gd name="connsiteX0" fmla="*/ 494 w 669728"/>
                        <a:gd name="connsiteY0" fmla="*/ 0 h 767650"/>
                        <a:gd name="connsiteX1" fmla="*/ 669728 w 669728"/>
                        <a:gd name="connsiteY1" fmla="*/ 528585 h 767650"/>
                        <a:gd name="connsiteX2" fmla="*/ 669728 w 669728"/>
                        <a:gd name="connsiteY2" fmla="*/ 767264 h 767650"/>
                        <a:gd name="connsiteX3" fmla="*/ 669046 w 669728"/>
                        <a:gd name="connsiteY3" fmla="*/ 767650 h 767650"/>
                        <a:gd name="connsiteX4" fmla="*/ 448 w 669728"/>
                        <a:gd name="connsiteY4" fmla="*/ 401565 h 767650"/>
                        <a:gd name="connsiteX5" fmla="*/ 494 w 669728"/>
                        <a:gd name="connsiteY5" fmla="*/ 0 h 767650"/>
                        <a:gd name="connsiteX0" fmla="*/ 494 w 672110"/>
                        <a:gd name="connsiteY0" fmla="*/ 0 h 767650"/>
                        <a:gd name="connsiteX1" fmla="*/ 672110 w 672110"/>
                        <a:gd name="connsiteY1" fmla="*/ 373804 h 767650"/>
                        <a:gd name="connsiteX2" fmla="*/ 669728 w 672110"/>
                        <a:gd name="connsiteY2" fmla="*/ 767264 h 767650"/>
                        <a:gd name="connsiteX3" fmla="*/ 669046 w 672110"/>
                        <a:gd name="connsiteY3" fmla="*/ 767650 h 767650"/>
                        <a:gd name="connsiteX4" fmla="*/ 448 w 672110"/>
                        <a:gd name="connsiteY4" fmla="*/ 401565 h 767650"/>
                        <a:gd name="connsiteX5" fmla="*/ 494 w 672110"/>
                        <a:gd name="connsiteY5" fmla="*/ 0 h 767650"/>
                        <a:gd name="connsiteX0" fmla="*/ 494 w 672111"/>
                        <a:gd name="connsiteY0" fmla="*/ 75 h 767725"/>
                        <a:gd name="connsiteX1" fmla="*/ 672110 w 672111"/>
                        <a:gd name="connsiteY1" fmla="*/ 373879 h 767725"/>
                        <a:gd name="connsiteX2" fmla="*/ 669728 w 672111"/>
                        <a:gd name="connsiteY2" fmla="*/ 767339 h 767725"/>
                        <a:gd name="connsiteX3" fmla="*/ 669046 w 672111"/>
                        <a:gd name="connsiteY3" fmla="*/ 767725 h 767725"/>
                        <a:gd name="connsiteX4" fmla="*/ 448 w 672111"/>
                        <a:gd name="connsiteY4" fmla="*/ 401640 h 767725"/>
                        <a:gd name="connsiteX5" fmla="*/ 494 w 672111"/>
                        <a:gd name="connsiteY5" fmla="*/ 75 h 767725"/>
                        <a:gd name="connsiteX0" fmla="*/ 494 w 672111"/>
                        <a:gd name="connsiteY0" fmla="*/ 75 h 767725"/>
                        <a:gd name="connsiteX1" fmla="*/ 672110 w 672111"/>
                        <a:gd name="connsiteY1" fmla="*/ 373879 h 767725"/>
                        <a:gd name="connsiteX2" fmla="*/ 669728 w 672111"/>
                        <a:gd name="connsiteY2" fmla="*/ 767339 h 767725"/>
                        <a:gd name="connsiteX3" fmla="*/ 669046 w 672111"/>
                        <a:gd name="connsiteY3" fmla="*/ 767725 h 767725"/>
                        <a:gd name="connsiteX4" fmla="*/ 448 w 672111"/>
                        <a:gd name="connsiteY4" fmla="*/ 401640 h 767725"/>
                        <a:gd name="connsiteX5" fmla="*/ 494 w 672111"/>
                        <a:gd name="connsiteY5" fmla="*/ 75 h 767725"/>
                        <a:gd name="connsiteX0" fmla="*/ 494 w 672110"/>
                        <a:gd name="connsiteY0" fmla="*/ 50 h 767700"/>
                        <a:gd name="connsiteX1" fmla="*/ 672110 w 672110"/>
                        <a:gd name="connsiteY1" fmla="*/ 373854 h 767700"/>
                        <a:gd name="connsiteX2" fmla="*/ 669728 w 672110"/>
                        <a:gd name="connsiteY2" fmla="*/ 767314 h 767700"/>
                        <a:gd name="connsiteX3" fmla="*/ 669046 w 672110"/>
                        <a:gd name="connsiteY3" fmla="*/ 767700 h 767700"/>
                        <a:gd name="connsiteX4" fmla="*/ 448 w 672110"/>
                        <a:gd name="connsiteY4" fmla="*/ 401615 h 767700"/>
                        <a:gd name="connsiteX5" fmla="*/ 494 w 672110"/>
                        <a:gd name="connsiteY5" fmla="*/ 50 h 767700"/>
                        <a:gd name="connsiteX0" fmla="*/ 494 w 672110"/>
                        <a:gd name="connsiteY0" fmla="*/ 0 h 767650"/>
                        <a:gd name="connsiteX1" fmla="*/ 672110 w 672110"/>
                        <a:gd name="connsiteY1" fmla="*/ 373804 h 767650"/>
                        <a:gd name="connsiteX2" fmla="*/ 669728 w 672110"/>
                        <a:gd name="connsiteY2" fmla="*/ 767264 h 767650"/>
                        <a:gd name="connsiteX3" fmla="*/ 669046 w 672110"/>
                        <a:gd name="connsiteY3" fmla="*/ 767650 h 767650"/>
                        <a:gd name="connsiteX4" fmla="*/ 448 w 672110"/>
                        <a:gd name="connsiteY4" fmla="*/ 401565 h 767650"/>
                        <a:gd name="connsiteX5" fmla="*/ 494 w 672110"/>
                        <a:gd name="connsiteY5" fmla="*/ 0 h 767650"/>
                        <a:gd name="connsiteX0" fmla="*/ 494 w 672110"/>
                        <a:gd name="connsiteY0" fmla="*/ 0 h 767650"/>
                        <a:gd name="connsiteX1" fmla="*/ 672110 w 672110"/>
                        <a:gd name="connsiteY1" fmla="*/ 361898 h 767650"/>
                        <a:gd name="connsiteX2" fmla="*/ 669728 w 672110"/>
                        <a:gd name="connsiteY2" fmla="*/ 767264 h 767650"/>
                        <a:gd name="connsiteX3" fmla="*/ 669046 w 672110"/>
                        <a:gd name="connsiteY3" fmla="*/ 767650 h 767650"/>
                        <a:gd name="connsiteX4" fmla="*/ 448 w 672110"/>
                        <a:gd name="connsiteY4" fmla="*/ 401565 h 767650"/>
                        <a:gd name="connsiteX5" fmla="*/ 494 w 672110"/>
                        <a:gd name="connsiteY5" fmla="*/ 0 h 767650"/>
                        <a:gd name="connsiteX0" fmla="*/ 2710 w 671945"/>
                        <a:gd name="connsiteY0" fmla="*/ 0 h 767650"/>
                        <a:gd name="connsiteX1" fmla="*/ 671945 w 671945"/>
                        <a:gd name="connsiteY1" fmla="*/ 361898 h 767650"/>
                        <a:gd name="connsiteX2" fmla="*/ 669563 w 671945"/>
                        <a:gd name="connsiteY2" fmla="*/ 767264 h 767650"/>
                        <a:gd name="connsiteX3" fmla="*/ 668881 w 671945"/>
                        <a:gd name="connsiteY3" fmla="*/ 767650 h 767650"/>
                        <a:gd name="connsiteX4" fmla="*/ 283 w 671945"/>
                        <a:gd name="connsiteY4" fmla="*/ 401565 h 767650"/>
                        <a:gd name="connsiteX5" fmla="*/ 2710 w 671945"/>
                        <a:gd name="connsiteY5" fmla="*/ 0 h 767650"/>
                        <a:gd name="connsiteX0" fmla="*/ 2710 w 669563"/>
                        <a:gd name="connsiteY0" fmla="*/ 0 h 767650"/>
                        <a:gd name="connsiteX1" fmla="*/ 660039 w 669563"/>
                        <a:gd name="connsiteY1" fmla="*/ 642886 h 767650"/>
                        <a:gd name="connsiteX2" fmla="*/ 669563 w 669563"/>
                        <a:gd name="connsiteY2" fmla="*/ 767264 h 767650"/>
                        <a:gd name="connsiteX3" fmla="*/ 668881 w 669563"/>
                        <a:gd name="connsiteY3" fmla="*/ 767650 h 767650"/>
                        <a:gd name="connsiteX4" fmla="*/ 283 w 669563"/>
                        <a:gd name="connsiteY4" fmla="*/ 401565 h 767650"/>
                        <a:gd name="connsiteX5" fmla="*/ 2710 w 669563"/>
                        <a:gd name="connsiteY5" fmla="*/ 0 h 767650"/>
                        <a:gd name="connsiteX0" fmla="*/ 0 w 671615"/>
                        <a:gd name="connsiteY0" fmla="*/ 0 h 486662"/>
                        <a:gd name="connsiteX1" fmla="*/ 662091 w 671615"/>
                        <a:gd name="connsiteY1" fmla="*/ 361898 h 486662"/>
                        <a:gd name="connsiteX2" fmla="*/ 671615 w 671615"/>
                        <a:gd name="connsiteY2" fmla="*/ 486276 h 486662"/>
                        <a:gd name="connsiteX3" fmla="*/ 670933 w 671615"/>
                        <a:gd name="connsiteY3" fmla="*/ 486662 h 486662"/>
                        <a:gd name="connsiteX4" fmla="*/ 2335 w 671615"/>
                        <a:gd name="connsiteY4" fmla="*/ 120577 h 486662"/>
                        <a:gd name="connsiteX5" fmla="*/ 0 w 671615"/>
                        <a:gd name="connsiteY5" fmla="*/ 0 h 486662"/>
                        <a:gd name="connsiteX0" fmla="*/ 0 w 671615"/>
                        <a:gd name="connsiteY0" fmla="*/ 0 h 486276"/>
                        <a:gd name="connsiteX1" fmla="*/ 662091 w 671615"/>
                        <a:gd name="connsiteY1" fmla="*/ 361898 h 486276"/>
                        <a:gd name="connsiteX2" fmla="*/ 671615 w 671615"/>
                        <a:gd name="connsiteY2" fmla="*/ 486276 h 486276"/>
                        <a:gd name="connsiteX3" fmla="*/ 653298 w 671615"/>
                        <a:gd name="connsiteY3" fmla="*/ 469027 h 486276"/>
                        <a:gd name="connsiteX4" fmla="*/ 2335 w 671615"/>
                        <a:gd name="connsiteY4" fmla="*/ 120577 h 486276"/>
                        <a:gd name="connsiteX5" fmla="*/ 0 w 671615"/>
                        <a:gd name="connsiteY5" fmla="*/ 0 h 486276"/>
                        <a:gd name="connsiteX0" fmla="*/ 0 w 662091"/>
                        <a:gd name="connsiteY0" fmla="*/ 0 h 469027"/>
                        <a:gd name="connsiteX1" fmla="*/ 662091 w 662091"/>
                        <a:gd name="connsiteY1" fmla="*/ 361898 h 469027"/>
                        <a:gd name="connsiteX2" fmla="*/ 653298 w 662091"/>
                        <a:gd name="connsiteY2" fmla="*/ 469027 h 469027"/>
                        <a:gd name="connsiteX3" fmla="*/ 2335 w 662091"/>
                        <a:gd name="connsiteY3" fmla="*/ 120577 h 469027"/>
                        <a:gd name="connsiteX4" fmla="*/ 0 w 662091"/>
                        <a:gd name="connsiteY4" fmla="*/ 0 h 469027"/>
                        <a:gd name="connsiteX0" fmla="*/ 0 w 662091"/>
                        <a:gd name="connsiteY0" fmla="*/ 0 h 476585"/>
                        <a:gd name="connsiteX1" fmla="*/ 662091 w 662091"/>
                        <a:gd name="connsiteY1" fmla="*/ 361898 h 476585"/>
                        <a:gd name="connsiteX2" fmla="*/ 660856 w 662091"/>
                        <a:gd name="connsiteY2" fmla="*/ 476585 h 476585"/>
                        <a:gd name="connsiteX3" fmla="*/ 2335 w 662091"/>
                        <a:gd name="connsiteY3" fmla="*/ 120577 h 476585"/>
                        <a:gd name="connsiteX4" fmla="*/ 0 w 662091"/>
                        <a:gd name="connsiteY4" fmla="*/ 0 h 47658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2091" h="476585">
                          <a:moveTo>
                            <a:pt x="0" y="0"/>
                          </a:moveTo>
                          <a:cubicBezTo>
                            <a:pt x="140519" y="85860"/>
                            <a:pt x="563105" y="301752"/>
                            <a:pt x="662091" y="361898"/>
                          </a:cubicBezTo>
                          <a:cubicBezTo>
                            <a:pt x="661679" y="400127"/>
                            <a:pt x="661268" y="438356"/>
                            <a:pt x="660856" y="476585"/>
                          </a:cubicBezTo>
                          <a:lnTo>
                            <a:pt x="2335" y="120577"/>
                          </a:lnTo>
                          <a:cubicBezTo>
                            <a:pt x="763" y="42284"/>
                            <a:pt x="1572" y="78293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EA9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uk-UA"/>
                    </a:p>
                  </p:txBody>
                </p:sp>
                <p:sp>
                  <p:nvSpPr>
                    <p:cNvPr id="492" name="Полілінія: фігура 491">
                      <a:extLst>
                        <a:ext uri="{FF2B5EF4-FFF2-40B4-BE49-F238E27FC236}">
                          <a16:creationId xmlns:a16="http://schemas.microsoft.com/office/drawing/2014/main" id="{4E8FF2F3-62AD-DBA8-BE7C-EA9D02432E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52776" y="2639282"/>
                      <a:ext cx="630692" cy="468731"/>
                    </a:xfrm>
                    <a:custGeom>
                      <a:avLst/>
                      <a:gdLst>
                        <a:gd name="connsiteX0" fmla="*/ 662330 w 664659"/>
                        <a:gd name="connsiteY0" fmla="*/ 0 h 610191"/>
                        <a:gd name="connsiteX1" fmla="*/ 664659 w 664659"/>
                        <a:gd name="connsiteY1" fmla="*/ 234211 h 610191"/>
                        <a:gd name="connsiteX2" fmla="*/ 0 w 664659"/>
                        <a:gd name="connsiteY2" fmla="*/ 610191 h 610191"/>
                        <a:gd name="connsiteX3" fmla="*/ 0 w 664659"/>
                        <a:gd name="connsiteY3" fmla="*/ 371512 h 610191"/>
                        <a:gd name="connsiteX4" fmla="*/ 7675 w 664659"/>
                        <a:gd name="connsiteY4" fmla="*/ 375699 h 610191"/>
                        <a:gd name="connsiteX5" fmla="*/ 662330 w 664659"/>
                        <a:gd name="connsiteY5" fmla="*/ 0 h 610191"/>
                        <a:gd name="connsiteX0" fmla="*/ 662330 w 664659"/>
                        <a:gd name="connsiteY0" fmla="*/ 0 h 610191"/>
                        <a:gd name="connsiteX1" fmla="*/ 664659 w 664659"/>
                        <a:gd name="connsiteY1" fmla="*/ 234211 h 610191"/>
                        <a:gd name="connsiteX2" fmla="*/ 0 w 664659"/>
                        <a:gd name="connsiteY2" fmla="*/ 610191 h 610191"/>
                        <a:gd name="connsiteX3" fmla="*/ 0 w 664659"/>
                        <a:gd name="connsiteY3" fmla="*/ 371512 h 610191"/>
                        <a:gd name="connsiteX4" fmla="*/ 662330 w 664659"/>
                        <a:gd name="connsiteY4" fmla="*/ 0 h 610191"/>
                        <a:gd name="connsiteX0" fmla="*/ 662330 w 664659"/>
                        <a:gd name="connsiteY0" fmla="*/ 0 h 610191"/>
                        <a:gd name="connsiteX1" fmla="*/ 664659 w 664659"/>
                        <a:gd name="connsiteY1" fmla="*/ 234211 h 610191"/>
                        <a:gd name="connsiteX2" fmla="*/ 0 w 664659"/>
                        <a:gd name="connsiteY2" fmla="*/ 610191 h 610191"/>
                        <a:gd name="connsiteX3" fmla="*/ 9525 w 664659"/>
                        <a:gd name="connsiteY3" fmla="*/ 209587 h 610191"/>
                        <a:gd name="connsiteX4" fmla="*/ 662330 w 664659"/>
                        <a:gd name="connsiteY4" fmla="*/ 0 h 610191"/>
                        <a:gd name="connsiteX0" fmla="*/ 671855 w 671903"/>
                        <a:gd name="connsiteY0" fmla="*/ 0 h 769735"/>
                        <a:gd name="connsiteX1" fmla="*/ 664659 w 671903"/>
                        <a:gd name="connsiteY1" fmla="*/ 393755 h 769735"/>
                        <a:gd name="connsiteX2" fmla="*/ 0 w 671903"/>
                        <a:gd name="connsiteY2" fmla="*/ 769735 h 769735"/>
                        <a:gd name="connsiteX3" fmla="*/ 9525 w 671903"/>
                        <a:gd name="connsiteY3" fmla="*/ 369131 h 769735"/>
                        <a:gd name="connsiteX4" fmla="*/ 671855 w 671903"/>
                        <a:gd name="connsiteY4" fmla="*/ 0 h 769735"/>
                        <a:gd name="connsiteX0" fmla="*/ 669474 w 669522"/>
                        <a:gd name="connsiteY0" fmla="*/ 0 h 776879"/>
                        <a:gd name="connsiteX1" fmla="*/ 662278 w 669522"/>
                        <a:gd name="connsiteY1" fmla="*/ 393755 h 776879"/>
                        <a:gd name="connsiteX2" fmla="*/ 0 w 669522"/>
                        <a:gd name="connsiteY2" fmla="*/ 776879 h 776879"/>
                        <a:gd name="connsiteX3" fmla="*/ 7144 w 669522"/>
                        <a:gd name="connsiteY3" fmla="*/ 369131 h 776879"/>
                        <a:gd name="connsiteX4" fmla="*/ 669474 w 669522"/>
                        <a:gd name="connsiteY4" fmla="*/ 0 h 776879"/>
                        <a:gd name="connsiteX0" fmla="*/ 669474 w 669522"/>
                        <a:gd name="connsiteY0" fmla="*/ 0 h 776879"/>
                        <a:gd name="connsiteX1" fmla="*/ 662278 w 669522"/>
                        <a:gd name="connsiteY1" fmla="*/ 393755 h 776879"/>
                        <a:gd name="connsiteX2" fmla="*/ 0 w 669522"/>
                        <a:gd name="connsiteY2" fmla="*/ 776879 h 776879"/>
                        <a:gd name="connsiteX3" fmla="*/ 26 w 669522"/>
                        <a:gd name="connsiteY3" fmla="*/ 640593 h 776879"/>
                        <a:gd name="connsiteX4" fmla="*/ 669474 w 669522"/>
                        <a:gd name="connsiteY4" fmla="*/ 0 h 776879"/>
                        <a:gd name="connsiteX0" fmla="*/ 667102 w 667167"/>
                        <a:gd name="connsiteY0" fmla="*/ 0 h 507797"/>
                        <a:gd name="connsiteX1" fmla="*/ 662278 w 667167"/>
                        <a:gd name="connsiteY1" fmla="*/ 124673 h 507797"/>
                        <a:gd name="connsiteX2" fmla="*/ 0 w 667167"/>
                        <a:gd name="connsiteY2" fmla="*/ 507797 h 507797"/>
                        <a:gd name="connsiteX3" fmla="*/ 26 w 667167"/>
                        <a:gd name="connsiteY3" fmla="*/ 371511 h 507797"/>
                        <a:gd name="connsiteX4" fmla="*/ 667102 w 667167"/>
                        <a:gd name="connsiteY4" fmla="*/ 0 h 507797"/>
                        <a:gd name="connsiteX0" fmla="*/ 667102 w 667167"/>
                        <a:gd name="connsiteY0" fmla="*/ 0 h 507797"/>
                        <a:gd name="connsiteX1" fmla="*/ 662278 w 667167"/>
                        <a:gd name="connsiteY1" fmla="*/ 124673 h 507797"/>
                        <a:gd name="connsiteX2" fmla="*/ 0 w 667167"/>
                        <a:gd name="connsiteY2" fmla="*/ 507797 h 507797"/>
                        <a:gd name="connsiteX3" fmla="*/ 26 w 667167"/>
                        <a:gd name="connsiteY3" fmla="*/ 404848 h 507797"/>
                        <a:gd name="connsiteX4" fmla="*/ 667102 w 667167"/>
                        <a:gd name="connsiteY4" fmla="*/ 0 h 507797"/>
                        <a:gd name="connsiteX0" fmla="*/ 667102 w 667167"/>
                        <a:gd name="connsiteY0" fmla="*/ 0 h 507797"/>
                        <a:gd name="connsiteX1" fmla="*/ 662278 w 667167"/>
                        <a:gd name="connsiteY1" fmla="*/ 124673 h 507797"/>
                        <a:gd name="connsiteX2" fmla="*/ 0 w 667167"/>
                        <a:gd name="connsiteY2" fmla="*/ 507797 h 507797"/>
                        <a:gd name="connsiteX3" fmla="*/ 26 w 667167"/>
                        <a:gd name="connsiteY3" fmla="*/ 392942 h 507797"/>
                        <a:gd name="connsiteX4" fmla="*/ 667102 w 667167"/>
                        <a:gd name="connsiteY4" fmla="*/ 0 h 507797"/>
                        <a:gd name="connsiteX0" fmla="*/ 664730 w 664830"/>
                        <a:gd name="connsiteY0" fmla="*/ 0 h 495891"/>
                        <a:gd name="connsiteX1" fmla="*/ 662278 w 664830"/>
                        <a:gd name="connsiteY1" fmla="*/ 112767 h 495891"/>
                        <a:gd name="connsiteX2" fmla="*/ 0 w 664830"/>
                        <a:gd name="connsiteY2" fmla="*/ 495891 h 495891"/>
                        <a:gd name="connsiteX3" fmla="*/ 26 w 664830"/>
                        <a:gd name="connsiteY3" fmla="*/ 381036 h 495891"/>
                        <a:gd name="connsiteX4" fmla="*/ 664730 w 664830"/>
                        <a:gd name="connsiteY4" fmla="*/ 0 h 49589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64830" h="495891">
                          <a:moveTo>
                            <a:pt x="664730" y="0"/>
                          </a:moveTo>
                          <a:cubicBezTo>
                            <a:pt x="665506" y="78070"/>
                            <a:pt x="661502" y="34697"/>
                            <a:pt x="662278" y="112767"/>
                          </a:cubicBezTo>
                          <a:lnTo>
                            <a:pt x="0" y="495891"/>
                          </a:lnTo>
                          <a:cubicBezTo>
                            <a:pt x="9" y="450462"/>
                            <a:pt x="17" y="426465"/>
                            <a:pt x="26" y="381036"/>
                          </a:cubicBezTo>
                          <a:lnTo>
                            <a:pt x="664730" y="0"/>
                          </a:lnTo>
                          <a:close/>
                        </a:path>
                      </a:pathLst>
                    </a:custGeom>
                    <a:solidFill>
                      <a:srgbClr val="FFCD3B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uk-UA"/>
                    </a:p>
                  </p:txBody>
                </p:sp>
              </p:grpSp>
              <p:sp>
                <p:nvSpPr>
                  <p:cNvPr id="490" name="Полілінія: фігура 489">
                    <a:extLst>
                      <a:ext uri="{FF2B5EF4-FFF2-40B4-BE49-F238E27FC236}">
                        <a16:creationId xmlns:a16="http://schemas.microsoft.com/office/drawing/2014/main" id="{AF3CF5E8-B022-0AB5-48E2-3F4EFB539EF3}"/>
                      </a:ext>
                    </a:extLst>
                  </p:cNvPr>
                  <p:cNvSpPr/>
                  <p:nvPr/>
                </p:nvSpPr>
                <p:spPr>
                  <a:xfrm>
                    <a:off x="4568921" y="2592718"/>
                    <a:ext cx="1644053" cy="914512"/>
                  </a:xfrm>
                  <a:custGeom>
                    <a:avLst/>
                    <a:gdLst>
                      <a:gd name="connsiteX0" fmla="*/ 680770 w 1325634"/>
                      <a:gd name="connsiteY0" fmla="*/ 0 h 757066"/>
                      <a:gd name="connsiteX1" fmla="*/ 1325627 w 1325634"/>
                      <a:gd name="connsiteY1" fmla="*/ 380700 h 757066"/>
                      <a:gd name="connsiteX2" fmla="*/ 1325634 w 1325634"/>
                      <a:gd name="connsiteY2" fmla="*/ 381367 h 757066"/>
                      <a:gd name="connsiteX3" fmla="*/ 670979 w 1325634"/>
                      <a:gd name="connsiteY3" fmla="*/ 757066 h 757066"/>
                      <a:gd name="connsiteX4" fmla="*/ 0 w 1325634"/>
                      <a:gd name="connsiteY4" fmla="*/ 390981 h 757066"/>
                      <a:gd name="connsiteX5" fmla="*/ 680770 w 1325634"/>
                      <a:gd name="connsiteY5" fmla="*/ 0 h 757066"/>
                      <a:gd name="connsiteX0" fmla="*/ 680770 w 1325627"/>
                      <a:gd name="connsiteY0" fmla="*/ 0 h 757066"/>
                      <a:gd name="connsiteX1" fmla="*/ 1325627 w 1325627"/>
                      <a:gd name="connsiteY1" fmla="*/ 380700 h 757066"/>
                      <a:gd name="connsiteX2" fmla="*/ 1323718 w 1325627"/>
                      <a:gd name="connsiteY2" fmla="*/ 367952 h 757066"/>
                      <a:gd name="connsiteX3" fmla="*/ 670979 w 1325627"/>
                      <a:gd name="connsiteY3" fmla="*/ 757066 h 757066"/>
                      <a:gd name="connsiteX4" fmla="*/ 0 w 1325627"/>
                      <a:gd name="connsiteY4" fmla="*/ 390981 h 757066"/>
                      <a:gd name="connsiteX5" fmla="*/ 680770 w 1325627"/>
                      <a:gd name="connsiteY5" fmla="*/ 0 h 757066"/>
                      <a:gd name="connsiteX0" fmla="*/ 680770 w 1325627"/>
                      <a:gd name="connsiteY0" fmla="*/ 0 h 757066"/>
                      <a:gd name="connsiteX1" fmla="*/ 1325627 w 1325627"/>
                      <a:gd name="connsiteY1" fmla="*/ 380700 h 757066"/>
                      <a:gd name="connsiteX2" fmla="*/ 670979 w 1325627"/>
                      <a:gd name="connsiteY2" fmla="*/ 757066 h 757066"/>
                      <a:gd name="connsiteX3" fmla="*/ 0 w 1325627"/>
                      <a:gd name="connsiteY3" fmla="*/ 390981 h 757066"/>
                      <a:gd name="connsiteX4" fmla="*/ 680770 w 1325627"/>
                      <a:gd name="connsiteY4" fmla="*/ 0 h 757066"/>
                      <a:gd name="connsiteX0" fmla="*/ 680770 w 1323711"/>
                      <a:gd name="connsiteY0" fmla="*/ 0 h 757066"/>
                      <a:gd name="connsiteX1" fmla="*/ 1323711 w 1323711"/>
                      <a:gd name="connsiteY1" fmla="*/ 373035 h 757066"/>
                      <a:gd name="connsiteX2" fmla="*/ 670979 w 1323711"/>
                      <a:gd name="connsiteY2" fmla="*/ 757066 h 757066"/>
                      <a:gd name="connsiteX3" fmla="*/ 0 w 1323711"/>
                      <a:gd name="connsiteY3" fmla="*/ 390981 h 757066"/>
                      <a:gd name="connsiteX4" fmla="*/ 680770 w 1323711"/>
                      <a:gd name="connsiteY4" fmla="*/ 0 h 757066"/>
                      <a:gd name="connsiteX0" fmla="*/ 680770 w 1323711"/>
                      <a:gd name="connsiteY0" fmla="*/ 0 h 747484"/>
                      <a:gd name="connsiteX1" fmla="*/ 1323711 w 1323711"/>
                      <a:gd name="connsiteY1" fmla="*/ 373035 h 747484"/>
                      <a:gd name="connsiteX2" fmla="*/ 661398 w 1323711"/>
                      <a:gd name="connsiteY2" fmla="*/ 747484 h 747484"/>
                      <a:gd name="connsiteX3" fmla="*/ 0 w 1323711"/>
                      <a:gd name="connsiteY3" fmla="*/ 390981 h 747484"/>
                      <a:gd name="connsiteX4" fmla="*/ 680770 w 1323711"/>
                      <a:gd name="connsiteY4" fmla="*/ 0 h 747484"/>
                      <a:gd name="connsiteX0" fmla="*/ 680770 w 1323711"/>
                      <a:gd name="connsiteY0" fmla="*/ 0 h 751316"/>
                      <a:gd name="connsiteX1" fmla="*/ 1323711 w 1323711"/>
                      <a:gd name="connsiteY1" fmla="*/ 373035 h 751316"/>
                      <a:gd name="connsiteX2" fmla="*/ 661398 w 1323711"/>
                      <a:gd name="connsiteY2" fmla="*/ 751316 h 751316"/>
                      <a:gd name="connsiteX3" fmla="*/ 0 w 1323711"/>
                      <a:gd name="connsiteY3" fmla="*/ 390981 h 751316"/>
                      <a:gd name="connsiteX4" fmla="*/ 680770 w 1323711"/>
                      <a:gd name="connsiteY4" fmla="*/ 0 h 751316"/>
                      <a:gd name="connsiteX0" fmla="*/ 671188 w 1314129"/>
                      <a:gd name="connsiteY0" fmla="*/ 0 h 751316"/>
                      <a:gd name="connsiteX1" fmla="*/ 1314129 w 1314129"/>
                      <a:gd name="connsiteY1" fmla="*/ 373035 h 751316"/>
                      <a:gd name="connsiteX2" fmla="*/ 651816 w 1314129"/>
                      <a:gd name="connsiteY2" fmla="*/ 751316 h 751316"/>
                      <a:gd name="connsiteX3" fmla="*/ 0 w 1314129"/>
                      <a:gd name="connsiteY3" fmla="*/ 392897 h 751316"/>
                      <a:gd name="connsiteX4" fmla="*/ 671188 w 1314129"/>
                      <a:gd name="connsiteY4" fmla="*/ 0 h 751316"/>
                      <a:gd name="connsiteX0" fmla="*/ 667354 w 1314129"/>
                      <a:gd name="connsiteY0" fmla="*/ 0 h 735985"/>
                      <a:gd name="connsiteX1" fmla="*/ 1314129 w 1314129"/>
                      <a:gd name="connsiteY1" fmla="*/ 357704 h 735985"/>
                      <a:gd name="connsiteX2" fmla="*/ 651816 w 1314129"/>
                      <a:gd name="connsiteY2" fmla="*/ 735985 h 735985"/>
                      <a:gd name="connsiteX3" fmla="*/ 0 w 1314129"/>
                      <a:gd name="connsiteY3" fmla="*/ 377566 h 735985"/>
                      <a:gd name="connsiteX4" fmla="*/ 667354 w 1314129"/>
                      <a:gd name="connsiteY4" fmla="*/ 0 h 7359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14129" h="735985">
                        <a:moveTo>
                          <a:pt x="667354" y="0"/>
                        </a:moveTo>
                        <a:lnTo>
                          <a:pt x="1314129" y="357704"/>
                        </a:lnTo>
                        <a:lnTo>
                          <a:pt x="651816" y="735985"/>
                        </a:lnTo>
                        <a:lnTo>
                          <a:pt x="0" y="377566"/>
                        </a:lnTo>
                        <a:lnTo>
                          <a:pt x="667354" y="0"/>
                        </a:lnTo>
                        <a:close/>
                      </a:path>
                    </a:pathLst>
                  </a:custGeom>
                  <a:solidFill>
                    <a:srgbClr val="FFF4C8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/>
                  </a:p>
                </p:txBody>
              </p:sp>
            </p:grpSp>
            <p:sp>
              <p:nvSpPr>
                <p:cNvPr id="249" name="TextBox 248">
                  <a:extLst>
                    <a:ext uri="{FF2B5EF4-FFF2-40B4-BE49-F238E27FC236}">
                      <a16:creationId xmlns:a16="http://schemas.microsoft.com/office/drawing/2014/main" id="{D276637A-FA32-28B8-4B2B-FDF14D6C3EFD}"/>
                    </a:ext>
                  </a:extLst>
                </p:cNvPr>
                <p:cNvSpPr txBox="1"/>
                <p:nvPr/>
              </p:nvSpPr>
              <p:spPr>
                <a:xfrm>
                  <a:off x="10731699" y="2964649"/>
                  <a:ext cx="1858442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en-US" sz="1600" b="0" i="0" u="none" strike="noStrike" dirty="0">
                      <a:solidFill>
                        <a:srgbClr val="000000"/>
                      </a:solidFill>
                      <a:effectLst/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Depleted gas field</a:t>
                  </a:r>
                  <a:r>
                    <a:rPr lang="en-US" sz="1600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 </a:t>
                  </a:r>
                  <a:endParaRPr lang="uk-UA" sz="1600" dirty="0"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  <p:grpSp>
            <p:nvGrpSpPr>
              <p:cNvPr id="498" name="Групувати 497">
                <a:extLst>
                  <a:ext uri="{FF2B5EF4-FFF2-40B4-BE49-F238E27FC236}">
                    <a16:creationId xmlns:a16="http://schemas.microsoft.com/office/drawing/2014/main" id="{580FF5F8-9DE8-C63E-478C-BDAC11301D3C}"/>
                  </a:ext>
                </a:extLst>
              </p:cNvPr>
              <p:cNvGrpSpPr/>
              <p:nvPr/>
            </p:nvGrpSpPr>
            <p:grpSpPr>
              <a:xfrm>
                <a:off x="9523163" y="6310003"/>
                <a:ext cx="1485830" cy="346597"/>
                <a:chOff x="10678075" y="3304249"/>
                <a:chExt cx="1485830" cy="346597"/>
              </a:xfrm>
            </p:grpSpPr>
            <p:sp>
              <p:nvSpPr>
                <p:cNvPr id="495" name="Полілінія: фігура 494">
                  <a:extLst>
                    <a:ext uri="{FF2B5EF4-FFF2-40B4-BE49-F238E27FC236}">
                      <a16:creationId xmlns:a16="http://schemas.microsoft.com/office/drawing/2014/main" id="{549A8B3B-5504-0A42-0144-D46B582EAFEF}"/>
                    </a:ext>
                  </a:extLst>
                </p:cNvPr>
                <p:cNvSpPr/>
                <p:nvPr/>
              </p:nvSpPr>
              <p:spPr>
                <a:xfrm>
                  <a:off x="10678075" y="3454766"/>
                  <a:ext cx="343340" cy="196080"/>
                </a:xfrm>
                <a:custGeom>
                  <a:avLst/>
                  <a:gdLst>
                    <a:gd name="connsiteX0" fmla="*/ 680770 w 1325634"/>
                    <a:gd name="connsiteY0" fmla="*/ 0 h 757066"/>
                    <a:gd name="connsiteX1" fmla="*/ 1325627 w 1325634"/>
                    <a:gd name="connsiteY1" fmla="*/ 380700 h 757066"/>
                    <a:gd name="connsiteX2" fmla="*/ 1325634 w 1325634"/>
                    <a:gd name="connsiteY2" fmla="*/ 381367 h 757066"/>
                    <a:gd name="connsiteX3" fmla="*/ 670979 w 1325634"/>
                    <a:gd name="connsiteY3" fmla="*/ 757066 h 757066"/>
                    <a:gd name="connsiteX4" fmla="*/ 0 w 1325634"/>
                    <a:gd name="connsiteY4" fmla="*/ 390981 h 757066"/>
                    <a:gd name="connsiteX5" fmla="*/ 680770 w 1325634"/>
                    <a:gd name="connsiteY5" fmla="*/ 0 h 757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25634" h="757066">
                      <a:moveTo>
                        <a:pt x="680770" y="0"/>
                      </a:moveTo>
                      <a:lnTo>
                        <a:pt x="1325627" y="380700"/>
                      </a:lnTo>
                      <a:lnTo>
                        <a:pt x="1325634" y="381367"/>
                      </a:lnTo>
                      <a:lnTo>
                        <a:pt x="670979" y="757066"/>
                      </a:lnTo>
                      <a:lnTo>
                        <a:pt x="0" y="390981"/>
                      </a:lnTo>
                      <a:lnTo>
                        <a:pt x="680770" y="0"/>
                      </a:lnTo>
                      <a:close/>
                    </a:path>
                  </a:pathLst>
                </a:custGeom>
                <a:solidFill>
                  <a:srgbClr val="A6A6A6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97" name="TextBox 496">
                  <a:extLst>
                    <a:ext uri="{FF2B5EF4-FFF2-40B4-BE49-F238E27FC236}">
                      <a16:creationId xmlns:a16="http://schemas.microsoft.com/office/drawing/2014/main" id="{927E36BC-D2D9-7C61-F3FB-B1B03ADB6FA7}"/>
                    </a:ext>
                  </a:extLst>
                </p:cNvPr>
                <p:cNvSpPr txBox="1"/>
                <p:nvPr/>
              </p:nvSpPr>
              <p:spPr>
                <a:xfrm>
                  <a:off x="10740882" y="3304249"/>
                  <a:ext cx="1423023" cy="33855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uk-UA"/>
                  </a:defPPr>
                  <a:lvl1pPr>
                    <a:defRPr sz="1600" b="0" i="0" u="none" strike="noStrike">
                      <a:solidFill>
                        <a:srgbClr val="000000"/>
                      </a:solidFill>
                      <a:effectLst/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lvl1pPr>
                </a:lstStyle>
                <a:p>
                  <a:r>
                    <a:rPr lang="uk-UA" dirty="0"/>
                    <a:t>Out of control</a:t>
                  </a:r>
                </a:p>
              </p:txBody>
            </p:sp>
          </p:grpSp>
        </p:grpSp>
        <p:grpSp>
          <p:nvGrpSpPr>
            <p:cNvPr id="2" name="Групувати 1">
              <a:extLst>
                <a:ext uri="{FF2B5EF4-FFF2-40B4-BE49-F238E27FC236}">
                  <a16:creationId xmlns:a16="http://schemas.microsoft.com/office/drawing/2014/main" id="{8F454ECA-7772-9820-7EB1-8A565540F7EF}"/>
                </a:ext>
              </a:extLst>
            </p:cNvPr>
            <p:cNvGrpSpPr/>
            <p:nvPr/>
          </p:nvGrpSpPr>
          <p:grpSpPr>
            <a:xfrm>
              <a:off x="319853" y="1506038"/>
              <a:ext cx="9366815" cy="5075294"/>
              <a:chOff x="319853" y="1506038"/>
              <a:chExt cx="9366815" cy="5075294"/>
            </a:xfrm>
          </p:grpSpPr>
          <p:grpSp>
            <p:nvGrpSpPr>
              <p:cNvPr id="33" name="Групувати 32">
                <a:extLst>
                  <a:ext uri="{FF2B5EF4-FFF2-40B4-BE49-F238E27FC236}">
                    <a16:creationId xmlns:a16="http://schemas.microsoft.com/office/drawing/2014/main" id="{E4D1D0E6-78C0-8289-3682-CC1B0616F580}"/>
                  </a:ext>
                </a:extLst>
              </p:cNvPr>
              <p:cNvGrpSpPr/>
              <p:nvPr/>
            </p:nvGrpSpPr>
            <p:grpSpPr>
              <a:xfrm>
                <a:off x="319853" y="5264883"/>
                <a:ext cx="3453676" cy="1316449"/>
                <a:chOff x="695780" y="5041935"/>
                <a:chExt cx="3453676" cy="1316449"/>
              </a:xfrm>
            </p:grpSpPr>
            <p:grpSp>
              <p:nvGrpSpPr>
                <p:cNvPr id="69" name="Групувати 68">
                  <a:extLst>
                    <a:ext uri="{FF2B5EF4-FFF2-40B4-BE49-F238E27FC236}">
                      <a16:creationId xmlns:a16="http://schemas.microsoft.com/office/drawing/2014/main" id="{E73AF6F3-8009-1004-E62C-6AA446E5AF5B}"/>
                    </a:ext>
                  </a:extLst>
                </p:cNvPr>
                <p:cNvGrpSpPr/>
                <p:nvPr/>
              </p:nvGrpSpPr>
              <p:grpSpPr>
                <a:xfrm>
                  <a:off x="695780" y="5041935"/>
                  <a:ext cx="2691636" cy="539953"/>
                  <a:chOff x="831817" y="9792634"/>
                  <a:chExt cx="5934062" cy="1190397"/>
                </a:xfrm>
              </p:grpSpPr>
              <p:sp>
                <p:nvSpPr>
                  <p:cNvPr id="70" name="object 1">
                    <a:extLst>
                      <a:ext uri="{FF2B5EF4-FFF2-40B4-BE49-F238E27FC236}">
                        <a16:creationId xmlns:a16="http://schemas.microsoft.com/office/drawing/2014/main" id="{2A1DC13B-CF7B-3CE9-DC31-28B94EEE19BE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3102712" y="9936182"/>
                    <a:ext cx="3663167" cy="94259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marL="4590"/>
                    <a:r>
                      <a:rPr lang="en-US" sz="1089" b="1" dirty="0">
                        <a:solidFill>
                          <a:srgbClr val="666666"/>
                        </a:solidFill>
                        <a:latin typeface="Arial"/>
                      </a:rPr>
                      <a:t>overall working gas volume near Europe</a:t>
                    </a:r>
                    <a:endParaRPr lang="ru-RU" sz="1089" b="1" dirty="0">
                      <a:solidFill>
                        <a:srgbClr val="666666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71" name="Групувати 70">
                    <a:extLst>
                      <a:ext uri="{FF2B5EF4-FFF2-40B4-BE49-F238E27FC236}">
                        <a16:creationId xmlns:a16="http://schemas.microsoft.com/office/drawing/2014/main" id="{AAC1685B-3313-26BD-028A-95F1B1503E32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>
                  <a:xfrm>
                    <a:off x="831817" y="9792634"/>
                    <a:ext cx="3019795" cy="1190397"/>
                    <a:chOff x="1055638" y="5047773"/>
                    <a:chExt cx="1183999" cy="454779"/>
                  </a:xfrm>
                </p:grpSpPr>
                <p:sp>
                  <p:nvSpPr>
                    <p:cNvPr id="72" name="object 8">
                      <a:extLst>
                        <a:ext uri="{FF2B5EF4-FFF2-40B4-BE49-F238E27FC236}">
                          <a16:creationId xmlns:a16="http://schemas.microsoft.com/office/drawing/2014/main" id="{D48FFBFC-44CE-AEFC-9014-BD2C6A8D392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>
                    <a:xfrm>
                      <a:off x="1055638" y="5047773"/>
                      <a:ext cx="1183999" cy="454779"/>
                    </a:xfrm>
                    <a:prstGeom prst="rect">
                      <a:avLst/>
                    </a:prstGeom>
                    <a:noFill/>
                    <a:ln w="0"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/>
                  </p:style>
                  <p:txBody>
                    <a:bodyPr wrap="square" lIns="37018" tIns="18509" rIns="37018" bIns="18509" anchor="t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3266" b="1" dirty="0">
                          <a:solidFill>
                            <a:srgbClr val="FFBA0D">
                              <a:alpha val="82000"/>
                            </a:srgbClr>
                          </a:solid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25.3</a:t>
                      </a:r>
                      <a:endParaRPr lang="ru-RU" sz="3266" b="1" dirty="0">
                        <a:solidFill>
                          <a:srgbClr val="FFBA0D">
                            <a:alpha val="82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73" name="object 8">
                      <a:extLst>
                        <a:ext uri="{FF2B5EF4-FFF2-40B4-BE49-F238E27FC236}">
                          <a16:creationId xmlns:a16="http://schemas.microsoft.com/office/drawing/2014/main" id="{7202EC80-18E4-FE3E-C1CC-AB3A3BDB892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>
                    <a:xfrm rot="16200000">
                      <a:off x="1654379" y="5184236"/>
                      <a:ext cx="344669" cy="177190"/>
                    </a:xfrm>
                    <a:prstGeom prst="rect">
                      <a:avLst/>
                    </a:prstGeom>
                    <a:noFill/>
                    <a:ln w="0"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/>
                  </p:style>
                  <p:txBody>
                    <a:bodyPr wrap="square" lIns="37018" tIns="18509" rIns="37018" bIns="18509" anchor="t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89" dirty="0">
                          <a:solidFill>
                            <a:srgbClr val="FFBA0D">
                              <a:alpha val="82000"/>
                            </a:srgbClr>
                          </a:solidFill>
                          <a:latin typeface="Arial Black"/>
                          <a:ea typeface="DejaVu Sans"/>
                        </a:rPr>
                        <a:t>bcm</a:t>
                      </a:r>
                      <a:endParaRPr lang="ru-RU" sz="1089" dirty="0">
                        <a:solidFill>
                          <a:srgbClr val="FFBA0D">
                            <a:alpha val="82000"/>
                          </a:srgbClr>
                        </a:solidFill>
                        <a:latin typeface="Arial"/>
                      </a:endParaRPr>
                    </a:p>
                  </p:txBody>
                </p:sp>
              </p:grpSp>
            </p:grpSp>
            <p:grpSp>
              <p:nvGrpSpPr>
                <p:cNvPr id="79" name="Групувати 78">
                  <a:extLst>
                    <a:ext uri="{FF2B5EF4-FFF2-40B4-BE49-F238E27FC236}">
                      <a16:creationId xmlns:a16="http://schemas.microsoft.com/office/drawing/2014/main" id="{171603DB-9189-48A8-521E-8A222540FD91}"/>
                    </a:ext>
                  </a:extLst>
                </p:cNvPr>
                <p:cNvGrpSpPr/>
                <p:nvPr/>
              </p:nvGrpSpPr>
              <p:grpSpPr>
                <a:xfrm>
                  <a:off x="752990" y="5543179"/>
                  <a:ext cx="3396466" cy="815205"/>
                  <a:chOff x="8764721" y="1912161"/>
                  <a:chExt cx="3936642" cy="944854"/>
                </a:xfrm>
              </p:grpSpPr>
              <p:sp>
                <p:nvSpPr>
                  <p:cNvPr id="80" name="object 8">
                    <a:extLst>
                      <a:ext uri="{FF2B5EF4-FFF2-40B4-BE49-F238E27FC236}">
                        <a16:creationId xmlns:a16="http://schemas.microsoft.com/office/drawing/2014/main" id="{3F81F0A3-9F6E-98E0-0CA0-3F9BBA7BF132}"/>
                      </a:ext>
                    </a:extLst>
                  </p:cNvPr>
                  <p:cNvSpPr/>
                  <p:nvPr/>
                </p:nvSpPr>
                <p:spPr>
                  <a:xfrm>
                    <a:off x="9941672" y="2132111"/>
                    <a:ext cx="2759691" cy="625012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marL="4590"/>
                    <a:r>
                      <a:rPr lang="en-US" sz="1452" b="1" dirty="0">
                        <a:solidFill>
                          <a:srgbClr val="666666"/>
                        </a:solidFill>
                        <a:latin typeface="Arial"/>
                      </a:rPr>
                      <a:t>working gas volume </a:t>
                    </a:r>
                  </a:p>
                  <a:p>
                    <a:pPr marL="4590"/>
                    <a:r>
                      <a:rPr lang="en-US" sz="1452" b="1" dirty="0">
                        <a:solidFill>
                          <a:srgbClr val="666666"/>
                        </a:solidFill>
                        <a:latin typeface="Arial"/>
                      </a:rPr>
                      <a:t>offered to non-residents</a:t>
                    </a:r>
                    <a:endParaRPr lang="ru-RU" sz="1452" b="1" dirty="0">
                      <a:solidFill>
                        <a:srgbClr val="666666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81" name="Групувати 80">
                    <a:extLst>
                      <a:ext uri="{FF2B5EF4-FFF2-40B4-BE49-F238E27FC236}">
                        <a16:creationId xmlns:a16="http://schemas.microsoft.com/office/drawing/2014/main" id="{399040F8-110B-B633-C820-2573DCC7F3DE}"/>
                      </a:ext>
                    </a:extLst>
                  </p:cNvPr>
                  <p:cNvGrpSpPr/>
                  <p:nvPr/>
                </p:nvGrpSpPr>
                <p:grpSpPr>
                  <a:xfrm>
                    <a:off x="8764721" y="1912161"/>
                    <a:ext cx="1272839" cy="944854"/>
                    <a:chOff x="7761379" y="1913980"/>
                    <a:chExt cx="1272839" cy="944854"/>
                  </a:xfrm>
                </p:grpSpPr>
                <p:sp>
                  <p:nvSpPr>
                    <p:cNvPr id="82" name="object 8">
                      <a:extLst>
                        <a:ext uri="{FF2B5EF4-FFF2-40B4-BE49-F238E27FC236}">
                          <a16:creationId xmlns:a16="http://schemas.microsoft.com/office/drawing/2014/main" id="{8AA651E5-5D89-BC50-F3D3-6BB962F18B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61379" y="1959370"/>
                      <a:ext cx="1272839" cy="899464"/>
                    </a:xfrm>
                    <a:prstGeom prst="rect">
                      <a:avLst/>
                    </a:prstGeom>
                    <a:noFill/>
                    <a:ln w="0"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/>
                  </p:style>
                  <p:txBody>
                    <a:bodyPr wrap="square" lIns="37018" tIns="18509" rIns="37018" bIns="18509" anchor="t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4800" b="1" dirty="0">
                          <a:solidFill>
                            <a:srgbClr val="FFC639"/>
                          </a:solidFill>
                          <a:latin typeface="Arial" panose="020B0604020202020204" pitchFamily="34" charset="0"/>
                          <a:ea typeface="DejaVu Sans"/>
                          <a:cs typeface="Arial" panose="020B0604020202020204" pitchFamily="34" charset="0"/>
                        </a:rPr>
                        <a:t>10</a:t>
                      </a:r>
                      <a:endParaRPr lang="ru-RU" sz="4800" b="1" dirty="0">
                        <a:solidFill>
                          <a:srgbClr val="FFC63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83" name="object 8">
                      <a:extLst>
                        <a:ext uri="{FF2B5EF4-FFF2-40B4-BE49-F238E27FC236}">
                          <a16:creationId xmlns:a16="http://schemas.microsoft.com/office/drawing/2014/main" id="{080D7EDB-4E6F-1A6E-A102-76D61E4E2CF4}"/>
                        </a:ext>
                      </a:extLst>
                    </p:cNvPr>
                    <p:cNvSpPr/>
                    <p:nvPr/>
                  </p:nvSpPr>
                  <p:spPr>
                    <a:xfrm rot="16200000">
                      <a:off x="8316258" y="2156691"/>
                      <a:ext cx="820000" cy="334577"/>
                    </a:xfrm>
                    <a:prstGeom prst="rect">
                      <a:avLst/>
                    </a:prstGeom>
                    <a:noFill/>
                    <a:ln w="0">
                      <a:noFill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/>
                  </p:style>
                  <p:txBody>
                    <a:bodyPr wrap="square" lIns="37018" tIns="18509" rIns="37018" bIns="18509" anchor="t">
                      <a:spAutoFit/>
                    </a:bodyPr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633" dirty="0">
                          <a:solidFill>
                            <a:srgbClr val="FFC639"/>
                          </a:solidFill>
                          <a:latin typeface="Arial Black"/>
                          <a:ea typeface="DejaVu Sans"/>
                        </a:rPr>
                        <a:t>bcm</a:t>
                      </a:r>
                      <a:endParaRPr lang="ru-RU" sz="1633" dirty="0">
                        <a:solidFill>
                          <a:srgbClr val="FFC639"/>
                        </a:solidFill>
                        <a:latin typeface="Arial"/>
                      </a:endParaRPr>
                    </a:p>
                  </p:txBody>
                </p:sp>
              </p:grpSp>
            </p:grpSp>
          </p:grpSp>
          <p:grpSp>
            <p:nvGrpSpPr>
              <p:cNvPr id="476" name="Групувати 475">
                <a:extLst>
                  <a:ext uri="{FF2B5EF4-FFF2-40B4-BE49-F238E27FC236}">
                    <a16:creationId xmlns:a16="http://schemas.microsoft.com/office/drawing/2014/main" id="{61B23FBF-F6BC-C5A7-8A13-47AE18AB8D93}"/>
                  </a:ext>
                </a:extLst>
              </p:cNvPr>
              <p:cNvGrpSpPr/>
              <p:nvPr/>
            </p:nvGrpSpPr>
            <p:grpSpPr>
              <a:xfrm>
                <a:off x="682421" y="1506038"/>
                <a:ext cx="9004247" cy="4533123"/>
                <a:chOff x="3095664" y="3801089"/>
                <a:chExt cx="10709776" cy="5391763"/>
              </a:xfrm>
            </p:grpSpPr>
            <p:grpSp>
              <p:nvGrpSpPr>
                <p:cNvPr id="474" name="Групувати 473">
                  <a:extLst>
                    <a:ext uri="{FF2B5EF4-FFF2-40B4-BE49-F238E27FC236}">
                      <a16:creationId xmlns:a16="http://schemas.microsoft.com/office/drawing/2014/main" id="{7485DCA4-BEF2-A2FF-7603-B5A393EF463C}"/>
                    </a:ext>
                  </a:extLst>
                </p:cNvPr>
                <p:cNvGrpSpPr/>
                <p:nvPr/>
              </p:nvGrpSpPr>
              <p:grpSpPr>
                <a:xfrm>
                  <a:off x="3095664" y="3801089"/>
                  <a:ext cx="10709776" cy="5391763"/>
                  <a:chOff x="4362297" y="4126107"/>
                  <a:chExt cx="15445985" cy="7776174"/>
                </a:xfrm>
              </p:grpSpPr>
              <p:sp>
                <p:nvSpPr>
                  <p:cNvPr id="461" name="Полілінія: фігура 460">
                    <a:extLst>
                      <a:ext uri="{FF2B5EF4-FFF2-40B4-BE49-F238E27FC236}">
                        <a16:creationId xmlns:a16="http://schemas.microsoft.com/office/drawing/2014/main" id="{4D4B4D6A-653C-D1EC-B0EB-2B13FBC93EF8}"/>
                      </a:ext>
                    </a:extLst>
                  </p:cNvPr>
                  <p:cNvSpPr/>
                  <p:nvPr/>
                </p:nvSpPr>
                <p:spPr>
                  <a:xfrm>
                    <a:off x="8235184" y="6319749"/>
                    <a:ext cx="978838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978837" h="164106">
                        <a:moveTo>
                          <a:pt x="516237" y="13459"/>
                        </a:moveTo>
                        <a:cubicBezTo>
                          <a:pt x="513559" y="13463"/>
                          <a:pt x="509710" y="13511"/>
                          <a:pt x="504688" y="13602"/>
                        </a:cubicBezTo>
                        <a:cubicBezTo>
                          <a:pt x="499666" y="13693"/>
                          <a:pt x="495130" y="13798"/>
                          <a:pt x="491080" y="13917"/>
                        </a:cubicBezTo>
                        <a:lnTo>
                          <a:pt x="491080" y="83210"/>
                        </a:lnTo>
                        <a:lnTo>
                          <a:pt x="518753" y="83210"/>
                        </a:lnTo>
                        <a:cubicBezTo>
                          <a:pt x="525666" y="83169"/>
                          <a:pt x="532219" y="81696"/>
                          <a:pt x="538412" y="78791"/>
                        </a:cubicBezTo>
                        <a:cubicBezTo>
                          <a:pt x="544605" y="75886"/>
                          <a:pt x="549667" y="71796"/>
                          <a:pt x="553599" y="66520"/>
                        </a:cubicBezTo>
                        <a:cubicBezTo>
                          <a:pt x="557531" y="61244"/>
                          <a:pt x="559561" y="55029"/>
                          <a:pt x="559689" y="47875"/>
                        </a:cubicBezTo>
                        <a:cubicBezTo>
                          <a:pt x="559908" y="37909"/>
                          <a:pt x="556726" y="29735"/>
                          <a:pt x="550141" y="23353"/>
                        </a:cubicBezTo>
                        <a:cubicBezTo>
                          <a:pt x="543556" y="16972"/>
                          <a:pt x="532255" y="13674"/>
                          <a:pt x="516237" y="13459"/>
                        </a:cubicBezTo>
                        <a:close/>
                        <a:moveTo>
                          <a:pt x="888111" y="2057"/>
                        </a:moveTo>
                        <a:lnTo>
                          <a:pt x="976551" y="2057"/>
                        </a:lnTo>
                        <a:lnTo>
                          <a:pt x="976551" y="13916"/>
                        </a:lnTo>
                        <a:lnTo>
                          <a:pt x="900655" y="13916"/>
                        </a:lnTo>
                        <a:lnTo>
                          <a:pt x="900655" y="74981"/>
                        </a:lnTo>
                        <a:lnTo>
                          <a:pt x="969693" y="74981"/>
                        </a:lnTo>
                        <a:lnTo>
                          <a:pt x="969693" y="86839"/>
                        </a:lnTo>
                        <a:lnTo>
                          <a:pt x="900655" y="86839"/>
                        </a:lnTo>
                        <a:lnTo>
                          <a:pt x="900655" y="150190"/>
                        </a:lnTo>
                        <a:lnTo>
                          <a:pt x="978837" y="150190"/>
                        </a:lnTo>
                        <a:lnTo>
                          <a:pt x="978837" y="162049"/>
                        </a:lnTo>
                        <a:lnTo>
                          <a:pt x="888111" y="162049"/>
                        </a:lnTo>
                        <a:close/>
                        <a:moveTo>
                          <a:pt x="840534" y="2057"/>
                        </a:moveTo>
                        <a:lnTo>
                          <a:pt x="855850" y="2057"/>
                        </a:lnTo>
                        <a:lnTo>
                          <a:pt x="780183" y="77711"/>
                        </a:lnTo>
                        <a:lnTo>
                          <a:pt x="859050" y="162049"/>
                        </a:lnTo>
                        <a:lnTo>
                          <a:pt x="842820" y="162049"/>
                        </a:lnTo>
                        <a:lnTo>
                          <a:pt x="765324" y="78625"/>
                        </a:lnTo>
                        <a:close/>
                        <a:moveTo>
                          <a:pt x="745236" y="2057"/>
                        </a:moveTo>
                        <a:lnTo>
                          <a:pt x="757780" y="2057"/>
                        </a:lnTo>
                        <a:lnTo>
                          <a:pt x="757780" y="162049"/>
                        </a:lnTo>
                        <a:lnTo>
                          <a:pt x="745236" y="162049"/>
                        </a:lnTo>
                        <a:close/>
                        <a:moveTo>
                          <a:pt x="345186" y="2057"/>
                        </a:moveTo>
                        <a:lnTo>
                          <a:pt x="433626" y="2057"/>
                        </a:lnTo>
                        <a:lnTo>
                          <a:pt x="433626" y="13916"/>
                        </a:lnTo>
                        <a:lnTo>
                          <a:pt x="357731" y="13916"/>
                        </a:lnTo>
                        <a:lnTo>
                          <a:pt x="357731" y="74981"/>
                        </a:lnTo>
                        <a:lnTo>
                          <a:pt x="426768" y="74981"/>
                        </a:lnTo>
                        <a:lnTo>
                          <a:pt x="426768" y="86839"/>
                        </a:lnTo>
                        <a:lnTo>
                          <a:pt x="357731" y="86839"/>
                        </a:lnTo>
                        <a:lnTo>
                          <a:pt x="357731" y="150190"/>
                        </a:lnTo>
                        <a:lnTo>
                          <a:pt x="435912" y="150190"/>
                        </a:lnTo>
                        <a:lnTo>
                          <a:pt x="435912" y="162049"/>
                        </a:lnTo>
                        <a:lnTo>
                          <a:pt x="345186" y="162049"/>
                        </a:lnTo>
                        <a:close/>
                        <a:moveTo>
                          <a:pt x="173736" y="2057"/>
                        </a:moveTo>
                        <a:lnTo>
                          <a:pt x="186281" y="2057"/>
                        </a:lnTo>
                        <a:lnTo>
                          <a:pt x="186281" y="74524"/>
                        </a:lnTo>
                        <a:lnTo>
                          <a:pt x="286207" y="74524"/>
                        </a:lnTo>
                        <a:lnTo>
                          <a:pt x="286207" y="2057"/>
                        </a:lnTo>
                        <a:lnTo>
                          <a:pt x="298752" y="2057"/>
                        </a:lnTo>
                        <a:lnTo>
                          <a:pt x="298752" y="162049"/>
                        </a:lnTo>
                        <a:lnTo>
                          <a:pt x="286207" y="162049"/>
                        </a:lnTo>
                        <a:lnTo>
                          <a:pt x="286207" y="86382"/>
                        </a:lnTo>
                        <a:lnTo>
                          <a:pt x="186281" y="86382"/>
                        </a:lnTo>
                        <a:lnTo>
                          <a:pt x="186281" y="162049"/>
                        </a:lnTo>
                        <a:lnTo>
                          <a:pt x="173736" y="162049"/>
                        </a:lnTo>
                        <a:close/>
                        <a:moveTo>
                          <a:pt x="0" y="2057"/>
                        </a:moveTo>
                        <a:lnTo>
                          <a:pt x="12545" y="2057"/>
                        </a:lnTo>
                        <a:lnTo>
                          <a:pt x="12545" y="91211"/>
                        </a:lnTo>
                        <a:cubicBezTo>
                          <a:pt x="12754" y="110747"/>
                          <a:pt x="17537" y="125739"/>
                          <a:pt x="26893" y="136188"/>
                        </a:cubicBezTo>
                        <a:cubicBezTo>
                          <a:pt x="36250" y="146637"/>
                          <a:pt x="48922" y="151914"/>
                          <a:pt x="64909" y="152019"/>
                        </a:cubicBezTo>
                        <a:cubicBezTo>
                          <a:pt x="79215" y="152090"/>
                          <a:pt x="90734" y="147261"/>
                          <a:pt x="99466" y="137531"/>
                        </a:cubicBezTo>
                        <a:cubicBezTo>
                          <a:pt x="108198" y="127802"/>
                          <a:pt x="112686" y="112743"/>
                          <a:pt x="112929" y="92354"/>
                        </a:cubicBezTo>
                        <a:lnTo>
                          <a:pt x="112929" y="2057"/>
                        </a:lnTo>
                        <a:lnTo>
                          <a:pt x="125473" y="2057"/>
                        </a:lnTo>
                        <a:lnTo>
                          <a:pt x="125473" y="95098"/>
                        </a:lnTo>
                        <a:cubicBezTo>
                          <a:pt x="125322" y="111348"/>
                          <a:pt x="122477" y="124539"/>
                          <a:pt x="116936" y="134672"/>
                        </a:cubicBezTo>
                        <a:cubicBezTo>
                          <a:pt x="111395" y="144805"/>
                          <a:pt x="104064" y="152220"/>
                          <a:pt x="94941" y="156917"/>
                        </a:cubicBezTo>
                        <a:cubicBezTo>
                          <a:pt x="85818" y="161614"/>
                          <a:pt x="75807" y="163934"/>
                          <a:pt x="64909" y="163878"/>
                        </a:cubicBezTo>
                        <a:cubicBezTo>
                          <a:pt x="45898" y="163874"/>
                          <a:pt x="30421" y="158002"/>
                          <a:pt x="18477" y="146261"/>
                        </a:cubicBezTo>
                        <a:cubicBezTo>
                          <a:pt x="6534" y="134520"/>
                          <a:pt x="375" y="116932"/>
                          <a:pt x="0" y="93497"/>
                        </a:cubicBezTo>
                        <a:close/>
                        <a:moveTo>
                          <a:pt x="516923" y="1600"/>
                        </a:moveTo>
                        <a:cubicBezTo>
                          <a:pt x="531365" y="1717"/>
                          <a:pt x="542675" y="3897"/>
                          <a:pt x="550853" y="8142"/>
                        </a:cubicBezTo>
                        <a:cubicBezTo>
                          <a:pt x="559032" y="12386"/>
                          <a:pt x="564783" y="17994"/>
                          <a:pt x="568108" y="24967"/>
                        </a:cubicBezTo>
                        <a:cubicBezTo>
                          <a:pt x="571433" y="31939"/>
                          <a:pt x="573037" y="39575"/>
                          <a:pt x="572919" y="47875"/>
                        </a:cubicBezTo>
                        <a:cubicBezTo>
                          <a:pt x="572682" y="59491"/>
                          <a:pt x="569048" y="69236"/>
                          <a:pt x="562016" y="77112"/>
                        </a:cubicBezTo>
                        <a:cubicBezTo>
                          <a:pt x="554984" y="84988"/>
                          <a:pt x="545975" y="90137"/>
                          <a:pt x="534990" y="92560"/>
                        </a:cubicBezTo>
                        <a:lnTo>
                          <a:pt x="590979" y="162049"/>
                        </a:lnTo>
                        <a:lnTo>
                          <a:pt x="575434" y="162049"/>
                        </a:lnTo>
                        <a:lnTo>
                          <a:pt x="522183" y="95069"/>
                        </a:lnTo>
                        <a:lnTo>
                          <a:pt x="491080" y="95069"/>
                        </a:lnTo>
                        <a:lnTo>
                          <a:pt x="491080" y="162049"/>
                        </a:lnTo>
                        <a:lnTo>
                          <a:pt x="478536" y="162049"/>
                        </a:lnTo>
                        <a:lnTo>
                          <a:pt x="478536" y="2056"/>
                        </a:lnTo>
                        <a:cubicBezTo>
                          <a:pt x="481726" y="2051"/>
                          <a:pt x="486022" y="2011"/>
                          <a:pt x="491425" y="1938"/>
                        </a:cubicBezTo>
                        <a:cubicBezTo>
                          <a:pt x="496828" y="1865"/>
                          <a:pt x="501992" y="1792"/>
                          <a:pt x="506915" y="1718"/>
                        </a:cubicBezTo>
                        <a:cubicBezTo>
                          <a:pt x="511838" y="1645"/>
                          <a:pt x="515174" y="1606"/>
                          <a:pt x="516923" y="1600"/>
                        </a:cubicBezTo>
                        <a:close/>
                        <a:moveTo>
                          <a:pt x="659344" y="0"/>
                        </a:moveTo>
                        <a:cubicBezTo>
                          <a:pt x="668383" y="61"/>
                          <a:pt x="676662" y="1535"/>
                          <a:pt x="684184" y="4420"/>
                        </a:cubicBezTo>
                        <a:cubicBezTo>
                          <a:pt x="691705" y="7305"/>
                          <a:pt x="697750" y="11233"/>
                          <a:pt x="702320" y="16204"/>
                        </a:cubicBezTo>
                        <a:lnTo>
                          <a:pt x="695477" y="25578"/>
                        </a:lnTo>
                        <a:cubicBezTo>
                          <a:pt x="686330" y="16432"/>
                          <a:pt x="674438" y="11859"/>
                          <a:pt x="659801" y="11859"/>
                        </a:cubicBezTo>
                        <a:cubicBezTo>
                          <a:pt x="649177" y="11973"/>
                          <a:pt x="640867" y="14545"/>
                          <a:pt x="634874" y="19576"/>
                        </a:cubicBezTo>
                        <a:cubicBezTo>
                          <a:pt x="628880" y="24606"/>
                          <a:pt x="625831" y="31408"/>
                          <a:pt x="625726" y="39983"/>
                        </a:cubicBezTo>
                        <a:cubicBezTo>
                          <a:pt x="625947" y="48763"/>
                          <a:pt x="628815" y="55567"/>
                          <a:pt x="634332" y="60394"/>
                        </a:cubicBezTo>
                        <a:cubicBezTo>
                          <a:pt x="639849" y="65222"/>
                          <a:pt x="646690" y="69168"/>
                          <a:pt x="654855" y="72234"/>
                        </a:cubicBezTo>
                        <a:cubicBezTo>
                          <a:pt x="663020" y="75300"/>
                          <a:pt x="671185" y="78581"/>
                          <a:pt x="679350" y="82077"/>
                        </a:cubicBezTo>
                        <a:cubicBezTo>
                          <a:pt x="687515" y="85573"/>
                          <a:pt x="694356" y="90379"/>
                          <a:pt x="699873" y="96496"/>
                        </a:cubicBezTo>
                        <a:cubicBezTo>
                          <a:pt x="705390" y="102613"/>
                          <a:pt x="708258" y="111137"/>
                          <a:pt x="708479" y="122066"/>
                        </a:cubicBezTo>
                        <a:cubicBezTo>
                          <a:pt x="708128" y="135022"/>
                          <a:pt x="703179" y="145229"/>
                          <a:pt x="693631" y="152689"/>
                        </a:cubicBezTo>
                        <a:cubicBezTo>
                          <a:pt x="684083" y="160149"/>
                          <a:pt x="672045" y="163955"/>
                          <a:pt x="657514" y="164106"/>
                        </a:cubicBezTo>
                        <a:cubicBezTo>
                          <a:pt x="647662" y="164045"/>
                          <a:pt x="638100" y="162001"/>
                          <a:pt x="628827" y="157974"/>
                        </a:cubicBezTo>
                        <a:cubicBezTo>
                          <a:pt x="619554" y="153947"/>
                          <a:pt x="612739" y="148303"/>
                          <a:pt x="608381" y="141044"/>
                        </a:cubicBezTo>
                        <a:lnTo>
                          <a:pt x="615917" y="132355"/>
                        </a:lnTo>
                        <a:cubicBezTo>
                          <a:pt x="620832" y="138786"/>
                          <a:pt x="627095" y="143702"/>
                          <a:pt x="634706" y="147103"/>
                        </a:cubicBezTo>
                        <a:cubicBezTo>
                          <a:pt x="642317" y="150504"/>
                          <a:pt x="649843" y="152219"/>
                          <a:pt x="657286" y="152248"/>
                        </a:cubicBezTo>
                        <a:cubicBezTo>
                          <a:pt x="667472" y="152228"/>
                          <a:pt x="676258" y="149694"/>
                          <a:pt x="683643" y="144645"/>
                        </a:cubicBezTo>
                        <a:cubicBezTo>
                          <a:pt x="691028" y="139596"/>
                          <a:pt x="694896" y="132146"/>
                          <a:pt x="695249" y="122295"/>
                        </a:cubicBezTo>
                        <a:cubicBezTo>
                          <a:pt x="695028" y="113416"/>
                          <a:pt x="692159" y="106480"/>
                          <a:pt x="686643" y="101486"/>
                        </a:cubicBezTo>
                        <a:cubicBezTo>
                          <a:pt x="681126" y="96493"/>
                          <a:pt x="674285" y="92388"/>
                          <a:pt x="666120" y="89172"/>
                        </a:cubicBezTo>
                        <a:cubicBezTo>
                          <a:pt x="657955" y="85957"/>
                          <a:pt x="649790" y="82577"/>
                          <a:pt x="641625" y="79032"/>
                        </a:cubicBezTo>
                        <a:cubicBezTo>
                          <a:pt x="633460" y="75487"/>
                          <a:pt x="626619" y="70724"/>
                          <a:pt x="621102" y="64742"/>
                        </a:cubicBezTo>
                        <a:cubicBezTo>
                          <a:pt x="615585" y="58761"/>
                          <a:pt x="612716" y="50508"/>
                          <a:pt x="612496" y="39983"/>
                        </a:cubicBezTo>
                        <a:cubicBezTo>
                          <a:pt x="612590" y="28514"/>
                          <a:pt x="616681" y="19049"/>
                          <a:pt x="624771" y="11589"/>
                        </a:cubicBezTo>
                        <a:cubicBezTo>
                          <a:pt x="632861" y="4128"/>
                          <a:pt x="644385" y="265"/>
                          <a:pt x="659344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462" name="Полілінія: фігура 461">
                    <a:extLst>
                      <a:ext uri="{FF2B5EF4-FFF2-40B4-BE49-F238E27FC236}">
                        <a16:creationId xmlns:a16="http://schemas.microsoft.com/office/drawing/2014/main" id="{59048202-78AB-AB6B-4250-8E6D41167216}"/>
                      </a:ext>
                    </a:extLst>
                  </p:cNvPr>
                  <p:cNvSpPr/>
                  <p:nvPr/>
                </p:nvSpPr>
                <p:spPr>
                  <a:xfrm>
                    <a:off x="18475481" y="7531990"/>
                    <a:ext cx="1332801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2800" h="164106">
                        <a:moveTo>
                          <a:pt x="346325" y="13459"/>
                        </a:moveTo>
                        <a:cubicBezTo>
                          <a:pt x="343647" y="13464"/>
                          <a:pt x="339798" y="13511"/>
                          <a:pt x="334776" y="13602"/>
                        </a:cubicBezTo>
                        <a:cubicBezTo>
                          <a:pt x="329754" y="13693"/>
                          <a:pt x="325218" y="13798"/>
                          <a:pt x="321169" y="13917"/>
                        </a:cubicBezTo>
                        <a:lnTo>
                          <a:pt x="321169" y="83210"/>
                        </a:lnTo>
                        <a:lnTo>
                          <a:pt x="348841" y="83210"/>
                        </a:lnTo>
                        <a:cubicBezTo>
                          <a:pt x="355754" y="83169"/>
                          <a:pt x="362307" y="81696"/>
                          <a:pt x="368500" y="78791"/>
                        </a:cubicBezTo>
                        <a:cubicBezTo>
                          <a:pt x="374693" y="75887"/>
                          <a:pt x="379755" y="71796"/>
                          <a:pt x="383687" y="66520"/>
                        </a:cubicBezTo>
                        <a:cubicBezTo>
                          <a:pt x="387619" y="61244"/>
                          <a:pt x="389649" y="55029"/>
                          <a:pt x="389777" y="47875"/>
                        </a:cubicBezTo>
                        <a:cubicBezTo>
                          <a:pt x="389996" y="37909"/>
                          <a:pt x="386814" y="29735"/>
                          <a:pt x="380229" y="23354"/>
                        </a:cubicBezTo>
                        <a:cubicBezTo>
                          <a:pt x="373644" y="16972"/>
                          <a:pt x="362343" y="13674"/>
                          <a:pt x="346325" y="13459"/>
                        </a:cubicBezTo>
                        <a:close/>
                        <a:moveTo>
                          <a:pt x="1242074" y="2057"/>
                        </a:moveTo>
                        <a:lnTo>
                          <a:pt x="1330514" y="2057"/>
                        </a:lnTo>
                        <a:lnTo>
                          <a:pt x="1330514" y="13916"/>
                        </a:lnTo>
                        <a:lnTo>
                          <a:pt x="1254619" y="13916"/>
                        </a:lnTo>
                        <a:lnTo>
                          <a:pt x="1254619" y="74981"/>
                        </a:lnTo>
                        <a:lnTo>
                          <a:pt x="1323656" y="74981"/>
                        </a:lnTo>
                        <a:lnTo>
                          <a:pt x="1323656" y="86839"/>
                        </a:lnTo>
                        <a:lnTo>
                          <a:pt x="1254619" y="86839"/>
                        </a:lnTo>
                        <a:lnTo>
                          <a:pt x="1254619" y="150190"/>
                        </a:lnTo>
                        <a:lnTo>
                          <a:pt x="1332800" y="150190"/>
                        </a:lnTo>
                        <a:lnTo>
                          <a:pt x="1332800" y="162049"/>
                        </a:lnTo>
                        <a:lnTo>
                          <a:pt x="1242074" y="162049"/>
                        </a:lnTo>
                        <a:close/>
                        <a:moveTo>
                          <a:pt x="1194497" y="2057"/>
                        </a:moveTo>
                        <a:lnTo>
                          <a:pt x="1209813" y="2057"/>
                        </a:lnTo>
                        <a:lnTo>
                          <a:pt x="1134146" y="77711"/>
                        </a:lnTo>
                        <a:lnTo>
                          <a:pt x="1213013" y="162049"/>
                        </a:lnTo>
                        <a:lnTo>
                          <a:pt x="1196783" y="162049"/>
                        </a:lnTo>
                        <a:lnTo>
                          <a:pt x="1119287" y="78625"/>
                        </a:lnTo>
                        <a:close/>
                        <a:moveTo>
                          <a:pt x="1099199" y="2057"/>
                        </a:moveTo>
                        <a:lnTo>
                          <a:pt x="1111744" y="2057"/>
                        </a:lnTo>
                        <a:lnTo>
                          <a:pt x="1111744" y="162049"/>
                        </a:lnTo>
                        <a:lnTo>
                          <a:pt x="1099199" y="162049"/>
                        </a:lnTo>
                        <a:close/>
                        <a:moveTo>
                          <a:pt x="794399" y="2057"/>
                        </a:moveTo>
                        <a:lnTo>
                          <a:pt x="804433" y="2057"/>
                        </a:lnTo>
                        <a:lnTo>
                          <a:pt x="913957" y="140107"/>
                        </a:lnTo>
                        <a:lnTo>
                          <a:pt x="913957" y="2057"/>
                        </a:lnTo>
                        <a:lnTo>
                          <a:pt x="925816" y="2057"/>
                        </a:lnTo>
                        <a:lnTo>
                          <a:pt x="925816" y="162049"/>
                        </a:lnTo>
                        <a:lnTo>
                          <a:pt x="915781" y="162049"/>
                        </a:lnTo>
                        <a:lnTo>
                          <a:pt x="806258" y="24457"/>
                        </a:lnTo>
                        <a:lnTo>
                          <a:pt x="806258" y="162049"/>
                        </a:lnTo>
                        <a:lnTo>
                          <a:pt x="794399" y="162049"/>
                        </a:lnTo>
                        <a:close/>
                        <a:moveTo>
                          <a:pt x="620663" y="2057"/>
                        </a:moveTo>
                        <a:lnTo>
                          <a:pt x="633208" y="2057"/>
                        </a:lnTo>
                        <a:lnTo>
                          <a:pt x="633208" y="91211"/>
                        </a:lnTo>
                        <a:cubicBezTo>
                          <a:pt x="633417" y="110747"/>
                          <a:pt x="638200" y="125740"/>
                          <a:pt x="647556" y="136188"/>
                        </a:cubicBezTo>
                        <a:cubicBezTo>
                          <a:pt x="656913" y="146637"/>
                          <a:pt x="669585" y="151914"/>
                          <a:pt x="685572" y="152019"/>
                        </a:cubicBezTo>
                        <a:cubicBezTo>
                          <a:pt x="699878" y="152090"/>
                          <a:pt x="711397" y="147261"/>
                          <a:pt x="720129" y="137532"/>
                        </a:cubicBezTo>
                        <a:cubicBezTo>
                          <a:pt x="728861" y="127802"/>
                          <a:pt x="733349" y="112743"/>
                          <a:pt x="733592" y="92354"/>
                        </a:cubicBezTo>
                        <a:lnTo>
                          <a:pt x="733592" y="2057"/>
                        </a:lnTo>
                        <a:lnTo>
                          <a:pt x="746136" y="2057"/>
                        </a:lnTo>
                        <a:lnTo>
                          <a:pt x="746136" y="95098"/>
                        </a:lnTo>
                        <a:cubicBezTo>
                          <a:pt x="745985" y="111348"/>
                          <a:pt x="743140" y="124539"/>
                          <a:pt x="737599" y="134672"/>
                        </a:cubicBezTo>
                        <a:cubicBezTo>
                          <a:pt x="732058" y="144805"/>
                          <a:pt x="724727" y="152220"/>
                          <a:pt x="715604" y="156917"/>
                        </a:cubicBezTo>
                        <a:cubicBezTo>
                          <a:pt x="706481" y="161614"/>
                          <a:pt x="696470" y="163935"/>
                          <a:pt x="685572" y="163878"/>
                        </a:cubicBezTo>
                        <a:cubicBezTo>
                          <a:pt x="666561" y="163874"/>
                          <a:pt x="651084" y="158002"/>
                          <a:pt x="639140" y="146261"/>
                        </a:cubicBezTo>
                        <a:cubicBezTo>
                          <a:pt x="627197" y="134520"/>
                          <a:pt x="621038" y="116932"/>
                          <a:pt x="620663" y="93497"/>
                        </a:cubicBezTo>
                        <a:close/>
                        <a:moveTo>
                          <a:pt x="451499" y="2057"/>
                        </a:moveTo>
                        <a:lnTo>
                          <a:pt x="464043" y="2057"/>
                        </a:lnTo>
                        <a:lnTo>
                          <a:pt x="464043" y="74524"/>
                        </a:lnTo>
                        <a:lnTo>
                          <a:pt x="563970" y="74524"/>
                        </a:lnTo>
                        <a:lnTo>
                          <a:pt x="563970" y="2057"/>
                        </a:lnTo>
                        <a:lnTo>
                          <a:pt x="576515" y="2057"/>
                        </a:lnTo>
                        <a:lnTo>
                          <a:pt x="576515" y="162049"/>
                        </a:lnTo>
                        <a:lnTo>
                          <a:pt x="563970" y="162049"/>
                        </a:lnTo>
                        <a:lnTo>
                          <a:pt x="563970" y="86382"/>
                        </a:lnTo>
                        <a:lnTo>
                          <a:pt x="464043" y="86382"/>
                        </a:lnTo>
                        <a:lnTo>
                          <a:pt x="464043" y="162049"/>
                        </a:lnTo>
                        <a:lnTo>
                          <a:pt x="451499" y="162049"/>
                        </a:lnTo>
                        <a:close/>
                        <a:moveTo>
                          <a:pt x="175274" y="2057"/>
                        </a:moveTo>
                        <a:lnTo>
                          <a:pt x="263714" y="2057"/>
                        </a:lnTo>
                        <a:lnTo>
                          <a:pt x="263714" y="13916"/>
                        </a:lnTo>
                        <a:lnTo>
                          <a:pt x="187819" y="13916"/>
                        </a:lnTo>
                        <a:lnTo>
                          <a:pt x="187819" y="74981"/>
                        </a:lnTo>
                        <a:lnTo>
                          <a:pt x="256856" y="74981"/>
                        </a:lnTo>
                        <a:lnTo>
                          <a:pt x="256856" y="86839"/>
                        </a:lnTo>
                        <a:lnTo>
                          <a:pt x="187819" y="86839"/>
                        </a:lnTo>
                        <a:lnTo>
                          <a:pt x="187819" y="150190"/>
                        </a:lnTo>
                        <a:lnTo>
                          <a:pt x="266000" y="150190"/>
                        </a:lnTo>
                        <a:lnTo>
                          <a:pt x="266000" y="162049"/>
                        </a:lnTo>
                        <a:lnTo>
                          <a:pt x="175274" y="162049"/>
                        </a:lnTo>
                        <a:close/>
                        <a:moveTo>
                          <a:pt x="0" y="2057"/>
                        </a:moveTo>
                        <a:lnTo>
                          <a:pt x="13487" y="2057"/>
                        </a:lnTo>
                        <a:lnTo>
                          <a:pt x="73609" y="144222"/>
                        </a:lnTo>
                        <a:lnTo>
                          <a:pt x="132131" y="2057"/>
                        </a:lnTo>
                        <a:lnTo>
                          <a:pt x="144932" y="2057"/>
                        </a:lnTo>
                        <a:lnTo>
                          <a:pt x="77724" y="163421"/>
                        </a:lnTo>
                        <a:lnTo>
                          <a:pt x="68808" y="163421"/>
                        </a:lnTo>
                        <a:close/>
                        <a:moveTo>
                          <a:pt x="347011" y="1600"/>
                        </a:moveTo>
                        <a:cubicBezTo>
                          <a:pt x="361453" y="1717"/>
                          <a:pt x="372763" y="3897"/>
                          <a:pt x="380941" y="8142"/>
                        </a:cubicBezTo>
                        <a:cubicBezTo>
                          <a:pt x="389119" y="12386"/>
                          <a:pt x="394871" y="17994"/>
                          <a:pt x="398196" y="24967"/>
                        </a:cubicBezTo>
                        <a:cubicBezTo>
                          <a:pt x="401521" y="31939"/>
                          <a:pt x="403125" y="39575"/>
                          <a:pt x="403007" y="47875"/>
                        </a:cubicBezTo>
                        <a:cubicBezTo>
                          <a:pt x="402771" y="59491"/>
                          <a:pt x="399136" y="69236"/>
                          <a:pt x="392104" y="77112"/>
                        </a:cubicBezTo>
                        <a:cubicBezTo>
                          <a:pt x="385072" y="84988"/>
                          <a:pt x="376063" y="90137"/>
                          <a:pt x="365078" y="92561"/>
                        </a:cubicBezTo>
                        <a:lnTo>
                          <a:pt x="421067" y="162049"/>
                        </a:lnTo>
                        <a:lnTo>
                          <a:pt x="405522" y="162049"/>
                        </a:lnTo>
                        <a:lnTo>
                          <a:pt x="352271" y="95069"/>
                        </a:lnTo>
                        <a:lnTo>
                          <a:pt x="321169" y="95069"/>
                        </a:lnTo>
                        <a:lnTo>
                          <a:pt x="321169" y="162049"/>
                        </a:lnTo>
                        <a:lnTo>
                          <a:pt x="308624" y="162049"/>
                        </a:lnTo>
                        <a:lnTo>
                          <a:pt x="308624" y="2056"/>
                        </a:lnTo>
                        <a:cubicBezTo>
                          <a:pt x="311814" y="2051"/>
                          <a:pt x="316110" y="2011"/>
                          <a:pt x="321513" y="1938"/>
                        </a:cubicBezTo>
                        <a:cubicBezTo>
                          <a:pt x="326916" y="1865"/>
                          <a:pt x="332080" y="1792"/>
                          <a:pt x="337003" y="1718"/>
                        </a:cubicBezTo>
                        <a:cubicBezTo>
                          <a:pt x="341926" y="1645"/>
                          <a:pt x="345262" y="1606"/>
                          <a:pt x="347011" y="1600"/>
                        </a:cubicBezTo>
                        <a:close/>
                        <a:moveTo>
                          <a:pt x="1013307" y="0"/>
                        </a:moveTo>
                        <a:cubicBezTo>
                          <a:pt x="1022346" y="62"/>
                          <a:pt x="1030625" y="1535"/>
                          <a:pt x="1038147" y="4420"/>
                        </a:cubicBezTo>
                        <a:cubicBezTo>
                          <a:pt x="1045668" y="7305"/>
                          <a:pt x="1051713" y="11233"/>
                          <a:pt x="1056283" y="16204"/>
                        </a:cubicBezTo>
                        <a:lnTo>
                          <a:pt x="1049440" y="25578"/>
                        </a:lnTo>
                        <a:cubicBezTo>
                          <a:pt x="1040293" y="16432"/>
                          <a:pt x="1028401" y="11859"/>
                          <a:pt x="1013764" y="11859"/>
                        </a:cubicBezTo>
                        <a:cubicBezTo>
                          <a:pt x="1003140" y="11973"/>
                          <a:pt x="994830" y="14545"/>
                          <a:pt x="988837" y="19576"/>
                        </a:cubicBezTo>
                        <a:cubicBezTo>
                          <a:pt x="982843" y="24606"/>
                          <a:pt x="979794" y="31409"/>
                          <a:pt x="979689" y="39983"/>
                        </a:cubicBezTo>
                        <a:cubicBezTo>
                          <a:pt x="979910" y="48763"/>
                          <a:pt x="982778" y="55567"/>
                          <a:pt x="988295" y="60394"/>
                        </a:cubicBezTo>
                        <a:cubicBezTo>
                          <a:pt x="993812" y="65222"/>
                          <a:pt x="1000653" y="69169"/>
                          <a:pt x="1008818" y="72235"/>
                        </a:cubicBezTo>
                        <a:cubicBezTo>
                          <a:pt x="1016983" y="75301"/>
                          <a:pt x="1025148" y="78581"/>
                          <a:pt x="1033313" y="82077"/>
                        </a:cubicBezTo>
                        <a:cubicBezTo>
                          <a:pt x="1041478" y="85573"/>
                          <a:pt x="1048319" y="90380"/>
                          <a:pt x="1053836" y="96497"/>
                        </a:cubicBezTo>
                        <a:cubicBezTo>
                          <a:pt x="1059353" y="102614"/>
                          <a:pt x="1062221" y="111137"/>
                          <a:pt x="1062442" y="122066"/>
                        </a:cubicBezTo>
                        <a:cubicBezTo>
                          <a:pt x="1062091" y="135022"/>
                          <a:pt x="1057142" y="145229"/>
                          <a:pt x="1047594" y="152689"/>
                        </a:cubicBezTo>
                        <a:cubicBezTo>
                          <a:pt x="1038047" y="160150"/>
                          <a:pt x="1026008" y="163955"/>
                          <a:pt x="1011477" y="164106"/>
                        </a:cubicBezTo>
                        <a:cubicBezTo>
                          <a:pt x="1001625" y="164045"/>
                          <a:pt x="992063" y="162001"/>
                          <a:pt x="982790" y="157974"/>
                        </a:cubicBezTo>
                        <a:cubicBezTo>
                          <a:pt x="973517" y="153947"/>
                          <a:pt x="966702" y="148303"/>
                          <a:pt x="962344" y="141044"/>
                        </a:cubicBezTo>
                        <a:lnTo>
                          <a:pt x="969880" y="132355"/>
                        </a:lnTo>
                        <a:cubicBezTo>
                          <a:pt x="974795" y="138786"/>
                          <a:pt x="981058" y="143702"/>
                          <a:pt x="988669" y="147103"/>
                        </a:cubicBezTo>
                        <a:cubicBezTo>
                          <a:pt x="996280" y="150504"/>
                          <a:pt x="1003806" y="152219"/>
                          <a:pt x="1011249" y="152248"/>
                        </a:cubicBezTo>
                        <a:cubicBezTo>
                          <a:pt x="1021435" y="152229"/>
                          <a:pt x="1030221" y="149694"/>
                          <a:pt x="1037606" y="144645"/>
                        </a:cubicBezTo>
                        <a:cubicBezTo>
                          <a:pt x="1044991" y="139596"/>
                          <a:pt x="1048859" y="132146"/>
                          <a:pt x="1049212" y="122295"/>
                        </a:cubicBezTo>
                        <a:cubicBezTo>
                          <a:pt x="1048991" y="113416"/>
                          <a:pt x="1046122" y="106480"/>
                          <a:pt x="1040606" y="101487"/>
                        </a:cubicBezTo>
                        <a:cubicBezTo>
                          <a:pt x="1035089" y="96493"/>
                          <a:pt x="1028248" y="92388"/>
                          <a:pt x="1020083" y="89173"/>
                        </a:cubicBezTo>
                        <a:cubicBezTo>
                          <a:pt x="1011918" y="85957"/>
                          <a:pt x="1003753" y="82577"/>
                          <a:pt x="995588" y="79032"/>
                        </a:cubicBezTo>
                        <a:cubicBezTo>
                          <a:pt x="987423" y="75487"/>
                          <a:pt x="980582" y="70724"/>
                          <a:pt x="975065" y="64742"/>
                        </a:cubicBezTo>
                        <a:cubicBezTo>
                          <a:pt x="969548" y="58761"/>
                          <a:pt x="966679" y="50508"/>
                          <a:pt x="966459" y="39983"/>
                        </a:cubicBezTo>
                        <a:cubicBezTo>
                          <a:pt x="966552" y="28514"/>
                          <a:pt x="970644" y="19049"/>
                          <a:pt x="978734" y="11589"/>
                        </a:cubicBezTo>
                        <a:cubicBezTo>
                          <a:pt x="986824" y="4128"/>
                          <a:pt x="998348" y="266"/>
                          <a:pt x="1013307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463" name="TextBox 462">
                    <a:extLst>
                      <a:ext uri="{FF2B5EF4-FFF2-40B4-BE49-F238E27FC236}">
                        <a16:creationId xmlns:a16="http://schemas.microsoft.com/office/drawing/2014/main" id="{6F08A2A2-AFE9-3DF1-FA9C-55B49E751EBC}"/>
                      </a:ext>
                    </a:extLst>
                  </p:cNvPr>
                  <p:cNvSpPr txBox="1"/>
                  <p:nvPr/>
                </p:nvSpPr>
                <p:spPr>
                  <a:xfrm>
                    <a:off x="4362297" y="8851108"/>
                    <a:ext cx="3272076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72076" h="164107">
                        <a:moveTo>
                          <a:pt x="2194317" y="94413"/>
                        </a:moveTo>
                        <a:lnTo>
                          <a:pt x="2246667" y="94413"/>
                        </a:lnTo>
                        <a:lnTo>
                          <a:pt x="2246667" y="105586"/>
                        </a:lnTo>
                        <a:lnTo>
                          <a:pt x="2194317" y="105586"/>
                        </a:lnTo>
                        <a:close/>
                        <a:moveTo>
                          <a:pt x="927492" y="94413"/>
                        </a:moveTo>
                        <a:lnTo>
                          <a:pt x="979842" y="94413"/>
                        </a:lnTo>
                        <a:lnTo>
                          <a:pt x="979842" y="105586"/>
                        </a:lnTo>
                        <a:lnTo>
                          <a:pt x="927492" y="105586"/>
                        </a:lnTo>
                        <a:close/>
                        <a:moveTo>
                          <a:pt x="12545" y="85926"/>
                        </a:moveTo>
                        <a:lnTo>
                          <a:pt x="12545" y="149962"/>
                        </a:lnTo>
                        <a:cubicBezTo>
                          <a:pt x="15956" y="150100"/>
                          <a:pt x="20453" y="150281"/>
                          <a:pt x="26037" y="150505"/>
                        </a:cubicBezTo>
                        <a:cubicBezTo>
                          <a:pt x="31621" y="150729"/>
                          <a:pt x="37033" y="150853"/>
                          <a:pt x="42274" y="150877"/>
                        </a:cubicBezTo>
                        <a:cubicBezTo>
                          <a:pt x="56109" y="150891"/>
                          <a:pt x="66858" y="148061"/>
                          <a:pt x="74519" y="142386"/>
                        </a:cubicBezTo>
                        <a:cubicBezTo>
                          <a:pt x="82180" y="136712"/>
                          <a:pt x="86068" y="128107"/>
                          <a:pt x="86182" y="116572"/>
                        </a:cubicBezTo>
                        <a:cubicBezTo>
                          <a:pt x="86111" y="106690"/>
                          <a:pt x="82366" y="99124"/>
                          <a:pt x="74948" y="93873"/>
                        </a:cubicBezTo>
                        <a:cubicBezTo>
                          <a:pt x="67530" y="88623"/>
                          <a:pt x="56868" y="85974"/>
                          <a:pt x="42961" y="85926"/>
                        </a:cubicBezTo>
                        <a:close/>
                        <a:moveTo>
                          <a:pt x="2809476" y="13460"/>
                        </a:moveTo>
                        <a:cubicBezTo>
                          <a:pt x="2806798" y="13465"/>
                          <a:pt x="2802948" y="13512"/>
                          <a:pt x="2797926" y="13603"/>
                        </a:cubicBezTo>
                        <a:cubicBezTo>
                          <a:pt x="2792905" y="13694"/>
                          <a:pt x="2788369" y="13799"/>
                          <a:pt x="2784319" y="13918"/>
                        </a:cubicBezTo>
                        <a:lnTo>
                          <a:pt x="2784319" y="83211"/>
                        </a:lnTo>
                        <a:lnTo>
                          <a:pt x="2811991" y="83211"/>
                        </a:lnTo>
                        <a:cubicBezTo>
                          <a:pt x="2818904" y="83170"/>
                          <a:pt x="2825458" y="81697"/>
                          <a:pt x="2831650" y="78792"/>
                        </a:cubicBezTo>
                        <a:cubicBezTo>
                          <a:pt x="2837844" y="75887"/>
                          <a:pt x="2842906" y="71797"/>
                          <a:pt x="2846838" y="66521"/>
                        </a:cubicBezTo>
                        <a:cubicBezTo>
                          <a:pt x="2850770" y="61245"/>
                          <a:pt x="2852799" y="55030"/>
                          <a:pt x="2852928" y="47876"/>
                        </a:cubicBezTo>
                        <a:cubicBezTo>
                          <a:pt x="2853147" y="37910"/>
                          <a:pt x="2849964" y="29736"/>
                          <a:pt x="2843380" y="23355"/>
                        </a:cubicBezTo>
                        <a:cubicBezTo>
                          <a:pt x="2836795" y="16973"/>
                          <a:pt x="2825494" y="13675"/>
                          <a:pt x="2809476" y="13460"/>
                        </a:cubicBezTo>
                        <a:close/>
                        <a:moveTo>
                          <a:pt x="41588" y="13231"/>
                        </a:moveTo>
                        <a:lnTo>
                          <a:pt x="25780" y="13489"/>
                        </a:lnTo>
                        <a:cubicBezTo>
                          <a:pt x="20354" y="13646"/>
                          <a:pt x="15942" y="13789"/>
                          <a:pt x="12545" y="13918"/>
                        </a:cubicBezTo>
                        <a:lnTo>
                          <a:pt x="12545" y="74753"/>
                        </a:lnTo>
                        <a:lnTo>
                          <a:pt x="43647" y="74753"/>
                        </a:lnTo>
                        <a:cubicBezTo>
                          <a:pt x="53867" y="74677"/>
                          <a:pt x="62415" y="71913"/>
                          <a:pt x="69290" y="66463"/>
                        </a:cubicBezTo>
                        <a:cubicBezTo>
                          <a:pt x="76165" y="61012"/>
                          <a:pt x="79739" y="53331"/>
                          <a:pt x="80010" y="43421"/>
                        </a:cubicBezTo>
                        <a:cubicBezTo>
                          <a:pt x="80053" y="33658"/>
                          <a:pt x="76937" y="26196"/>
                          <a:pt x="70662" y="21036"/>
                        </a:cubicBezTo>
                        <a:cubicBezTo>
                          <a:pt x="67525" y="18456"/>
                          <a:pt x="63533" y="16515"/>
                          <a:pt x="58687" y="15215"/>
                        </a:cubicBezTo>
                        <a:close/>
                        <a:moveTo>
                          <a:pt x="2086494" y="11860"/>
                        </a:moveTo>
                        <a:cubicBezTo>
                          <a:pt x="2073718" y="11977"/>
                          <a:pt x="2062305" y="15045"/>
                          <a:pt x="2052256" y="21065"/>
                        </a:cubicBezTo>
                        <a:cubicBezTo>
                          <a:pt x="2042207" y="27085"/>
                          <a:pt x="2034266" y="35353"/>
                          <a:pt x="2028434" y="45869"/>
                        </a:cubicBezTo>
                        <a:cubicBezTo>
                          <a:pt x="2022602" y="56385"/>
                          <a:pt x="2019624" y="68447"/>
                          <a:pt x="2019500" y="82054"/>
                        </a:cubicBezTo>
                        <a:cubicBezTo>
                          <a:pt x="2019629" y="95518"/>
                          <a:pt x="2022624" y="107512"/>
                          <a:pt x="2028485" y="118036"/>
                        </a:cubicBezTo>
                        <a:cubicBezTo>
                          <a:pt x="2034347" y="128561"/>
                          <a:pt x="2042304" y="136863"/>
                          <a:pt x="2052358" y="142942"/>
                        </a:cubicBezTo>
                        <a:cubicBezTo>
                          <a:pt x="2062411" y="149021"/>
                          <a:pt x="2073790" y="152123"/>
                          <a:pt x="2086494" y="152249"/>
                        </a:cubicBezTo>
                        <a:cubicBezTo>
                          <a:pt x="2099630" y="152119"/>
                          <a:pt x="2111212" y="149000"/>
                          <a:pt x="2121240" y="142891"/>
                        </a:cubicBezTo>
                        <a:cubicBezTo>
                          <a:pt x="2131268" y="136783"/>
                          <a:pt x="2139124" y="128464"/>
                          <a:pt x="2144808" y="117935"/>
                        </a:cubicBezTo>
                        <a:cubicBezTo>
                          <a:pt x="2150492" y="107406"/>
                          <a:pt x="2153385" y="95446"/>
                          <a:pt x="2153488" y="82054"/>
                        </a:cubicBezTo>
                        <a:cubicBezTo>
                          <a:pt x="2153360" y="68447"/>
                          <a:pt x="2150365" y="56385"/>
                          <a:pt x="2144503" y="45869"/>
                        </a:cubicBezTo>
                        <a:cubicBezTo>
                          <a:pt x="2138642" y="35353"/>
                          <a:pt x="2130684" y="27085"/>
                          <a:pt x="2120631" y="21065"/>
                        </a:cubicBezTo>
                        <a:cubicBezTo>
                          <a:pt x="2110577" y="15045"/>
                          <a:pt x="2099198" y="11977"/>
                          <a:pt x="2086494" y="11860"/>
                        </a:cubicBezTo>
                        <a:close/>
                        <a:moveTo>
                          <a:pt x="1248294" y="11860"/>
                        </a:moveTo>
                        <a:cubicBezTo>
                          <a:pt x="1235518" y="11977"/>
                          <a:pt x="1224105" y="15045"/>
                          <a:pt x="1214056" y="21065"/>
                        </a:cubicBezTo>
                        <a:cubicBezTo>
                          <a:pt x="1204007" y="27085"/>
                          <a:pt x="1196066" y="35353"/>
                          <a:pt x="1190234" y="45869"/>
                        </a:cubicBezTo>
                        <a:cubicBezTo>
                          <a:pt x="1184402" y="56385"/>
                          <a:pt x="1181424" y="68447"/>
                          <a:pt x="1181300" y="82054"/>
                        </a:cubicBezTo>
                        <a:cubicBezTo>
                          <a:pt x="1181429" y="95518"/>
                          <a:pt x="1184424" y="107512"/>
                          <a:pt x="1190285" y="118036"/>
                        </a:cubicBezTo>
                        <a:cubicBezTo>
                          <a:pt x="1196147" y="128561"/>
                          <a:pt x="1204104" y="136863"/>
                          <a:pt x="1214158" y="142942"/>
                        </a:cubicBezTo>
                        <a:cubicBezTo>
                          <a:pt x="1224211" y="149021"/>
                          <a:pt x="1235590" y="152123"/>
                          <a:pt x="1248294" y="152249"/>
                        </a:cubicBezTo>
                        <a:cubicBezTo>
                          <a:pt x="1261430" y="152119"/>
                          <a:pt x="1273012" y="149000"/>
                          <a:pt x="1283040" y="142891"/>
                        </a:cubicBezTo>
                        <a:cubicBezTo>
                          <a:pt x="1293068" y="136783"/>
                          <a:pt x="1300924" y="128464"/>
                          <a:pt x="1306608" y="117935"/>
                        </a:cubicBezTo>
                        <a:cubicBezTo>
                          <a:pt x="1312292" y="107406"/>
                          <a:pt x="1315185" y="95446"/>
                          <a:pt x="1315288" y="82054"/>
                        </a:cubicBezTo>
                        <a:cubicBezTo>
                          <a:pt x="1315160" y="68447"/>
                          <a:pt x="1312165" y="56385"/>
                          <a:pt x="1306303" y="45869"/>
                        </a:cubicBezTo>
                        <a:cubicBezTo>
                          <a:pt x="1300442" y="35353"/>
                          <a:pt x="1292484" y="27085"/>
                          <a:pt x="1282431" y="21065"/>
                        </a:cubicBezTo>
                        <a:cubicBezTo>
                          <a:pt x="1272377" y="15045"/>
                          <a:pt x="1260998" y="11977"/>
                          <a:pt x="1248294" y="11860"/>
                        </a:cubicBezTo>
                        <a:close/>
                        <a:moveTo>
                          <a:pt x="3181350" y="2058"/>
                        </a:moveTo>
                        <a:lnTo>
                          <a:pt x="3269790" y="2058"/>
                        </a:lnTo>
                        <a:lnTo>
                          <a:pt x="3269790" y="13917"/>
                        </a:lnTo>
                        <a:lnTo>
                          <a:pt x="3193894" y="13917"/>
                        </a:lnTo>
                        <a:lnTo>
                          <a:pt x="3193894" y="74982"/>
                        </a:lnTo>
                        <a:lnTo>
                          <a:pt x="3262932" y="74982"/>
                        </a:lnTo>
                        <a:lnTo>
                          <a:pt x="3262932" y="86840"/>
                        </a:lnTo>
                        <a:lnTo>
                          <a:pt x="3193894" y="86840"/>
                        </a:lnTo>
                        <a:lnTo>
                          <a:pt x="3193894" y="150191"/>
                        </a:lnTo>
                        <a:lnTo>
                          <a:pt x="3272076" y="150191"/>
                        </a:lnTo>
                        <a:lnTo>
                          <a:pt x="3272076" y="162050"/>
                        </a:lnTo>
                        <a:lnTo>
                          <a:pt x="3181350" y="162050"/>
                        </a:lnTo>
                        <a:close/>
                        <a:moveTo>
                          <a:pt x="3133772" y="2058"/>
                        </a:moveTo>
                        <a:lnTo>
                          <a:pt x="3149089" y="2058"/>
                        </a:lnTo>
                        <a:lnTo>
                          <a:pt x="3073422" y="77712"/>
                        </a:lnTo>
                        <a:lnTo>
                          <a:pt x="3152289" y="162050"/>
                        </a:lnTo>
                        <a:lnTo>
                          <a:pt x="3136058" y="162050"/>
                        </a:lnTo>
                        <a:lnTo>
                          <a:pt x="3058563" y="78626"/>
                        </a:lnTo>
                        <a:close/>
                        <a:moveTo>
                          <a:pt x="3038475" y="2058"/>
                        </a:moveTo>
                        <a:lnTo>
                          <a:pt x="3051019" y="2058"/>
                        </a:lnTo>
                        <a:lnTo>
                          <a:pt x="3051019" y="162050"/>
                        </a:lnTo>
                        <a:lnTo>
                          <a:pt x="3038475" y="162050"/>
                        </a:lnTo>
                        <a:close/>
                        <a:moveTo>
                          <a:pt x="2638425" y="2058"/>
                        </a:moveTo>
                        <a:lnTo>
                          <a:pt x="2726864" y="2058"/>
                        </a:lnTo>
                        <a:lnTo>
                          <a:pt x="2726864" y="13917"/>
                        </a:lnTo>
                        <a:lnTo>
                          <a:pt x="2650969" y="13917"/>
                        </a:lnTo>
                        <a:lnTo>
                          <a:pt x="2650969" y="74982"/>
                        </a:lnTo>
                        <a:lnTo>
                          <a:pt x="2720006" y="74982"/>
                        </a:lnTo>
                        <a:lnTo>
                          <a:pt x="2720006" y="86840"/>
                        </a:lnTo>
                        <a:lnTo>
                          <a:pt x="2650969" y="86840"/>
                        </a:lnTo>
                        <a:lnTo>
                          <a:pt x="2650969" y="150191"/>
                        </a:lnTo>
                        <a:lnTo>
                          <a:pt x="2729150" y="150191"/>
                        </a:lnTo>
                        <a:lnTo>
                          <a:pt x="2729150" y="162050"/>
                        </a:lnTo>
                        <a:lnTo>
                          <a:pt x="2638425" y="162050"/>
                        </a:lnTo>
                        <a:close/>
                        <a:moveTo>
                          <a:pt x="2466975" y="2058"/>
                        </a:moveTo>
                        <a:lnTo>
                          <a:pt x="2479519" y="2058"/>
                        </a:lnTo>
                        <a:lnTo>
                          <a:pt x="2479519" y="74525"/>
                        </a:lnTo>
                        <a:lnTo>
                          <a:pt x="2579446" y="74525"/>
                        </a:lnTo>
                        <a:lnTo>
                          <a:pt x="2579446" y="2058"/>
                        </a:lnTo>
                        <a:lnTo>
                          <a:pt x="2591990" y="2058"/>
                        </a:lnTo>
                        <a:lnTo>
                          <a:pt x="2591990" y="162050"/>
                        </a:lnTo>
                        <a:lnTo>
                          <a:pt x="2579446" y="162050"/>
                        </a:lnTo>
                        <a:lnTo>
                          <a:pt x="2579446" y="86383"/>
                        </a:lnTo>
                        <a:lnTo>
                          <a:pt x="2479519" y="86383"/>
                        </a:lnTo>
                        <a:lnTo>
                          <a:pt x="2479519" y="162050"/>
                        </a:lnTo>
                        <a:lnTo>
                          <a:pt x="2466975" y="162050"/>
                        </a:lnTo>
                        <a:close/>
                        <a:moveTo>
                          <a:pt x="2293239" y="2058"/>
                        </a:moveTo>
                        <a:lnTo>
                          <a:pt x="2305783" y="2058"/>
                        </a:lnTo>
                        <a:lnTo>
                          <a:pt x="2305783" y="91212"/>
                        </a:lnTo>
                        <a:cubicBezTo>
                          <a:pt x="2305993" y="110748"/>
                          <a:pt x="2310776" y="125741"/>
                          <a:pt x="2320132" y="136189"/>
                        </a:cubicBezTo>
                        <a:cubicBezTo>
                          <a:pt x="2329488" y="146638"/>
                          <a:pt x="2342160" y="151915"/>
                          <a:pt x="2358148" y="152020"/>
                        </a:cubicBezTo>
                        <a:cubicBezTo>
                          <a:pt x="2372454" y="152091"/>
                          <a:pt x="2383973" y="147262"/>
                          <a:pt x="2392705" y="137532"/>
                        </a:cubicBezTo>
                        <a:cubicBezTo>
                          <a:pt x="2401437" y="127803"/>
                          <a:pt x="2405924" y="112744"/>
                          <a:pt x="2406167" y="92355"/>
                        </a:cubicBezTo>
                        <a:lnTo>
                          <a:pt x="2406167" y="2058"/>
                        </a:lnTo>
                        <a:lnTo>
                          <a:pt x="2418712" y="2058"/>
                        </a:lnTo>
                        <a:lnTo>
                          <a:pt x="2418712" y="95099"/>
                        </a:lnTo>
                        <a:cubicBezTo>
                          <a:pt x="2418561" y="111349"/>
                          <a:pt x="2415716" y="124540"/>
                          <a:pt x="2410175" y="134673"/>
                        </a:cubicBezTo>
                        <a:cubicBezTo>
                          <a:pt x="2404634" y="144806"/>
                          <a:pt x="2397302" y="152221"/>
                          <a:pt x="2388180" y="156918"/>
                        </a:cubicBezTo>
                        <a:cubicBezTo>
                          <a:pt x="2379056" y="161615"/>
                          <a:pt x="2369046" y="163935"/>
                          <a:pt x="2358148" y="163879"/>
                        </a:cubicBezTo>
                        <a:cubicBezTo>
                          <a:pt x="2339136" y="163875"/>
                          <a:pt x="2323659" y="158003"/>
                          <a:pt x="2311716" y="146262"/>
                        </a:cubicBezTo>
                        <a:cubicBezTo>
                          <a:pt x="2299773" y="134521"/>
                          <a:pt x="2293614" y="116934"/>
                          <a:pt x="2293239" y="93498"/>
                        </a:cubicBezTo>
                        <a:close/>
                        <a:moveTo>
                          <a:pt x="1971723" y="2058"/>
                        </a:moveTo>
                        <a:lnTo>
                          <a:pt x="1987039" y="2058"/>
                        </a:lnTo>
                        <a:lnTo>
                          <a:pt x="1911372" y="77712"/>
                        </a:lnTo>
                        <a:lnTo>
                          <a:pt x="1990239" y="162050"/>
                        </a:lnTo>
                        <a:lnTo>
                          <a:pt x="1974009" y="162050"/>
                        </a:lnTo>
                        <a:lnTo>
                          <a:pt x="1896513" y="78626"/>
                        </a:lnTo>
                        <a:close/>
                        <a:moveTo>
                          <a:pt x="1876425" y="2058"/>
                        </a:moveTo>
                        <a:lnTo>
                          <a:pt x="1888970" y="2058"/>
                        </a:lnTo>
                        <a:lnTo>
                          <a:pt x="1888970" y="162050"/>
                        </a:lnTo>
                        <a:lnTo>
                          <a:pt x="1876425" y="162050"/>
                        </a:lnTo>
                        <a:close/>
                        <a:moveTo>
                          <a:pt x="1596161" y="2058"/>
                        </a:moveTo>
                        <a:lnTo>
                          <a:pt x="1727121" y="2058"/>
                        </a:lnTo>
                        <a:lnTo>
                          <a:pt x="1727121" y="13917"/>
                        </a:lnTo>
                        <a:lnTo>
                          <a:pt x="1667913" y="13917"/>
                        </a:lnTo>
                        <a:lnTo>
                          <a:pt x="1667913" y="162050"/>
                        </a:lnTo>
                        <a:lnTo>
                          <a:pt x="1655369" y="162050"/>
                        </a:lnTo>
                        <a:lnTo>
                          <a:pt x="1655369" y="13917"/>
                        </a:lnTo>
                        <a:lnTo>
                          <a:pt x="1596161" y="13917"/>
                        </a:lnTo>
                        <a:close/>
                        <a:moveTo>
                          <a:pt x="1463726" y="2058"/>
                        </a:moveTo>
                        <a:lnTo>
                          <a:pt x="1478356" y="2058"/>
                        </a:lnTo>
                        <a:lnTo>
                          <a:pt x="1527490" y="80226"/>
                        </a:lnTo>
                        <a:lnTo>
                          <a:pt x="1576854" y="2058"/>
                        </a:lnTo>
                        <a:lnTo>
                          <a:pt x="1590799" y="2058"/>
                        </a:lnTo>
                        <a:lnTo>
                          <a:pt x="1533192" y="92111"/>
                        </a:lnTo>
                        <a:lnTo>
                          <a:pt x="1533192" y="162050"/>
                        </a:lnTo>
                        <a:lnTo>
                          <a:pt x="1520647" y="162050"/>
                        </a:lnTo>
                        <a:lnTo>
                          <a:pt x="1520647" y="92111"/>
                        </a:lnTo>
                        <a:close/>
                        <a:moveTo>
                          <a:pt x="1362075" y="2058"/>
                        </a:moveTo>
                        <a:lnTo>
                          <a:pt x="1374620" y="2058"/>
                        </a:lnTo>
                        <a:lnTo>
                          <a:pt x="1374620" y="150191"/>
                        </a:lnTo>
                        <a:lnTo>
                          <a:pt x="1458973" y="150191"/>
                        </a:lnTo>
                        <a:lnTo>
                          <a:pt x="1458973" y="162050"/>
                        </a:lnTo>
                        <a:lnTo>
                          <a:pt x="1362075" y="162050"/>
                        </a:lnTo>
                        <a:close/>
                        <a:moveTo>
                          <a:pt x="1005826" y="2058"/>
                        </a:moveTo>
                        <a:lnTo>
                          <a:pt x="1019313" y="2058"/>
                        </a:lnTo>
                        <a:lnTo>
                          <a:pt x="1079435" y="144223"/>
                        </a:lnTo>
                        <a:lnTo>
                          <a:pt x="1137957" y="2058"/>
                        </a:lnTo>
                        <a:lnTo>
                          <a:pt x="1150758" y="2058"/>
                        </a:lnTo>
                        <a:lnTo>
                          <a:pt x="1083550" y="163421"/>
                        </a:lnTo>
                        <a:lnTo>
                          <a:pt x="1074634" y="163421"/>
                        </a:lnTo>
                        <a:close/>
                        <a:moveTo>
                          <a:pt x="800100" y="2058"/>
                        </a:moveTo>
                        <a:lnTo>
                          <a:pt x="888540" y="2058"/>
                        </a:lnTo>
                        <a:lnTo>
                          <a:pt x="888540" y="13917"/>
                        </a:lnTo>
                        <a:lnTo>
                          <a:pt x="812644" y="13917"/>
                        </a:lnTo>
                        <a:lnTo>
                          <a:pt x="812644" y="74982"/>
                        </a:lnTo>
                        <a:lnTo>
                          <a:pt x="881682" y="74982"/>
                        </a:lnTo>
                        <a:lnTo>
                          <a:pt x="881682" y="86840"/>
                        </a:lnTo>
                        <a:lnTo>
                          <a:pt x="812644" y="86840"/>
                        </a:lnTo>
                        <a:lnTo>
                          <a:pt x="812644" y="150191"/>
                        </a:lnTo>
                        <a:lnTo>
                          <a:pt x="890826" y="150191"/>
                        </a:lnTo>
                        <a:lnTo>
                          <a:pt x="890826" y="162050"/>
                        </a:lnTo>
                        <a:lnTo>
                          <a:pt x="800100" y="162050"/>
                        </a:lnTo>
                        <a:close/>
                        <a:moveTo>
                          <a:pt x="628650" y="2058"/>
                        </a:moveTo>
                        <a:lnTo>
                          <a:pt x="641194" y="2058"/>
                        </a:lnTo>
                        <a:lnTo>
                          <a:pt x="641194" y="74525"/>
                        </a:lnTo>
                        <a:lnTo>
                          <a:pt x="741121" y="74525"/>
                        </a:lnTo>
                        <a:lnTo>
                          <a:pt x="741121" y="2058"/>
                        </a:lnTo>
                        <a:lnTo>
                          <a:pt x="753666" y="2058"/>
                        </a:lnTo>
                        <a:lnTo>
                          <a:pt x="753666" y="162050"/>
                        </a:lnTo>
                        <a:lnTo>
                          <a:pt x="741121" y="162050"/>
                        </a:lnTo>
                        <a:lnTo>
                          <a:pt x="741121" y="86383"/>
                        </a:lnTo>
                        <a:lnTo>
                          <a:pt x="641194" y="86383"/>
                        </a:lnTo>
                        <a:lnTo>
                          <a:pt x="641194" y="162050"/>
                        </a:lnTo>
                        <a:lnTo>
                          <a:pt x="628650" y="162050"/>
                        </a:lnTo>
                        <a:close/>
                        <a:moveTo>
                          <a:pt x="342900" y="2058"/>
                        </a:moveTo>
                        <a:lnTo>
                          <a:pt x="431340" y="2058"/>
                        </a:lnTo>
                        <a:lnTo>
                          <a:pt x="431340" y="13917"/>
                        </a:lnTo>
                        <a:lnTo>
                          <a:pt x="355445" y="13917"/>
                        </a:lnTo>
                        <a:lnTo>
                          <a:pt x="355445" y="74982"/>
                        </a:lnTo>
                        <a:lnTo>
                          <a:pt x="424482" y="74982"/>
                        </a:lnTo>
                        <a:lnTo>
                          <a:pt x="424482" y="86840"/>
                        </a:lnTo>
                        <a:lnTo>
                          <a:pt x="355445" y="86840"/>
                        </a:lnTo>
                        <a:lnTo>
                          <a:pt x="355445" y="150191"/>
                        </a:lnTo>
                        <a:lnTo>
                          <a:pt x="433626" y="150191"/>
                        </a:lnTo>
                        <a:lnTo>
                          <a:pt x="433626" y="162050"/>
                        </a:lnTo>
                        <a:lnTo>
                          <a:pt x="342900" y="162050"/>
                        </a:lnTo>
                        <a:close/>
                        <a:moveTo>
                          <a:pt x="219075" y="2058"/>
                        </a:moveTo>
                        <a:lnTo>
                          <a:pt x="231620" y="2058"/>
                        </a:lnTo>
                        <a:lnTo>
                          <a:pt x="231620" y="150191"/>
                        </a:lnTo>
                        <a:lnTo>
                          <a:pt x="315973" y="150191"/>
                        </a:lnTo>
                        <a:lnTo>
                          <a:pt x="315973" y="162050"/>
                        </a:lnTo>
                        <a:lnTo>
                          <a:pt x="219075" y="162050"/>
                        </a:lnTo>
                        <a:close/>
                        <a:moveTo>
                          <a:pt x="148362" y="2058"/>
                        </a:moveTo>
                        <a:lnTo>
                          <a:pt x="160906" y="2058"/>
                        </a:lnTo>
                        <a:lnTo>
                          <a:pt x="160906" y="162050"/>
                        </a:lnTo>
                        <a:lnTo>
                          <a:pt x="148362" y="162050"/>
                        </a:lnTo>
                        <a:close/>
                        <a:moveTo>
                          <a:pt x="2810162" y="1601"/>
                        </a:moveTo>
                        <a:cubicBezTo>
                          <a:pt x="2824604" y="1718"/>
                          <a:pt x="2835914" y="3898"/>
                          <a:pt x="2844092" y="8143"/>
                        </a:cubicBezTo>
                        <a:cubicBezTo>
                          <a:pt x="2852270" y="12387"/>
                          <a:pt x="2858022" y="17995"/>
                          <a:pt x="2861347" y="24968"/>
                        </a:cubicBezTo>
                        <a:cubicBezTo>
                          <a:pt x="2864672" y="31940"/>
                          <a:pt x="2866276" y="39576"/>
                          <a:pt x="2866158" y="47876"/>
                        </a:cubicBezTo>
                        <a:cubicBezTo>
                          <a:pt x="2865921" y="59492"/>
                          <a:pt x="2862287" y="69237"/>
                          <a:pt x="2855255" y="77113"/>
                        </a:cubicBezTo>
                        <a:cubicBezTo>
                          <a:pt x="2848223" y="84989"/>
                          <a:pt x="2839214" y="90138"/>
                          <a:pt x="2828228" y="92562"/>
                        </a:cubicBezTo>
                        <a:lnTo>
                          <a:pt x="2884218" y="162050"/>
                        </a:lnTo>
                        <a:lnTo>
                          <a:pt x="2868673" y="162050"/>
                        </a:lnTo>
                        <a:lnTo>
                          <a:pt x="2815422" y="95070"/>
                        </a:lnTo>
                        <a:lnTo>
                          <a:pt x="2784319" y="95070"/>
                        </a:lnTo>
                        <a:lnTo>
                          <a:pt x="2784319" y="162050"/>
                        </a:lnTo>
                        <a:lnTo>
                          <a:pt x="2771775" y="162050"/>
                        </a:lnTo>
                        <a:lnTo>
                          <a:pt x="2771775" y="2057"/>
                        </a:lnTo>
                        <a:cubicBezTo>
                          <a:pt x="2774964" y="2052"/>
                          <a:pt x="2779261" y="2012"/>
                          <a:pt x="2784664" y="1939"/>
                        </a:cubicBezTo>
                        <a:cubicBezTo>
                          <a:pt x="2790067" y="1866"/>
                          <a:pt x="2795230" y="1793"/>
                          <a:pt x="2800154" y="1719"/>
                        </a:cubicBezTo>
                        <a:cubicBezTo>
                          <a:pt x="2805077" y="1646"/>
                          <a:pt x="2808413" y="1607"/>
                          <a:pt x="2810162" y="1601"/>
                        </a:cubicBezTo>
                        <a:close/>
                        <a:moveTo>
                          <a:pt x="42047" y="1373"/>
                        </a:moveTo>
                        <a:cubicBezTo>
                          <a:pt x="60860" y="1633"/>
                          <a:pt x="74052" y="5449"/>
                          <a:pt x="81622" y="12820"/>
                        </a:cubicBezTo>
                        <a:cubicBezTo>
                          <a:pt x="89193" y="20190"/>
                          <a:pt x="92837" y="29552"/>
                          <a:pt x="92555" y="40905"/>
                        </a:cubicBezTo>
                        <a:cubicBezTo>
                          <a:pt x="92304" y="51530"/>
                          <a:pt x="89212" y="59954"/>
                          <a:pt x="83281" y="66175"/>
                        </a:cubicBezTo>
                        <a:cubicBezTo>
                          <a:pt x="77349" y="72397"/>
                          <a:pt x="70083" y="76472"/>
                          <a:pt x="61484" y="78401"/>
                        </a:cubicBezTo>
                        <a:lnTo>
                          <a:pt x="61484" y="78857"/>
                        </a:lnTo>
                        <a:cubicBezTo>
                          <a:pt x="73141" y="80254"/>
                          <a:pt x="82235" y="84194"/>
                          <a:pt x="88767" y="90679"/>
                        </a:cubicBezTo>
                        <a:cubicBezTo>
                          <a:pt x="95299" y="97164"/>
                          <a:pt x="98619" y="106023"/>
                          <a:pt x="98727" y="117258"/>
                        </a:cubicBezTo>
                        <a:cubicBezTo>
                          <a:pt x="98385" y="133161"/>
                          <a:pt x="92959" y="144743"/>
                          <a:pt x="82449" y="152004"/>
                        </a:cubicBezTo>
                        <a:cubicBezTo>
                          <a:pt x="71939" y="159264"/>
                          <a:pt x="58395" y="162842"/>
                          <a:pt x="41817" y="162736"/>
                        </a:cubicBezTo>
                        <a:cubicBezTo>
                          <a:pt x="34656" y="162726"/>
                          <a:pt x="27140" y="162631"/>
                          <a:pt x="19270" y="162451"/>
                        </a:cubicBezTo>
                        <a:cubicBezTo>
                          <a:pt x="11399" y="162270"/>
                          <a:pt x="4976" y="162061"/>
                          <a:pt x="0" y="161823"/>
                        </a:cubicBezTo>
                        <a:lnTo>
                          <a:pt x="0" y="2285"/>
                        </a:lnTo>
                        <a:cubicBezTo>
                          <a:pt x="4772" y="2147"/>
                          <a:pt x="11148" y="1967"/>
                          <a:pt x="19128" y="1743"/>
                        </a:cubicBezTo>
                        <a:cubicBezTo>
                          <a:pt x="27108" y="1520"/>
                          <a:pt x="34747" y="1396"/>
                          <a:pt x="42047" y="1373"/>
                        </a:cubicBezTo>
                        <a:close/>
                        <a:moveTo>
                          <a:pt x="2952583" y="1"/>
                        </a:moveTo>
                        <a:cubicBezTo>
                          <a:pt x="2961622" y="62"/>
                          <a:pt x="2969901" y="1536"/>
                          <a:pt x="2977422" y="4421"/>
                        </a:cubicBezTo>
                        <a:cubicBezTo>
                          <a:pt x="2984944" y="7306"/>
                          <a:pt x="2990989" y="11234"/>
                          <a:pt x="2995559" y="16205"/>
                        </a:cubicBezTo>
                        <a:lnTo>
                          <a:pt x="2988716" y="25579"/>
                        </a:lnTo>
                        <a:cubicBezTo>
                          <a:pt x="2979569" y="16433"/>
                          <a:pt x="2967676" y="11860"/>
                          <a:pt x="2953040" y="11860"/>
                        </a:cubicBezTo>
                        <a:cubicBezTo>
                          <a:pt x="2942415" y="11974"/>
                          <a:pt x="2934106" y="14546"/>
                          <a:pt x="2928112" y="19577"/>
                        </a:cubicBezTo>
                        <a:cubicBezTo>
                          <a:pt x="2922119" y="24607"/>
                          <a:pt x="2919070" y="31410"/>
                          <a:pt x="2918965" y="39984"/>
                        </a:cubicBezTo>
                        <a:cubicBezTo>
                          <a:pt x="2919186" y="48764"/>
                          <a:pt x="2922054" y="55568"/>
                          <a:pt x="2927571" y="60395"/>
                        </a:cubicBezTo>
                        <a:cubicBezTo>
                          <a:pt x="2933088" y="65223"/>
                          <a:pt x="2939929" y="69170"/>
                          <a:pt x="2948094" y="72236"/>
                        </a:cubicBezTo>
                        <a:cubicBezTo>
                          <a:pt x="2956259" y="75302"/>
                          <a:pt x="2964424" y="78582"/>
                          <a:pt x="2972589" y="82078"/>
                        </a:cubicBezTo>
                        <a:cubicBezTo>
                          <a:pt x="2980754" y="85574"/>
                          <a:pt x="2987594" y="90380"/>
                          <a:pt x="2993112" y="96498"/>
                        </a:cubicBezTo>
                        <a:cubicBezTo>
                          <a:pt x="2998628" y="102615"/>
                          <a:pt x="3001497" y="111138"/>
                          <a:pt x="3001718" y="122067"/>
                        </a:cubicBezTo>
                        <a:cubicBezTo>
                          <a:pt x="3001367" y="135023"/>
                          <a:pt x="2996417" y="145230"/>
                          <a:pt x="2986870" y="152690"/>
                        </a:cubicBezTo>
                        <a:cubicBezTo>
                          <a:pt x="2977322" y="160150"/>
                          <a:pt x="2965284" y="163956"/>
                          <a:pt x="2950753" y="164107"/>
                        </a:cubicBezTo>
                        <a:cubicBezTo>
                          <a:pt x="2940901" y="164046"/>
                          <a:pt x="2931338" y="162002"/>
                          <a:pt x="2922066" y="157975"/>
                        </a:cubicBezTo>
                        <a:cubicBezTo>
                          <a:pt x="2912793" y="153948"/>
                          <a:pt x="2905978" y="148304"/>
                          <a:pt x="2901620" y="141045"/>
                        </a:cubicBezTo>
                        <a:lnTo>
                          <a:pt x="2909156" y="132356"/>
                        </a:lnTo>
                        <a:cubicBezTo>
                          <a:pt x="2914071" y="138787"/>
                          <a:pt x="2920334" y="143703"/>
                          <a:pt x="2927944" y="147104"/>
                        </a:cubicBezTo>
                        <a:cubicBezTo>
                          <a:pt x="2935555" y="150505"/>
                          <a:pt x="2943082" y="152220"/>
                          <a:pt x="2950524" y="152249"/>
                        </a:cubicBezTo>
                        <a:cubicBezTo>
                          <a:pt x="2960711" y="152229"/>
                          <a:pt x="2969496" y="149695"/>
                          <a:pt x="2976882" y="144646"/>
                        </a:cubicBezTo>
                        <a:cubicBezTo>
                          <a:pt x="2984266" y="139597"/>
                          <a:pt x="2988135" y="132147"/>
                          <a:pt x="2988488" y="122296"/>
                        </a:cubicBezTo>
                        <a:cubicBezTo>
                          <a:pt x="2988267" y="113417"/>
                          <a:pt x="2985398" y="106481"/>
                          <a:pt x="2979882" y="101487"/>
                        </a:cubicBezTo>
                        <a:cubicBezTo>
                          <a:pt x="2974364" y="96494"/>
                          <a:pt x="2967524" y="92389"/>
                          <a:pt x="2959358" y="89174"/>
                        </a:cubicBezTo>
                        <a:cubicBezTo>
                          <a:pt x="2951194" y="85958"/>
                          <a:pt x="2943029" y="82578"/>
                          <a:pt x="2934864" y="79033"/>
                        </a:cubicBezTo>
                        <a:cubicBezTo>
                          <a:pt x="2926698" y="75488"/>
                          <a:pt x="2919858" y="70725"/>
                          <a:pt x="2914341" y="64743"/>
                        </a:cubicBezTo>
                        <a:cubicBezTo>
                          <a:pt x="2908824" y="58762"/>
                          <a:pt x="2905955" y="50509"/>
                          <a:pt x="2905734" y="39984"/>
                        </a:cubicBezTo>
                        <a:cubicBezTo>
                          <a:pt x="2905828" y="28515"/>
                          <a:pt x="2909920" y="19050"/>
                          <a:pt x="2918010" y="11590"/>
                        </a:cubicBezTo>
                        <a:cubicBezTo>
                          <a:pt x="2926100" y="4129"/>
                          <a:pt x="2937624" y="266"/>
                          <a:pt x="2952583" y="1"/>
                        </a:cubicBezTo>
                        <a:close/>
                        <a:moveTo>
                          <a:pt x="2086494" y="1"/>
                        </a:moveTo>
                        <a:cubicBezTo>
                          <a:pt x="2101809" y="129"/>
                          <a:pt x="2115483" y="3680"/>
                          <a:pt x="2127516" y="10655"/>
                        </a:cubicBezTo>
                        <a:cubicBezTo>
                          <a:pt x="2139549" y="17629"/>
                          <a:pt x="2149054" y="27259"/>
                          <a:pt x="2156031" y="39543"/>
                        </a:cubicBezTo>
                        <a:cubicBezTo>
                          <a:pt x="2163008" y="51827"/>
                          <a:pt x="2166571" y="65997"/>
                          <a:pt x="2166719" y="82054"/>
                        </a:cubicBezTo>
                        <a:cubicBezTo>
                          <a:pt x="2166571" y="97896"/>
                          <a:pt x="2163008" y="111964"/>
                          <a:pt x="2156031" y="124261"/>
                        </a:cubicBezTo>
                        <a:cubicBezTo>
                          <a:pt x="2149054" y="136558"/>
                          <a:pt x="2139549" y="146238"/>
                          <a:pt x="2127516" y="153301"/>
                        </a:cubicBezTo>
                        <a:cubicBezTo>
                          <a:pt x="2115483" y="160364"/>
                          <a:pt x="2101809" y="163966"/>
                          <a:pt x="2086494" y="164107"/>
                        </a:cubicBezTo>
                        <a:cubicBezTo>
                          <a:pt x="2071179" y="163979"/>
                          <a:pt x="2057505" y="160428"/>
                          <a:pt x="2045473" y="153454"/>
                        </a:cubicBezTo>
                        <a:cubicBezTo>
                          <a:pt x="2033440" y="146479"/>
                          <a:pt x="2023935" y="136850"/>
                          <a:pt x="2016957" y="124566"/>
                        </a:cubicBezTo>
                        <a:cubicBezTo>
                          <a:pt x="2009980" y="112282"/>
                          <a:pt x="2006418" y="98111"/>
                          <a:pt x="2006270" y="82054"/>
                        </a:cubicBezTo>
                        <a:cubicBezTo>
                          <a:pt x="2006405" y="66429"/>
                          <a:pt x="2009917" y="52462"/>
                          <a:pt x="2016805" y="40152"/>
                        </a:cubicBezTo>
                        <a:cubicBezTo>
                          <a:pt x="2023693" y="27843"/>
                          <a:pt x="2033147" y="18112"/>
                          <a:pt x="2045168" y="10960"/>
                        </a:cubicBezTo>
                        <a:cubicBezTo>
                          <a:pt x="2057188" y="3807"/>
                          <a:pt x="2070963" y="154"/>
                          <a:pt x="2086494" y="1"/>
                        </a:cubicBezTo>
                        <a:close/>
                        <a:moveTo>
                          <a:pt x="1790533" y="1"/>
                        </a:moveTo>
                        <a:cubicBezTo>
                          <a:pt x="1799572" y="62"/>
                          <a:pt x="1807851" y="1536"/>
                          <a:pt x="1815373" y="4421"/>
                        </a:cubicBezTo>
                        <a:cubicBezTo>
                          <a:pt x="1822894" y="7306"/>
                          <a:pt x="1828939" y="11234"/>
                          <a:pt x="1833509" y="16205"/>
                        </a:cubicBezTo>
                        <a:lnTo>
                          <a:pt x="1826666" y="25579"/>
                        </a:lnTo>
                        <a:cubicBezTo>
                          <a:pt x="1817519" y="16433"/>
                          <a:pt x="1805627" y="11860"/>
                          <a:pt x="1790990" y="11860"/>
                        </a:cubicBezTo>
                        <a:cubicBezTo>
                          <a:pt x="1780366" y="11974"/>
                          <a:pt x="1772056" y="14546"/>
                          <a:pt x="1766063" y="19577"/>
                        </a:cubicBezTo>
                        <a:cubicBezTo>
                          <a:pt x="1760069" y="24607"/>
                          <a:pt x="1757020" y="31410"/>
                          <a:pt x="1756915" y="39984"/>
                        </a:cubicBezTo>
                        <a:cubicBezTo>
                          <a:pt x="1757136" y="48764"/>
                          <a:pt x="1760004" y="55568"/>
                          <a:pt x="1765521" y="60395"/>
                        </a:cubicBezTo>
                        <a:cubicBezTo>
                          <a:pt x="1771038" y="65223"/>
                          <a:pt x="1777879" y="69170"/>
                          <a:pt x="1786044" y="72236"/>
                        </a:cubicBezTo>
                        <a:cubicBezTo>
                          <a:pt x="1794209" y="75302"/>
                          <a:pt x="1802374" y="78582"/>
                          <a:pt x="1810539" y="82078"/>
                        </a:cubicBezTo>
                        <a:cubicBezTo>
                          <a:pt x="1818704" y="85574"/>
                          <a:pt x="1825545" y="90380"/>
                          <a:pt x="1831062" y="96498"/>
                        </a:cubicBezTo>
                        <a:cubicBezTo>
                          <a:pt x="1836579" y="102615"/>
                          <a:pt x="1839447" y="111138"/>
                          <a:pt x="1839668" y="122067"/>
                        </a:cubicBezTo>
                        <a:cubicBezTo>
                          <a:pt x="1839317" y="135023"/>
                          <a:pt x="1834368" y="145230"/>
                          <a:pt x="1824820" y="152690"/>
                        </a:cubicBezTo>
                        <a:cubicBezTo>
                          <a:pt x="1815272" y="160150"/>
                          <a:pt x="1803234" y="163956"/>
                          <a:pt x="1788703" y="164107"/>
                        </a:cubicBezTo>
                        <a:cubicBezTo>
                          <a:pt x="1778851" y="164046"/>
                          <a:pt x="1769289" y="162002"/>
                          <a:pt x="1760016" y="157975"/>
                        </a:cubicBezTo>
                        <a:cubicBezTo>
                          <a:pt x="1750743" y="153948"/>
                          <a:pt x="1743928" y="148304"/>
                          <a:pt x="1739570" y="141045"/>
                        </a:cubicBezTo>
                        <a:lnTo>
                          <a:pt x="1747106" y="132356"/>
                        </a:lnTo>
                        <a:cubicBezTo>
                          <a:pt x="1752021" y="138787"/>
                          <a:pt x="1758284" y="143703"/>
                          <a:pt x="1765895" y="147104"/>
                        </a:cubicBezTo>
                        <a:cubicBezTo>
                          <a:pt x="1773506" y="150505"/>
                          <a:pt x="1781032" y="152220"/>
                          <a:pt x="1788475" y="152249"/>
                        </a:cubicBezTo>
                        <a:cubicBezTo>
                          <a:pt x="1798661" y="152229"/>
                          <a:pt x="1807447" y="149695"/>
                          <a:pt x="1814832" y="144646"/>
                        </a:cubicBezTo>
                        <a:cubicBezTo>
                          <a:pt x="1822217" y="139597"/>
                          <a:pt x="1826085" y="132147"/>
                          <a:pt x="1826438" y="122296"/>
                        </a:cubicBezTo>
                        <a:cubicBezTo>
                          <a:pt x="1826217" y="113417"/>
                          <a:pt x="1823348" y="106481"/>
                          <a:pt x="1817832" y="101487"/>
                        </a:cubicBezTo>
                        <a:cubicBezTo>
                          <a:pt x="1812315" y="96494"/>
                          <a:pt x="1805474" y="92389"/>
                          <a:pt x="1797309" y="89174"/>
                        </a:cubicBezTo>
                        <a:cubicBezTo>
                          <a:pt x="1789144" y="85958"/>
                          <a:pt x="1780979" y="82578"/>
                          <a:pt x="1772814" y="79033"/>
                        </a:cubicBezTo>
                        <a:cubicBezTo>
                          <a:pt x="1764649" y="75488"/>
                          <a:pt x="1757808" y="70725"/>
                          <a:pt x="1752291" y="64743"/>
                        </a:cubicBezTo>
                        <a:cubicBezTo>
                          <a:pt x="1746774" y="58762"/>
                          <a:pt x="1743905" y="50509"/>
                          <a:pt x="1743685" y="39984"/>
                        </a:cubicBezTo>
                        <a:cubicBezTo>
                          <a:pt x="1743779" y="28515"/>
                          <a:pt x="1747870" y="19050"/>
                          <a:pt x="1755960" y="11590"/>
                        </a:cubicBezTo>
                        <a:cubicBezTo>
                          <a:pt x="1764050" y="4129"/>
                          <a:pt x="1775574" y="266"/>
                          <a:pt x="1790533" y="1"/>
                        </a:cubicBezTo>
                        <a:close/>
                        <a:moveTo>
                          <a:pt x="1248294" y="1"/>
                        </a:moveTo>
                        <a:cubicBezTo>
                          <a:pt x="1263609" y="129"/>
                          <a:pt x="1277283" y="3680"/>
                          <a:pt x="1289316" y="10655"/>
                        </a:cubicBezTo>
                        <a:cubicBezTo>
                          <a:pt x="1301349" y="17629"/>
                          <a:pt x="1310854" y="27259"/>
                          <a:pt x="1317831" y="39543"/>
                        </a:cubicBezTo>
                        <a:cubicBezTo>
                          <a:pt x="1324808" y="51827"/>
                          <a:pt x="1328371" y="65997"/>
                          <a:pt x="1328519" y="82054"/>
                        </a:cubicBezTo>
                        <a:cubicBezTo>
                          <a:pt x="1328371" y="97896"/>
                          <a:pt x="1324808" y="111964"/>
                          <a:pt x="1317831" y="124261"/>
                        </a:cubicBezTo>
                        <a:cubicBezTo>
                          <a:pt x="1310854" y="136558"/>
                          <a:pt x="1301349" y="146238"/>
                          <a:pt x="1289316" y="153301"/>
                        </a:cubicBezTo>
                        <a:cubicBezTo>
                          <a:pt x="1277283" y="160364"/>
                          <a:pt x="1263609" y="163966"/>
                          <a:pt x="1248294" y="164107"/>
                        </a:cubicBezTo>
                        <a:cubicBezTo>
                          <a:pt x="1232979" y="163979"/>
                          <a:pt x="1219305" y="160428"/>
                          <a:pt x="1207273" y="153454"/>
                        </a:cubicBezTo>
                        <a:cubicBezTo>
                          <a:pt x="1195240" y="146479"/>
                          <a:pt x="1185735" y="136850"/>
                          <a:pt x="1178757" y="124566"/>
                        </a:cubicBezTo>
                        <a:cubicBezTo>
                          <a:pt x="1171780" y="112282"/>
                          <a:pt x="1168218" y="98111"/>
                          <a:pt x="1168070" y="82054"/>
                        </a:cubicBezTo>
                        <a:cubicBezTo>
                          <a:pt x="1168205" y="66429"/>
                          <a:pt x="1171717" y="52462"/>
                          <a:pt x="1178605" y="40152"/>
                        </a:cubicBezTo>
                        <a:cubicBezTo>
                          <a:pt x="1185493" y="27843"/>
                          <a:pt x="1194948" y="18112"/>
                          <a:pt x="1206968" y="10960"/>
                        </a:cubicBezTo>
                        <a:cubicBezTo>
                          <a:pt x="1218988" y="3807"/>
                          <a:pt x="1232763" y="154"/>
                          <a:pt x="1248294" y="1"/>
                        </a:cubicBezTo>
                        <a:close/>
                        <a:moveTo>
                          <a:pt x="541601" y="1"/>
                        </a:moveTo>
                        <a:cubicBezTo>
                          <a:pt x="561756" y="-1"/>
                          <a:pt x="577910" y="5020"/>
                          <a:pt x="590064" y="15061"/>
                        </a:cubicBezTo>
                        <a:lnTo>
                          <a:pt x="584121" y="24436"/>
                        </a:lnTo>
                        <a:cubicBezTo>
                          <a:pt x="578444" y="20111"/>
                          <a:pt x="572138" y="16928"/>
                          <a:pt x="565204" y="14889"/>
                        </a:cubicBezTo>
                        <a:cubicBezTo>
                          <a:pt x="558270" y="12851"/>
                          <a:pt x="550478" y="11841"/>
                          <a:pt x="541830" y="11860"/>
                        </a:cubicBezTo>
                        <a:cubicBezTo>
                          <a:pt x="528788" y="11977"/>
                          <a:pt x="517381" y="15045"/>
                          <a:pt x="507607" y="21065"/>
                        </a:cubicBezTo>
                        <a:cubicBezTo>
                          <a:pt x="497834" y="27085"/>
                          <a:pt x="490220" y="35353"/>
                          <a:pt x="484764" y="45869"/>
                        </a:cubicBezTo>
                        <a:cubicBezTo>
                          <a:pt x="479309" y="56385"/>
                          <a:pt x="476538" y="68447"/>
                          <a:pt x="476450" y="82054"/>
                        </a:cubicBezTo>
                        <a:cubicBezTo>
                          <a:pt x="476779" y="103385"/>
                          <a:pt x="483094" y="120343"/>
                          <a:pt x="495395" y="132928"/>
                        </a:cubicBezTo>
                        <a:cubicBezTo>
                          <a:pt x="507697" y="145513"/>
                          <a:pt x="524013" y="151953"/>
                          <a:pt x="544344" y="152249"/>
                        </a:cubicBezTo>
                        <a:cubicBezTo>
                          <a:pt x="552964" y="152191"/>
                          <a:pt x="560984" y="150820"/>
                          <a:pt x="568404" y="148133"/>
                        </a:cubicBezTo>
                        <a:cubicBezTo>
                          <a:pt x="575825" y="145446"/>
                          <a:pt x="582359" y="141788"/>
                          <a:pt x="588007" y="137158"/>
                        </a:cubicBezTo>
                        <a:lnTo>
                          <a:pt x="593036" y="146532"/>
                        </a:lnTo>
                        <a:cubicBezTo>
                          <a:pt x="587354" y="152060"/>
                          <a:pt x="580087" y="156360"/>
                          <a:pt x="571233" y="159430"/>
                        </a:cubicBezTo>
                        <a:cubicBezTo>
                          <a:pt x="562380" y="162501"/>
                          <a:pt x="553112" y="164060"/>
                          <a:pt x="543430" y="164107"/>
                        </a:cubicBezTo>
                        <a:cubicBezTo>
                          <a:pt x="519285" y="163804"/>
                          <a:pt x="499973" y="156359"/>
                          <a:pt x="485494" y="141773"/>
                        </a:cubicBezTo>
                        <a:cubicBezTo>
                          <a:pt x="471015" y="127186"/>
                          <a:pt x="463590" y="107280"/>
                          <a:pt x="463220" y="82054"/>
                        </a:cubicBezTo>
                        <a:cubicBezTo>
                          <a:pt x="463294" y="66573"/>
                          <a:pt x="466495" y="52674"/>
                          <a:pt x="472822" y="40356"/>
                        </a:cubicBezTo>
                        <a:cubicBezTo>
                          <a:pt x="479149" y="28038"/>
                          <a:pt x="488156" y="18273"/>
                          <a:pt x="499843" y="11061"/>
                        </a:cubicBezTo>
                        <a:cubicBezTo>
                          <a:pt x="511529" y="3850"/>
                          <a:pt x="525449" y="163"/>
                          <a:pt x="541601" y="1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i="0" cap="all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effectLst/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65" name="TextBox 464">
                    <a:extLst>
                      <a:ext uri="{FF2B5EF4-FFF2-40B4-BE49-F238E27FC236}">
                        <a16:creationId xmlns:a16="http://schemas.microsoft.com/office/drawing/2014/main" id="{3C1E7A89-DD5A-6854-07F0-5EAFED3488D7}"/>
                      </a:ext>
                    </a:extLst>
                  </p:cNvPr>
                  <p:cNvSpPr txBox="1"/>
                  <p:nvPr/>
                </p:nvSpPr>
                <p:spPr>
                  <a:xfrm>
                    <a:off x="9851401" y="7806862"/>
                    <a:ext cx="1300400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00401" h="164106">
                        <a:moveTo>
                          <a:pt x="682585" y="18059"/>
                        </a:moveTo>
                        <a:lnTo>
                          <a:pt x="649210" y="95783"/>
                        </a:lnTo>
                        <a:lnTo>
                          <a:pt x="715732" y="95783"/>
                        </a:lnTo>
                        <a:close/>
                        <a:moveTo>
                          <a:pt x="225385" y="18059"/>
                        </a:moveTo>
                        <a:lnTo>
                          <a:pt x="192010" y="95783"/>
                        </a:lnTo>
                        <a:lnTo>
                          <a:pt x="258532" y="95783"/>
                        </a:lnTo>
                        <a:close/>
                        <a:moveTo>
                          <a:pt x="40441" y="13230"/>
                        </a:moveTo>
                        <a:cubicBezTo>
                          <a:pt x="34677" y="13244"/>
                          <a:pt x="29742" y="13330"/>
                          <a:pt x="25636" y="13487"/>
                        </a:cubicBezTo>
                        <a:cubicBezTo>
                          <a:pt x="21529" y="13644"/>
                          <a:pt x="17165" y="13787"/>
                          <a:pt x="12545" y="13915"/>
                        </a:cubicBezTo>
                        <a:lnTo>
                          <a:pt x="12545" y="150190"/>
                        </a:lnTo>
                        <a:cubicBezTo>
                          <a:pt x="19271" y="150309"/>
                          <a:pt x="25197" y="150414"/>
                          <a:pt x="30323" y="150504"/>
                        </a:cubicBezTo>
                        <a:cubicBezTo>
                          <a:pt x="35449" y="150595"/>
                          <a:pt x="38517" y="150643"/>
                          <a:pt x="39527" y="150647"/>
                        </a:cubicBezTo>
                        <a:cubicBezTo>
                          <a:pt x="56686" y="150513"/>
                          <a:pt x="71047" y="147352"/>
                          <a:pt x="82608" y="141163"/>
                        </a:cubicBezTo>
                        <a:cubicBezTo>
                          <a:pt x="94170" y="134974"/>
                          <a:pt x="102873" y="126562"/>
                          <a:pt x="108718" y="115927"/>
                        </a:cubicBezTo>
                        <a:cubicBezTo>
                          <a:pt x="114563" y="105292"/>
                          <a:pt x="117491" y="93238"/>
                          <a:pt x="117501" y="79766"/>
                        </a:cubicBezTo>
                        <a:cubicBezTo>
                          <a:pt x="117536" y="67284"/>
                          <a:pt x="114823" y="56046"/>
                          <a:pt x="109362" y="46053"/>
                        </a:cubicBezTo>
                        <a:cubicBezTo>
                          <a:pt x="103901" y="36061"/>
                          <a:pt x="95480" y="28126"/>
                          <a:pt x="84099" y="22249"/>
                        </a:cubicBezTo>
                        <a:cubicBezTo>
                          <a:pt x="72718" y="16372"/>
                          <a:pt x="58166" y="13366"/>
                          <a:pt x="40441" y="13230"/>
                        </a:cubicBezTo>
                        <a:close/>
                        <a:moveTo>
                          <a:pt x="1209675" y="2057"/>
                        </a:moveTo>
                        <a:lnTo>
                          <a:pt x="1298115" y="2057"/>
                        </a:lnTo>
                        <a:lnTo>
                          <a:pt x="1298115" y="13916"/>
                        </a:lnTo>
                        <a:lnTo>
                          <a:pt x="1222220" y="13916"/>
                        </a:lnTo>
                        <a:lnTo>
                          <a:pt x="1222220" y="74981"/>
                        </a:lnTo>
                        <a:lnTo>
                          <a:pt x="1291257" y="74981"/>
                        </a:lnTo>
                        <a:lnTo>
                          <a:pt x="1291257" y="86839"/>
                        </a:lnTo>
                        <a:lnTo>
                          <a:pt x="1222220" y="86839"/>
                        </a:lnTo>
                        <a:lnTo>
                          <a:pt x="1222220" y="150190"/>
                        </a:lnTo>
                        <a:lnTo>
                          <a:pt x="1300401" y="150190"/>
                        </a:lnTo>
                        <a:lnTo>
                          <a:pt x="1300401" y="162049"/>
                        </a:lnTo>
                        <a:lnTo>
                          <a:pt x="1209675" y="162049"/>
                        </a:lnTo>
                        <a:close/>
                        <a:moveTo>
                          <a:pt x="1162098" y="2057"/>
                        </a:moveTo>
                        <a:lnTo>
                          <a:pt x="1177414" y="2057"/>
                        </a:lnTo>
                        <a:lnTo>
                          <a:pt x="1101747" y="77711"/>
                        </a:lnTo>
                        <a:lnTo>
                          <a:pt x="1180614" y="162049"/>
                        </a:lnTo>
                        <a:lnTo>
                          <a:pt x="1164384" y="162049"/>
                        </a:lnTo>
                        <a:lnTo>
                          <a:pt x="1086888" y="78625"/>
                        </a:lnTo>
                        <a:close/>
                        <a:moveTo>
                          <a:pt x="1066800" y="2057"/>
                        </a:moveTo>
                        <a:lnTo>
                          <a:pt x="1079344" y="2057"/>
                        </a:lnTo>
                        <a:lnTo>
                          <a:pt x="1079344" y="162049"/>
                        </a:lnTo>
                        <a:lnTo>
                          <a:pt x="1066800" y="162049"/>
                        </a:lnTo>
                        <a:close/>
                        <a:moveTo>
                          <a:pt x="767701" y="2057"/>
                        </a:moveTo>
                        <a:lnTo>
                          <a:pt x="781188" y="2057"/>
                        </a:lnTo>
                        <a:lnTo>
                          <a:pt x="841310" y="144222"/>
                        </a:lnTo>
                        <a:lnTo>
                          <a:pt x="899832" y="2057"/>
                        </a:lnTo>
                        <a:lnTo>
                          <a:pt x="912633" y="2057"/>
                        </a:lnTo>
                        <a:lnTo>
                          <a:pt x="845425" y="163420"/>
                        </a:lnTo>
                        <a:lnTo>
                          <a:pt x="836509" y="163420"/>
                        </a:lnTo>
                        <a:close/>
                        <a:moveTo>
                          <a:pt x="457200" y="2057"/>
                        </a:moveTo>
                        <a:lnTo>
                          <a:pt x="469745" y="2057"/>
                        </a:lnTo>
                        <a:lnTo>
                          <a:pt x="469745" y="74524"/>
                        </a:lnTo>
                        <a:lnTo>
                          <a:pt x="569671" y="74524"/>
                        </a:lnTo>
                        <a:lnTo>
                          <a:pt x="569671" y="2057"/>
                        </a:lnTo>
                        <a:lnTo>
                          <a:pt x="582216" y="2057"/>
                        </a:lnTo>
                        <a:lnTo>
                          <a:pt x="582216" y="162049"/>
                        </a:lnTo>
                        <a:lnTo>
                          <a:pt x="569671" y="162049"/>
                        </a:lnTo>
                        <a:lnTo>
                          <a:pt x="569671" y="86382"/>
                        </a:lnTo>
                        <a:lnTo>
                          <a:pt x="469745" y="86382"/>
                        </a:lnTo>
                        <a:lnTo>
                          <a:pt x="469745" y="162049"/>
                        </a:lnTo>
                        <a:lnTo>
                          <a:pt x="457200" y="162049"/>
                        </a:lnTo>
                        <a:close/>
                        <a:moveTo>
                          <a:pt x="40899" y="1372"/>
                        </a:moveTo>
                        <a:cubicBezTo>
                          <a:pt x="62164" y="1569"/>
                          <a:pt x="79413" y="5261"/>
                          <a:pt x="92644" y="12449"/>
                        </a:cubicBezTo>
                        <a:cubicBezTo>
                          <a:pt x="105876" y="19636"/>
                          <a:pt x="115551" y="29135"/>
                          <a:pt x="121669" y="40947"/>
                        </a:cubicBezTo>
                        <a:cubicBezTo>
                          <a:pt x="127787" y="52758"/>
                          <a:pt x="130807" y="65698"/>
                          <a:pt x="130731" y="79766"/>
                        </a:cubicBezTo>
                        <a:cubicBezTo>
                          <a:pt x="130730" y="95184"/>
                          <a:pt x="127331" y="109109"/>
                          <a:pt x="120534" y="121542"/>
                        </a:cubicBezTo>
                        <a:cubicBezTo>
                          <a:pt x="113737" y="133974"/>
                          <a:pt x="103549" y="143866"/>
                          <a:pt x="89968" y="151217"/>
                        </a:cubicBezTo>
                        <a:cubicBezTo>
                          <a:pt x="76388" y="158568"/>
                          <a:pt x="59421" y="162331"/>
                          <a:pt x="39069" y="162506"/>
                        </a:cubicBezTo>
                        <a:cubicBezTo>
                          <a:pt x="33224" y="162487"/>
                          <a:pt x="27194" y="162411"/>
                          <a:pt x="20980" y="162278"/>
                        </a:cubicBezTo>
                        <a:cubicBezTo>
                          <a:pt x="14766" y="162145"/>
                          <a:pt x="8457" y="162069"/>
                          <a:pt x="2053" y="162050"/>
                        </a:cubicBezTo>
                        <a:lnTo>
                          <a:pt x="0" y="162050"/>
                        </a:lnTo>
                        <a:lnTo>
                          <a:pt x="0" y="2056"/>
                        </a:lnTo>
                        <a:lnTo>
                          <a:pt x="2509" y="2056"/>
                        </a:lnTo>
                        <a:cubicBezTo>
                          <a:pt x="8228" y="2027"/>
                          <a:pt x="14308" y="1913"/>
                          <a:pt x="20751" y="1714"/>
                        </a:cubicBezTo>
                        <a:cubicBezTo>
                          <a:pt x="27194" y="1514"/>
                          <a:pt x="33910" y="1400"/>
                          <a:pt x="40899" y="1372"/>
                        </a:cubicBezTo>
                        <a:close/>
                        <a:moveTo>
                          <a:pt x="677785" y="686"/>
                        </a:moveTo>
                        <a:lnTo>
                          <a:pt x="688072" y="686"/>
                        </a:lnTo>
                        <a:lnTo>
                          <a:pt x="757795" y="162049"/>
                        </a:lnTo>
                        <a:lnTo>
                          <a:pt x="744307" y="162049"/>
                        </a:lnTo>
                        <a:lnTo>
                          <a:pt x="720990" y="107642"/>
                        </a:lnTo>
                        <a:lnTo>
                          <a:pt x="644181" y="107642"/>
                        </a:lnTo>
                        <a:lnTo>
                          <a:pt x="620863" y="162049"/>
                        </a:lnTo>
                        <a:lnTo>
                          <a:pt x="608062" y="162049"/>
                        </a:lnTo>
                        <a:close/>
                        <a:moveTo>
                          <a:pt x="220585" y="686"/>
                        </a:moveTo>
                        <a:lnTo>
                          <a:pt x="230872" y="686"/>
                        </a:lnTo>
                        <a:lnTo>
                          <a:pt x="300595" y="162049"/>
                        </a:lnTo>
                        <a:lnTo>
                          <a:pt x="287107" y="162049"/>
                        </a:lnTo>
                        <a:lnTo>
                          <a:pt x="263790" y="107642"/>
                        </a:lnTo>
                        <a:lnTo>
                          <a:pt x="186981" y="107642"/>
                        </a:lnTo>
                        <a:lnTo>
                          <a:pt x="163663" y="162049"/>
                        </a:lnTo>
                        <a:lnTo>
                          <a:pt x="150862" y="162049"/>
                        </a:lnTo>
                        <a:close/>
                        <a:moveTo>
                          <a:pt x="980908" y="0"/>
                        </a:moveTo>
                        <a:cubicBezTo>
                          <a:pt x="989946" y="61"/>
                          <a:pt x="998226" y="1535"/>
                          <a:pt x="1005748" y="4420"/>
                        </a:cubicBezTo>
                        <a:cubicBezTo>
                          <a:pt x="1013269" y="7305"/>
                          <a:pt x="1019314" y="11233"/>
                          <a:pt x="1023884" y="16204"/>
                        </a:cubicBezTo>
                        <a:lnTo>
                          <a:pt x="1017041" y="25578"/>
                        </a:lnTo>
                        <a:cubicBezTo>
                          <a:pt x="1007894" y="16432"/>
                          <a:pt x="996002" y="11859"/>
                          <a:pt x="981365" y="11859"/>
                        </a:cubicBezTo>
                        <a:cubicBezTo>
                          <a:pt x="970741" y="11973"/>
                          <a:pt x="962431" y="14545"/>
                          <a:pt x="956438" y="19576"/>
                        </a:cubicBezTo>
                        <a:cubicBezTo>
                          <a:pt x="950444" y="24606"/>
                          <a:pt x="947395" y="31408"/>
                          <a:pt x="947290" y="39983"/>
                        </a:cubicBezTo>
                        <a:cubicBezTo>
                          <a:pt x="947511" y="48763"/>
                          <a:pt x="950379" y="55567"/>
                          <a:pt x="955896" y="60394"/>
                        </a:cubicBezTo>
                        <a:cubicBezTo>
                          <a:pt x="961413" y="65222"/>
                          <a:pt x="968254" y="69169"/>
                          <a:pt x="976419" y="72234"/>
                        </a:cubicBezTo>
                        <a:cubicBezTo>
                          <a:pt x="984584" y="75300"/>
                          <a:pt x="992749" y="78581"/>
                          <a:pt x="1000914" y="82077"/>
                        </a:cubicBezTo>
                        <a:cubicBezTo>
                          <a:pt x="1009079" y="85573"/>
                          <a:pt x="1015920" y="90379"/>
                          <a:pt x="1021437" y="96496"/>
                        </a:cubicBezTo>
                        <a:cubicBezTo>
                          <a:pt x="1026954" y="102614"/>
                          <a:pt x="1029822" y="111137"/>
                          <a:pt x="1030043" y="122066"/>
                        </a:cubicBezTo>
                        <a:cubicBezTo>
                          <a:pt x="1029692" y="135022"/>
                          <a:pt x="1024743" y="145229"/>
                          <a:pt x="1015195" y="152689"/>
                        </a:cubicBezTo>
                        <a:cubicBezTo>
                          <a:pt x="1005647" y="160149"/>
                          <a:pt x="993608" y="163955"/>
                          <a:pt x="979078" y="164106"/>
                        </a:cubicBezTo>
                        <a:cubicBezTo>
                          <a:pt x="969226" y="164045"/>
                          <a:pt x="959664" y="162001"/>
                          <a:pt x="950391" y="157974"/>
                        </a:cubicBezTo>
                        <a:cubicBezTo>
                          <a:pt x="941118" y="153947"/>
                          <a:pt x="934303" y="148303"/>
                          <a:pt x="929945" y="141044"/>
                        </a:cubicBezTo>
                        <a:lnTo>
                          <a:pt x="937481" y="132355"/>
                        </a:lnTo>
                        <a:cubicBezTo>
                          <a:pt x="942396" y="138786"/>
                          <a:pt x="948659" y="143702"/>
                          <a:pt x="956270" y="147103"/>
                        </a:cubicBezTo>
                        <a:cubicBezTo>
                          <a:pt x="963880" y="150504"/>
                          <a:pt x="971407" y="152219"/>
                          <a:pt x="978850" y="152248"/>
                        </a:cubicBezTo>
                        <a:cubicBezTo>
                          <a:pt x="989036" y="152229"/>
                          <a:pt x="997822" y="149694"/>
                          <a:pt x="1005207" y="144645"/>
                        </a:cubicBezTo>
                        <a:cubicBezTo>
                          <a:pt x="1012592" y="139596"/>
                          <a:pt x="1016460" y="132146"/>
                          <a:pt x="1016813" y="122295"/>
                        </a:cubicBezTo>
                        <a:cubicBezTo>
                          <a:pt x="1016592" y="113416"/>
                          <a:pt x="1013723" y="106480"/>
                          <a:pt x="1008207" y="101486"/>
                        </a:cubicBezTo>
                        <a:cubicBezTo>
                          <a:pt x="1002690" y="96493"/>
                          <a:pt x="995849" y="92388"/>
                          <a:pt x="987684" y="89173"/>
                        </a:cubicBezTo>
                        <a:cubicBezTo>
                          <a:pt x="979519" y="85957"/>
                          <a:pt x="971354" y="82577"/>
                          <a:pt x="963189" y="79032"/>
                        </a:cubicBezTo>
                        <a:cubicBezTo>
                          <a:pt x="955024" y="75487"/>
                          <a:pt x="948183" y="70724"/>
                          <a:pt x="942666" y="64742"/>
                        </a:cubicBezTo>
                        <a:cubicBezTo>
                          <a:pt x="937149" y="58761"/>
                          <a:pt x="934280" y="50508"/>
                          <a:pt x="934060" y="39983"/>
                        </a:cubicBezTo>
                        <a:cubicBezTo>
                          <a:pt x="934154" y="28514"/>
                          <a:pt x="938245" y="19049"/>
                          <a:pt x="946335" y="11589"/>
                        </a:cubicBezTo>
                        <a:cubicBezTo>
                          <a:pt x="954425" y="4128"/>
                          <a:pt x="965949" y="265"/>
                          <a:pt x="980908" y="0"/>
                        </a:cubicBezTo>
                        <a:close/>
                        <a:moveTo>
                          <a:pt x="371308" y="0"/>
                        </a:moveTo>
                        <a:cubicBezTo>
                          <a:pt x="380347" y="61"/>
                          <a:pt x="388626" y="1535"/>
                          <a:pt x="396148" y="4420"/>
                        </a:cubicBezTo>
                        <a:cubicBezTo>
                          <a:pt x="403669" y="7305"/>
                          <a:pt x="409714" y="11233"/>
                          <a:pt x="414284" y="16204"/>
                        </a:cubicBezTo>
                        <a:lnTo>
                          <a:pt x="407441" y="25578"/>
                        </a:lnTo>
                        <a:cubicBezTo>
                          <a:pt x="398294" y="16432"/>
                          <a:pt x="386402" y="11859"/>
                          <a:pt x="371765" y="11859"/>
                        </a:cubicBezTo>
                        <a:cubicBezTo>
                          <a:pt x="361141" y="11973"/>
                          <a:pt x="352831" y="14545"/>
                          <a:pt x="346838" y="19576"/>
                        </a:cubicBezTo>
                        <a:cubicBezTo>
                          <a:pt x="340844" y="24606"/>
                          <a:pt x="337795" y="31408"/>
                          <a:pt x="337690" y="39983"/>
                        </a:cubicBezTo>
                        <a:cubicBezTo>
                          <a:pt x="337911" y="48763"/>
                          <a:pt x="340779" y="55567"/>
                          <a:pt x="346296" y="60394"/>
                        </a:cubicBezTo>
                        <a:cubicBezTo>
                          <a:pt x="351813" y="65222"/>
                          <a:pt x="358654" y="69169"/>
                          <a:pt x="366819" y="72234"/>
                        </a:cubicBezTo>
                        <a:cubicBezTo>
                          <a:pt x="374984" y="75300"/>
                          <a:pt x="383149" y="78581"/>
                          <a:pt x="391314" y="82077"/>
                        </a:cubicBezTo>
                        <a:cubicBezTo>
                          <a:pt x="399479" y="85573"/>
                          <a:pt x="406320" y="90379"/>
                          <a:pt x="411837" y="96496"/>
                        </a:cubicBezTo>
                        <a:cubicBezTo>
                          <a:pt x="417354" y="102614"/>
                          <a:pt x="420222" y="111137"/>
                          <a:pt x="420443" y="122066"/>
                        </a:cubicBezTo>
                        <a:cubicBezTo>
                          <a:pt x="420092" y="135022"/>
                          <a:pt x="415143" y="145229"/>
                          <a:pt x="405595" y="152689"/>
                        </a:cubicBezTo>
                        <a:cubicBezTo>
                          <a:pt x="396048" y="160149"/>
                          <a:pt x="384009" y="163955"/>
                          <a:pt x="369478" y="164106"/>
                        </a:cubicBezTo>
                        <a:cubicBezTo>
                          <a:pt x="359626" y="164045"/>
                          <a:pt x="350064" y="162001"/>
                          <a:pt x="340791" y="157974"/>
                        </a:cubicBezTo>
                        <a:cubicBezTo>
                          <a:pt x="331518" y="153947"/>
                          <a:pt x="324703" y="148303"/>
                          <a:pt x="320345" y="141044"/>
                        </a:cubicBezTo>
                        <a:lnTo>
                          <a:pt x="327881" y="132355"/>
                        </a:lnTo>
                        <a:cubicBezTo>
                          <a:pt x="332796" y="138786"/>
                          <a:pt x="339059" y="143702"/>
                          <a:pt x="346670" y="147103"/>
                        </a:cubicBezTo>
                        <a:cubicBezTo>
                          <a:pt x="354281" y="150504"/>
                          <a:pt x="361807" y="152219"/>
                          <a:pt x="369250" y="152248"/>
                        </a:cubicBezTo>
                        <a:cubicBezTo>
                          <a:pt x="379436" y="152229"/>
                          <a:pt x="388222" y="149694"/>
                          <a:pt x="395607" y="144645"/>
                        </a:cubicBezTo>
                        <a:cubicBezTo>
                          <a:pt x="402992" y="139596"/>
                          <a:pt x="406860" y="132146"/>
                          <a:pt x="407213" y="122295"/>
                        </a:cubicBezTo>
                        <a:cubicBezTo>
                          <a:pt x="406992" y="113416"/>
                          <a:pt x="404123" y="106480"/>
                          <a:pt x="398607" y="101486"/>
                        </a:cubicBezTo>
                        <a:cubicBezTo>
                          <a:pt x="393090" y="96493"/>
                          <a:pt x="386249" y="92388"/>
                          <a:pt x="378084" y="89173"/>
                        </a:cubicBezTo>
                        <a:cubicBezTo>
                          <a:pt x="369919" y="85957"/>
                          <a:pt x="361754" y="82577"/>
                          <a:pt x="353589" y="79032"/>
                        </a:cubicBezTo>
                        <a:cubicBezTo>
                          <a:pt x="345424" y="75487"/>
                          <a:pt x="338583" y="70724"/>
                          <a:pt x="333066" y="64742"/>
                        </a:cubicBezTo>
                        <a:cubicBezTo>
                          <a:pt x="327549" y="58761"/>
                          <a:pt x="324680" y="50508"/>
                          <a:pt x="324460" y="39983"/>
                        </a:cubicBezTo>
                        <a:cubicBezTo>
                          <a:pt x="324554" y="28514"/>
                          <a:pt x="328645" y="19049"/>
                          <a:pt x="336735" y="11589"/>
                        </a:cubicBezTo>
                        <a:cubicBezTo>
                          <a:pt x="344825" y="4128"/>
                          <a:pt x="356349" y="265"/>
                          <a:pt x="371308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66" name="TextBox 465">
                    <a:extLst>
                      <a:ext uri="{FF2B5EF4-FFF2-40B4-BE49-F238E27FC236}">
                        <a16:creationId xmlns:a16="http://schemas.microsoft.com/office/drawing/2014/main" id="{04B0C572-2E3D-BC9C-64B5-4B7FFF3BC238}"/>
                      </a:ext>
                    </a:extLst>
                  </p:cNvPr>
                  <p:cNvSpPr txBox="1"/>
                  <p:nvPr/>
                </p:nvSpPr>
                <p:spPr>
                  <a:xfrm>
                    <a:off x="7911204" y="9048108"/>
                    <a:ext cx="2195750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95751" h="164107">
                        <a:moveTo>
                          <a:pt x="12545" y="85926"/>
                        </a:moveTo>
                        <a:lnTo>
                          <a:pt x="12545" y="149962"/>
                        </a:lnTo>
                        <a:cubicBezTo>
                          <a:pt x="15956" y="150100"/>
                          <a:pt x="20453" y="150281"/>
                          <a:pt x="26037" y="150505"/>
                        </a:cubicBezTo>
                        <a:cubicBezTo>
                          <a:pt x="31621" y="150729"/>
                          <a:pt x="37033" y="150853"/>
                          <a:pt x="42274" y="150877"/>
                        </a:cubicBezTo>
                        <a:cubicBezTo>
                          <a:pt x="56110" y="150891"/>
                          <a:pt x="66858" y="148061"/>
                          <a:pt x="74519" y="142386"/>
                        </a:cubicBezTo>
                        <a:cubicBezTo>
                          <a:pt x="82180" y="136712"/>
                          <a:pt x="86068" y="128107"/>
                          <a:pt x="86182" y="116572"/>
                        </a:cubicBezTo>
                        <a:cubicBezTo>
                          <a:pt x="86111" y="106690"/>
                          <a:pt x="82366" y="99124"/>
                          <a:pt x="74948" y="93873"/>
                        </a:cubicBezTo>
                        <a:cubicBezTo>
                          <a:pt x="67530" y="88623"/>
                          <a:pt x="56868" y="85974"/>
                          <a:pt x="42961" y="85926"/>
                        </a:cubicBezTo>
                        <a:close/>
                        <a:moveTo>
                          <a:pt x="1549360" y="18060"/>
                        </a:moveTo>
                        <a:lnTo>
                          <a:pt x="1515985" y="95784"/>
                        </a:lnTo>
                        <a:lnTo>
                          <a:pt x="1582507" y="95784"/>
                        </a:lnTo>
                        <a:close/>
                        <a:moveTo>
                          <a:pt x="713976" y="13460"/>
                        </a:moveTo>
                        <a:cubicBezTo>
                          <a:pt x="711298" y="13465"/>
                          <a:pt x="707449" y="13512"/>
                          <a:pt x="702427" y="13603"/>
                        </a:cubicBezTo>
                        <a:cubicBezTo>
                          <a:pt x="697405" y="13694"/>
                          <a:pt x="692869" y="13799"/>
                          <a:pt x="688820" y="13918"/>
                        </a:cubicBezTo>
                        <a:lnTo>
                          <a:pt x="688820" y="83211"/>
                        </a:lnTo>
                        <a:lnTo>
                          <a:pt x="716492" y="83211"/>
                        </a:lnTo>
                        <a:cubicBezTo>
                          <a:pt x="723405" y="83170"/>
                          <a:pt x="729958" y="81697"/>
                          <a:pt x="736151" y="78792"/>
                        </a:cubicBezTo>
                        <a:cubicBezTo>
                          <a:pt x="742344" y="75887"/>
                          <a:pt x="747406" y="71797"/>
                          <a:pt x="751338" y="66521"/>
                        </a:cubicBezTo>
                        <a:cubicBezTo>
                          <a:pt x="755270" y="61245"/>
                          <a:pt x="757300" y="55030"/>
                          <a:pt x="757428" y="47876"/>
                        </a:cubicBezTo>
                        <a:cubicBezTo>
                          <a:pt x="757647" y="37910"/>
                          <a:pt x="754465" y="29736"/>
                          <a:pt x="747880" y="23354"/>
                        </a:cubicBezTo>
                        <a:cubicBezTo>
                          <a:pt x="741295" y="16973"/>
                          <a:pt x="729994" y="13675"/>
                          <a:pt x="713976" y="13460"/>
                        </a:cubicBezTo>
                        <a:close/>
                        <a:moveTo>
                          <a:pt x="1040566" y="13231"/>
                        </a:moveTo>
                        <a:cubicBezTo>
                          <a:pt x="1034802" y="13245"/>
                          <a:pt x="1029867" y="13331"/>
                          <a:pt x="1025760" y="13488"/>
                        </a:cubicBezTo>
                        <a:cubicBezTo>
                          <a:pt x="1021654" y="13645"/>
                          <a:pt x="1017290" y="13788"/>
                          <a:pt x="1012669" y="13916"/>
                        </a:cubicBezTo>
                        <a:lnTo>
                          <a:pt x="1012669" y="150191"/>
                        </a:lnTo>
                        <a:cubicBezTo>
                          <a:pt x="1019396" y="150310"/>
                          <a:pt x="1025322" y="150415"/>
                          <a:pt x="1030448" y="150505"/>
                        </a:cubicBezTo>
                        <a:cubicBezTo>
                          <a:pt x="1035574" y="150596"/>
                          <a:pt x="1038642" y="150644"/>
                          <a:pt x="1039652" y="150648"/>
                        </a:cubicBezTo>
                        <a:cubicBezTo>
                          <a:pt x="1056811" y="150514"/>
                          <a:pt x="1071172" y="147353"/>
                          <a:pt x="1082733" y="141164"/>
                        </a:cubicBezTo>
                        <a:cubicBezTo>
                          <a:pt x="1094295" y="134975"/>
                          <a:pt x="1102998" y="126563"/>
                          <a:pt x="1108843" y="115928"/>
                        </a:cubicBezTo>
                        <a:cubicBezTo>
                          <a:pt x="1114688" y="105293"/>
                          <a:pt x="1117616" y="93239"/>
                          <a:pt x="1117625" y="79767"/>
                        </a:cubicBezTo>
                        <a:cubicBezTo>
                          <a:pt x="1117661" y="67285"/>
                          <a:pt x="1114948" y="56047"/>
                          <a:pt x="1109487" y="46054"/>
                        </a:cubicBezTo>
                        <a:cubicBezTo>
                          <a:pt x="1104026" y="36062"/>
                          <a:pt x="1095605" y="28127"/>
                          <a:pt x="1084224" y="22250"/>
                        </a:cubicBezTo>
                        <a:cubicBezTo>
                          <a:pt x="1072843" y="16373"/>
                          <a:pt x="1058291" y="13367"/>
                          <a:pt x="1040566" y="13231"/>
                        </a:cubicBezTo>
                        <a:close/>
                        <a:moveTo>
                          <a:pt x="41588" y="13231"/>
                        </a:moveTo>
                        <a:lnTo>
                          <a:pt x="25780" y="13489"/>
                        </a:lnTo>
                        <a:cubicBezTo>
                          <a:pt x="20354" y="13646"/>
                          <a:pt x="15942" y="13789"/>
                          <a:pt x="12545" y="13918"/>
                        </a:cubicBezTo>
                        <a:lnTo>
                          <a:pt x="12545" y="74753"/>
                        </a:lnTo>
                        <a:lnTo>
                          <a:pt x="43647" y="74753"/>
                        </a:lnTo>
                        <a:cubicBezTo>
                          <a:pt x="53867" y="74677"/>
                          <a:pt x="62415" y="71913"/>
                          <a:pt x="69290" y="66463"/>
                        </a:cubicBezTo>
                        <a:cubicBezTo>
                          <a:pt x="76165" y="61012"/>
                          <a:pt x="79739" y="53331"/>
                          <a:pt x="80010" y="43421"/>
                        </a:cubicBezTo>
                        <a:cubicBezTo>
                          <a:pt x="80053" y="33658"/>
                          <a:pt x="76937" y="26196"/>
                          <a:pt x="70662" y="21036"/>
                        </a:cubicBezTo>
                        <a:cubicBezTo>
                          <a:pt x="67525" y="18456"/>
                          <a:pt x="63533" y="16515"/>
                          <a:pt x="58687" y="15215"/>
                        </a:cubicBezTo>
                        <a:close/>
                        <a:moveTo>
                          <a:pt x="886344" y="11860"/>
                        </a:moveTo>
                        <a:cubicBezTo>
                          <a:pt x="873568" y="11977"/>
                          <a:pt x="862155" y="15045"/>
                          <a:pt x="852106" y="21065"/>
                        </a:cubicBezTo>
                        <a:cubicBezTo>
                          <a:pt x="842057" y="27085"/>
                          <a:pt x="834116" y="35353"/>
                          <a:pt x="828284" y="45869"/>
                        </a:cubicBezTo>
                        <a:cubicBezTo>
                          <a:pt x="822452" y="56385"/>
                          <a:pt x="819474" y="68447"/>
                          <a:pt x="819350" y="82054"/>
                        </a:cubicBezTo>
                        <a:cubicBezTo>
                          <a:pt x="819479" y="95518"/>
                          <a:pt x="822474" y="107512"/>
                          <a:pt x="828335" y="118036"/>
                        </a:cubicBezTo>
                        <a:cubicBezTo>
                          <a:pt x="834197" y="128561"/>
                          <a:pt x="842154" y="136863"/>
                          <a:pt x="852208" y="142942"/>
                        </a:cubicBezTo>
                        <a:cubicBezTo>
                          <a:pt x="862261" y="149021"/>
                          <a:pt x="873640" y="152123"/>
                          <a:pt x="886344" y="152249"/>
                        </a:cubicBezTo>
                        <a:cubicBezTo>
                          <a:pt x="899480" y="152119"/>
                          <a:pt x="911062" y="149000"/>
                          <a:pt x="921090" y="142891"/>
                        </a:cubicBezTo>
                        <a:cubicBezTo>
                          <a:pt x="931118" y="136783"/>
                          <a:pt x="938974" y="128464"/>
                          <a:pt x="944658" y="117935"/>
                        </a:cubicBezTo>
                        <a:cubicBezTo>
                          <a:pt x="950342" y="107406"/>
                          <a:pt x="953235" y="95446"/>
                          <a:pt x="953338" y="82054"/>
                        </a:cubicBezTo>
                        <a:cubicBezTo>
                          <a:pt x="953210" y="68447"/>
                          <a:pt x="950215" y="56385"/>
                          <a:pt x="944353" y="45869"/>
                        </a:cubicBezTo>
                        <a:cubicBezTo>
                          <a:pt x="938492" y="35353"/>
                          <a:pt x="930534" y="27085"/>
                          <a:pt x="920481" y="21065"/>
                        </a:cubicBezTo>
                        <a:cubicBezTo>
                          <a:pt x="910427" y="15045"/>
                          <a:pt x="899048" y="11977"/>
                          <a:pt x="886344" y="11860"/>
                        </a:cubicBezTo>
                        <a:close/>
                        <a:moveTo>
                          <a:pt x="562494" y="11860"/>
                        </a:moveTo>
                        <a:cubicBezTo>
                          <a:pt x="549718" y="11977"/>
                          <a:pt x="538306" y="15045"/>
                          <a:pt x="528256" y="21065"/>
                        </a:cubicBezTo>
                        <a:cubicBezTo>
                          <a:pt x="518207" y="27085"/>
                          <a:pt x="510266" y="35353"/>
                          <a:pt x="504434" y="45869"/>
                        </a:cubicBezTo>
                        <a:cubicBezTo>
                          <a:pt x="498602" y="56385"/>
                          <a:pt x="495624" y="68447"/>
                          <a:pt x="495500" y="82054"/>
                        </a:cubicBezTo>
                        <a:cubicBezTo>
                          <a:pt x="495629" y="95518"/>
                          <a:pt x="498624" y="107512"/>
                          <a:pt x="504485" y="118036"/>
                        </a:cubicBezTo>
                        <a:cubicBezTo>
                          <a:pt x="510347" y="128561"/>
                          <a:pt x="518304" y="136863"/>
                          <a:pt x="528358" y="142942"/>
                        </a:cubicBezTo>
                        <a:cubicBezTo>
                          <a:pt x="538411" y="149021"/>
                          <a:pt x="549790" y="152123"/>
                          <a:pt x="562494" y="152249"/>
                        </a:cubicBezTo>
                        <a:cubicBezTo>
                          <a:pt x="575630" y="152119"/>
                          <a:pt x="587212" y="149000"/>
                          <a:pt x="597240" y="142891"/>
                        </a:cubicBezTo>
                        <a:cubicBezTo>
                          <a:pt x="607269" y="136783"/>
                          <a:pt x="615124" y="128464"/>
                          <a:pt x="620808" y="117935"/>
                        </a:cubicBezTo>
                        <a:cubicBezTo>
                          <a:pt x="626492" y="107406"/>
                          <a:pt x="629385" y="95446"/>
                          <a:pt x="629488" y="82054"/>
                        </a:cubicBezTo>
                        <a:cubicBezTo>
                          <a:pt x="629360" y="68447"/>
                          <a:pt x="626365" y="56385"/>
                          <a:pt x="620503" y="45869"/>
                        </a:cubicBezTo>
                        <a:cubicBezTo>
                          <a:pt x="614642" y="35353"/>
                          <a:pt x="606684" y="27085"/>
                          <a:pt x="596631" y="21065"/>
                        </a:cubicBezTo>
                        <a:cubicBezTo>
                          <a:pt x="586577" y="15045"/>
                          <a:pt x="575198" y="11977"/>
                          <a:pt x="562494" y="11860"/>
                        </a:cubicBezTo>
                        <a:close/>
                        <a:moveTo>
                          <a:pt x="210069" y="11860"/>
                        </a:moveTo>
                        <a:cubicBezTo>
                          <a:pt x="197293" y="11977"/>
                          <a:pt x="185881" y="15045"/>
                          <a:pt x="175831" y="21065"/>
                        </a:cubicBezTo>
                        <a:cubicBezTo>
                          <a:pt x="165782" y="27085"/>
                          <a:pt x="157841" y="35353"/>
                          <a:pt x="152009" y="45869"/>
                        </a:cubicBezTo>
                        <a:cubicBezTo>
                          <a:pt x="146177" y="56385"/>
                          <a:pt x="143199" y="68447"/>
                          <a:pt x="143075" y="82054"/>
                        </a:cubicBezTo>
                        <a:cubicBezTo>
                          <a:pt x="143204" y="95518"/>
                          <a:pt x="146199" y="107512"/>
                          <a:pt x="152060" y="118036"/>
                        </a:cubicBezTo>
                        <a:cubicBezTo>
                          <a:pt x="157922" y="128561"/>
                          <a:pt x="165879" y="136863"/>
                          <a:pt x="175933" y="142942"/>
                        </a:cubicBezTo>
                        <a:cubicBezTo>
                          <a:pt x="185986" y="149021"/>
                          <a:pt x="197365" y="152123"/>
                          <a:pt x="210069" y="152249"/>
                        </a:cubicBezTo>
                        <a:cubicBezTo>
                          <a:pt x="223205" y="152119"/>
                          <a:pt x="234787" y="149000"/>
                          <a:pt x="244815" y="142891"/>
                        </a:cubicBezTo>
                        <a:cubicBezTo>
                          <a:pt x="254843" y="136783"/>
                          <a:pt x="262699" y="128464"/>
                          <a:pt x="268383" y="117935"/>
                        </a:cubicBezTo>
                        <a:cubicBezTo>
                          <a:pt x="274067" y="107406"/>
                          <a:pt x="276960" y="95446"/>
                          <a:pt x="277063" y="82054"/>
                        </a:cubicBezTo>
                        <a:cubicBezTo>
                          <a:pt x="276935" y="68447"/>
                          <a:pt x="273940" y="56385"/>
                          <a:pt x="268078" y="45869"/>
                        </a:cubicBezTo>
                        <a:cubicBezTo>
                          <a:pt x="262217" y="35353"/>
                          <a:pt x="254259" y="27085"/>
                          <a:pt x="244206" y="21065"/>
                        </a:cubicBezTo>
                        <a:cubicBezTo>
                          <a:pt x="234152" y="15045"/>
                          <a:pt x="222773" y="11977"/>
                          <a:pt x="210069" y="11860"/>
                        </a:cubicBezTo>
                        <a:close/>
                        <a:moveTo>
                          <a:pt x="2105025" y="2058"/>
                        </a:moveTo>
                        <a:lnTo>
                          <a:pt x="2193465" y="2058"/>
                        </a:lnTo>
                        <a:lnTo>
                          <a:pt x="2193465" y="13917"/>
                        </a:lnTo>
                        <a:lnTo>
                          <a:pt x="2117569" y="13917"/>
                        </a:lnTo>
                        <a:lnTo>
                          <a:pt x="2117569" y="74982"/>
                        </a:lnTo>
                        <a:lnTo>
                          <a:pt x="2186607" y="74982"/>
                        </a:lnTo>
                        <a:lnTo>
                          <a:pt x="2186607" y="86840"/>
                        </a:lnTo>
                        <a:lnTo>
                          <a:pt x="2117569" y="86840"/>
                        </a:lnTo>
                        <a:lnTo>
                          <a:pt x="2117569" y="150191"/>
                        </a:lnTo>
                        <a:lnTo>
                          <a:pt x="2195751" y="150191"/>
                        </a:lnTo>
                        <a:lnTo>
                          <a:pt x="2195751" y="162050"/>
                        </a:lnTo>
                        <a:lnTo>
                          <a:pt x="2105025" y="162050"/>
                        </a:lnTo>
                        <a:close/>
                        <a:moveTo>
                          <a:pt x="2057448" y="2058"/>
                        </a:moveTo>
                        <a:lnTo>
                          <a:pt x="2072764" y="2058"/>
                        </a:lnTo>
                        <a:lnTo>
                          <a:pt x="1997097" y="77712"/>
                        </a:lnTo>
                        <a:lnTo>
                          <a:pt x="2075964" y="162050"/>
                        </a:lnTo>
                        <a:lnTo>
                          <a:pt x="2059734" y="162050"/>
                        </a:lnTo>
                        <a:lnTo>
                          <a:pt x="1982238" y="78626"/>
                        </a:lnTo>
                        <a:close/>
                        <a:moveTo>
                          <a:pt x="1962150" y="2058"/>
                        </a:moveTo>
                        <a:lnTo>
                          <a:pt x="1974695" y="2058"/>
                        </a:lnTo>
                        <a:lnTo>
                          <a:pt x="1974695" y="162050"/>
                        </a:lnTo>
                        <a:lnTo>
                          <a:pt x="1962150" y="162050"/>
                        </a:lnTo>
                        <a:close/>
                        <a:moveTo>
                          <a:pt x="1657350" y="2058"/>
                        </a:moveTo>
                        <a:lnTo>
                          <a:pt x="1667384" y="2058"/>
                        </a:lnTo>
                        <a:lnTo>
                          <a:pt x="1776908" y="140108"/>
                        </a:lnTo>
                        <a:lnTo>
                          <a:pt x="1776908" y="2058"/>
                        </a:lnTo>
                        <a:lnTo>
                          <a:pt x="1788766" y="2058"/>
                        </a:lnTo>
                        <a:lnTo>
                          <a:pt x="1788766" y="162050"/>
                        </a:lnTo>
                        <a:lnTo>
                          <a:pt x="1778732" y="162050"/>
                        </a:lnTo>
                        <a:lnTo>
                          <a:pt x="1669209" y="24458"/>
                        </a:lnTo>
                        <a:lnTo>
                          <a:pt x="1669209" y="162050"/>
                        </a:lnTo>
                        <a:lnTo>
                          <a:pt x="1657350" y="162050"/>
                        </a:lnTo>
                        <a:close/>
                        <a:moveTo>
                          <a:pt x="1323975" y="2058"/>
                        </a:moveTo>
                        <a:lnTo>
                          <a:pt x="1336520" y="2058"/>
                        </a:lnTo>
                        <a:lnTo>
                          <a:pt x="1336520" y="74525"/>
                        </a:lnTo>
                        <a:lnTo>
                          <a:pt x="1436446" y="74525"/>
                        </a:lnTo>
                        <a:lnTo>
                          <a:pt x="1436446" y="2058"/>
                        </a:lnTo>
                        <a:lnTo>
                          <a:pt x="1448991" y="2058"/>
                        </a:lnTo>
                        <a:lnTo>
                          <a:pt x="1448991" y="162050"/>
                        </a:lnTo>
                        <a:lnTo>
                          <a:pt x="1436446" y="162050"/>
                        </a:lnTo>
                        <a:lnTo>
                          <a:pt x="1436446" y="86383"/>
                        </a:lnTo>
                        <a:lnTo>
                          <a:pt x="1336520" y="86383"/>
                        </a:lnTo>
                        <a:lnTo>
                          <a:pt x="1336520" y="162050"/>
                        </a:lnTo>
                        <a:lnTo>
                          <a:pt x="1323975" y="162050"/>
                        </a:lnTo>
                        <a:close/>
                        <a:moveTo>
                          <a:pt x="323850" y="2058"/>
                        </a:moveTo>
                        <a:lnTo>
                          <a:pt x="336395" y="2058"/>
                        </a:lnTo>
                        <a:lnTo>
                          <a:pt x="336395" y="74525"/>
                        </a:lnTo>
                        <a:lnTo>
                          <a:pt x="436321" y="74525"/>
                        </a:lnTo>
                        <a:lnTo>
                          <a:pt x="436321" y="2058"/>
                        </a:lnTo>
                        <a:lnTo>
                          <a:pt x="448866" y="2058"/>
                        </a:lnTo>
                        <a:lnTo>
                          <a:pt x="448866" y="162050"/>
                        </a:lnTo>
                        <a:lnTo>
                          <a:pt x="436321" y="162050"/>
                        </a:lnTo>
                        <a:lnTo>
                          <a:pt x="436321" y="86383"/>
                        </a:lnTo>
                        <a:lnTo>
                          <a:pt x="336395" y="86383"/>
                        </a:lnTo>
                        <a:lnTo>
                          <a:pt x="336395" y="162050"/>
                        </a:lnTo>
                        <a:lnTo>
                          <a:pt x="323850" y="162050"/>
                        </a:lnTo>
                        <a:close/>
                        <a:moveTo>
                          <a:pt x="714662" y="1601"/>
                        </a:moveTo>
                        <a:cubicBezTo>
                          <a:pt x="729104" y="1718"/>
                          <a:pt x="740414" y="3898"/>
                          <a:pt x="748592" y="8143"/>
                        </a:cubicBezTo>
                        <a:cubicBezTo>
                          <a:pt x="756771" y="12387"/>
                          <a:pt x="762522" y="17995"/>
                          <a:pt x="765847" y="24968"/>
                        </a:cubicBezTo>
                        <a:cubicBezTo>
                          <a:pt x="769172" y="31940"/>
                          <a:pt x="770776" y="39576"/>
                          <a:pt x="770658" y="47876"/>
                        </a:cubicBezTo>
                        <a:cubicBezTo>
                          <a:pt x="770422" y="59492"/>
                          <a:pt x="766787" y="69237"/>
                          <a:pt x="759755" y="77113"/>
                        </a:cubicBezTo>
                        <a:cubicBezTo>
                          <a:pt x="752723" y="84989"/>
                          <a:pt x="743714" y="90138"/>
                          <a:pt x="732729" y="92561"/>
                        </a:cubicBezTo>
                        <a:lnTo>
                          <a:pt x="788718" y="162050"/>
                        </a:lnTo>
                        <a:lnTo>
                          <a:pt x="773173" y="162050"/>
                        </a:lnTo>
                        <a:lnTo>
                          <a:pt x="719922" y="95070"/>
                        </a:lnTo>
                        <a:lnTo>
                          <a:pt x="688820" y="95070"/>
                        </a:lnTo>
                        <a:lnTo>
                          <a:pt x="688820" y="162050"/>
                        </a:lnTo>
                        <a:lnTo>
                          <a:pt x="676275" y="162050"/>
                        </a:lnTo>
                        <a:lnTo>
                          <a:pt x="676275" y="2057"/>
                        </a:lnTo>
                        <a:cubicBezTo>
                          <a:pt x="679465" y="2052"/>
                          <a:pt x="683761" y="2012"/>
                          <a:pt x="689164" y="1939"/>
                        </a:cubicBezTo>
                        <a:cubicBezTo>
                          <a:pt x="694567" y="1866"/>
                          <a:pt x="699731" y="1793"/>
                          <a:pt x="704654" y="1719"/>
                        </a:cubicBezTo>
                        <a:cubicBezTo>
                          <a:pt x="709577" y="1646"/>
                          <a:pt x="712913" y="1607"/>
                          <a:pt x="714662" y="1601"/>
                        </a:cubicBezTo>
                        <a:close/>
                        <a:moveTo>
                          <a:pt x="1041024" y="1373"/>
                        </a:moveTo>
                        <a:cubicBezTo>
                          <a:pt x="1062289" y="1570"/>
                          <a:pt x="1079537" y="5262"/>
                          <a:pt x="1092769" y="12450"/>
                        </a:cubicBezTo>
                        <a:cubicBezTo>
                          <a:pt x="1106001" y="19637"/>
                          <a:pt x="1115676" y="29136"/>
                          <a:pt x="1121794" y="40948"/>
                        </a:cubicBezTo>
                        <a:cubicBezTo>
                          <a:pt x="1127912" y="52759"/>
                          <a:pt x="1130932" y="65699"/>
                          <a:pt x="1130856" y="79767"/>
                        </a:cubicBezTo>
                        <a:cubicBezTo>
                          <a:pt x="1130855" y="95185"/>
                          <a:pt x="1127456" y="109110"/>
                          <a:pt x="1120659" y="121543"/>
                        </a:cubicBezTo>
                        <a:cubicBezTo>
                          <a:pt x="1113862" y="133975"/>
                          <a:pt x="1103674" y="143867"/>
                          <a:pt x="1090093" y="151218"/>
                        </a:cubicBezTo>
                        <a:cubicBezTo>
                          <a:pt x="1076513" y="158569"/>
                          <a:pt x="1059546" y="162332"/>
                          <a:pt x="1039194" y="162507"/>
                        </a:cubicBezTo>
                        <a:cubicBezTo>
                          <a:pt x="1033349" y="162488"/>
                          <a:pt x="1027319" y="162412"/>
                          <a:pt x="1021105" y="162279"/>
                        </a:cubicBezTo>
                        <a:cubicBezTo>
                          <a:pt x="1014891" y="162146"/>
                          <a:pt x="1008582" y="162070"/>
                          <a:pt x="1002178" y="162051"/>
                        </a:cubicBezTo>
                        <a:lnTo>
                          <a:pt x="1000125" y="162051"/>
                        </a:lnTo>
                        <a:lnTo>
                          <a:pt x="1000125" y="2057"/>
                        </a:lnTo>
                        <a:lnTo>
                          <a:pt x="1002634" y="2057"/>
                        </a:lnTo>
                        <a:cubicBezTo>
                          <a:pt x="1008353" y="2028"/>
                          <a:pt x="1014433" y="1914"/>
                          <a:pt x="1020876" y="1715"/>
                        </a:cubicBezTo>
                        <a:cubicBezTo>
                          <a:pt x="1027319" y="1515"/>
                          <a:pt x="1034035" y="1401"/>
                          <a:pt x="1041024" y="1373"/>
                        </a:cubicBezTo>
                        <a:close/>
                        <a:moveTo>
                          <a:pt x="42047" y="1373"/>
                        </a:moveTo>
                        <a:cubicBezTo>
                          <a:pt x="60860" y="1633"/>
                          <a:pt x="74052" y="5449"/>
                          <a:pt x="81622" y="12820"/>
                        </a:cubicBezTo>
                        <a:cubicBezTo>
                          <a:pt x="89193" y="20190"/>
                          <a:pt x="92837" y="29552"/>
                          <a:pt x="92555" y="40905"/>
                        </a:cubicBezTo>
                        <a:cubicBezTo>
                          <a:pt x="92304" y="51530"/>
                          <a:pt x="89212" y="59954"/>
                          <a:pt x="83281" y="66175"/>
                        </a:cubicBezTo>
                        <a:cubicBezTo>
                          <a:pt x="77349" y="72397"/>
                          <a:pt x="70083" y="76472"/>
                          <a:pt x="61484" y="78401"/>
                        </a:cubicBezTo>
                        <a:lnTo>
                          <a:pt x="61484" y="78857"/>
                        </a:lnTo>
                        <a:cubicBezTo>
                          <a:pt x="73141" y="80254"/>
                          <a:pt x="82235" y="84194"/>
                          <a:pt x="88767" y="90679"/>
                        </a:cubicBezTo>
                        <a:cubicBezTo>
                          <a:pt x="95299" y="97164"/>
                          <a:pt x="98619" y="106023"/>
                          <a:pt x="98727" y="117258"/>
                        </a:cubicBezTo>
                        <a:cubicBezTo>
                          <a:pt x="98385" y="133161"/>
                          <a:pt x="92959" y="144743"/>
                          <a:pt x="82449" y="152004"/>
                        </a:cubicBezTo>
                        <a:cubicBezTo>
                          <a:pt x="71939" y="159264"/>
                          <a:pt x="58395" y="162842"/>
                          <a:pt x="41817" y="162736"/>
                        </a:cubicBezTo>
                        <a:cubicBezTo>
                          <a:pt x="34656" y="162726"/>
                          <a:pt x="27140" y="162631"/>
                          <a:pt x="19270" y="162451"/>
                        </a:cubicBezTo>
                        <a:cubicBezTo>
                          <a:pt x="11399" y="162270"/>
                          <a:pt x="4976" y="162061"/>
                          <a:pt x="0" y="161823"/>
                        </a:cubicBezTo>
                        <a:lnTo>
                          <a:pt x="0" y="2285"/>
                        </a:lnTo>
                        <a:cubicBezTo>
                          <a:pt x="4772" y="2147"/>
                          <a:pt x="11148" y="1967"/>
                          <a:pt x="19128" y="1743"/>
                        </a:cubicBezTo>
                        <a:cubicBezTo>
                          <a:pt x="27108" y="1520"/>
                          <a:pt x="34747" y="1396"/>
                          <a:pt x="42047" y="1373"/>
                        </a:cubicBezTo>
                        <a:close/>
                        <a:moveTo>
                          <a:pt x="1544560" y="687"/>
                        </a:moveTo>
                        <a:lnTo>
                          <a:pt x="1554847" y="687"/>
                        </a:lnTo>
                        <a:lnTo>
                          <a:pt x="1624570" y="162050"/>
                        </a:lnTo>
                        <a:lnTo>
                          <a:pt x="1611082" y="162050"/>
                        </a:lnTo>
                        <a:lnTo>
                          <a:pt x="1587765" y="107643"/>
                        </a:lnTo>
                        <a:lnTo>
                          <a:pt x="1510956" y="107643"/>
                        </a:lnTo>
                        <a:lnTo>
                          <a:pt x="1487638" y="162050"/>
                        </a:lnTo>
                        <a:lnTo>
                          <a:pt x="1474837" y="162050"/>
                        </a:lnTo>
                        <a:close/>
                        <a:moveTo>
                          <a:pt x="1876258" y="1"/>
                        </a:moveTo>
                        <a:cubicBezTo>
                          <a:pt x="1885297" y="62"/>
                          <a:pt x="1893576" y="1536"/>
                          <a:pt x="1901098" y="4421"/>
                        </a:cubicBezTo>
                        <a:cubicBezTo>
                          <a:pt x="1908619" y="7306"/>
                          <a:pt x="1914664" y="11234"/>
                          <a:pt x="1919234" y="16205"/>
                        </a:cubicBezTo>
                        <a:lnTo>
                          <a:pt x="1912391" y="25579"/>
                        </a:lnTo>
                        <a:cubicBezTo>
                          <a:pt x="1903244" y="16433"/>
                          <a:pt x="1891352" y="11860"/>
                          <a:pt x="1876715" y="11860"/>
                        </a:cubicBezTo>
                        <a:cubicBezTo>
                          <a:pt x="1866091" y="11974"/>
                          <a:pt x="1857781" y="14546"/>
                          <a:pt x="1851788" y="19577"/>
                        </a:cubicBezTo>
                        <a:cubicBezTo>
                          <a:pt x="1845794" y="24607"/>
                          <a:pt x="1842745" y="31409"/>
                          <a:pt x="1842640" y="39984"/>
                        </a:cubicBezTo>
                        <a:cubicBezTo>
                          <a:pt x="1842861" y="48764"/>
                          <a:pt x="1845729" y="55568"/>
                          <a:pt x="1851246" y="60395"/>
                        </a:cubicBezTo>
                        <a:cubicBezTo>
                          <a:pt x="1856763" y="65223"/>
                          <a:pt x="1863604" y="69170"/>
                          <a:pt x="1871769" y="72235"/>
                        </a:cubicBezTo>
                        <a:cubicBezTo>
                          <a:pt x="1879934" y="75301"/>
                          <a:pt x="1888099" y="78582"/>
                          <a:pt x="1896264" y="82078"/>
                        </a:cubicBezTo>
                        <a:cubicBezTo>
                          <a:pt x="1904429" y="85574"/>
                          <a:pt x="1911270" y="90380"/>
                          <a:pt x="1916787" y="96497"/>
                        </a:cubicBezTo>
                        <a:cubicBezTo>
                          <a:pt x="1922304" y="102615"/>
                          <a:pt x="1925172" y="111138"/>
                          <a:pt x="1925393" y="122067"/>
                        </a:cubicBezTo>
                        <a:cubicBezTo>
                          <a:pt x="1925042" y="135023"/>
                          <a:pt x="1920093" y="145230"/>
                          <a:pt x="1910545" y="152690"/>
                        </a:cubicBezTo>
                        <a:cubicBezTo>
                          <a:pt x="1900998" y="160150"/>
                          <a:pt x="1888958" y="163956"/>
                          <a:pt x="1874428" y="164107"/>
                        </a:cubicBezTo>
                        <a:cubicBezTo>
                          <a:pt x="1864576" y="164046"/>
                          <a:pt x="1855014" y="162002"/>
                          <a:pt x="1845741" y="157975"/>
                        </a:cubicBezTo>
                        <a:cubicBezTo>
                          <a:pt x="1836468" y="153948"/>
                          <a:pt x="1829653" y="148304"/>
                          <a:pt x="1825295" y="141045"/>
                        </a:cubicBezTo>
                        <a:lnTo>
                          <a:pt x="1832831" y="132356"/>
                        </a:lnTo>
                        <a:cubicBezTo>
                          <a:pt x="1837746" y="138787"/>
                          <a:pt x="1844009" y="143703"/>
                          <a:pt x="1851620" y="147104"/>
                        </a:cubicBezTo>
                        <a:cubicBezTo>
                          <a:pt x="1859231" y="150505"/>
                          <a:pt x="1866757" y="152220"/>
                          <a:pt x="1874200" y="152249"/>
                        </a:cubicBezTo>
                        <a:cubicBezTo>
                          <a:pt x="1884386" y="152230"/>
                          <a:pt x="1893172" y="149695"/>
                          <a:pt x="1900557" y="144646"/>
                        </a:cubicBezTo>
                        <a:cubicBezTo>
                          <a:pt x="1907942" y="139597"/>
                          <a:pt x="1911810" y="132147"/>
                          <a:pt x="1912163" y="122296"/>
                        </a:cubicBezTo>
                        <a:cubicBezTo>
                          <a:pt x="1911942" y="113417"/>
                          <a:pt x="1909074" y="106481"/>
                          <a:pt x="1903557" y="101487"/>
                        </a:cubicBezTo>
                        <a:cubicBezTo>
                          <a:pt x="1898040" y="96494"/>
                          <a:pt x="1891199" y="92389"/>
                          <a:pt x="1883034" y="89174"/>
                        </a:cubicBezTo>
                        <a:cubicBezTo>
                          <a:pt x="1874869" y="85958"/>
                          <a:pt x="1866704" y="82578"/>
                          <a:pt x="1858539" y="79033"/>
                        </a:cubicBezTo>
                        <a:cubicBezTo>
                          <a:pt x="1850374" y="75488"/>
                          <a:pt x="1843533" y="70725"/>
                          <a:pt x="1838016" y="64743"/>
                        </a:cubicBezTo>
                        <a:cubicBezTo>
                          <a:pt x="1832499" y="58762"/>
                          <a:pt x="1829630" y="50509"/>
                          <a:pt x="1829410" y="39984"/>
                        </a:cubicBezTo>
                        <a:cubicBezTo>
                          <a:pt x="1829504" y="28515"/>
                          <a:pt x="1833595" y="19050"/>
                          <a:pt x="1841685" y="11590"/>
                        </a:cubicBezTo>
                        <a:cubicBezTo>
                          <a:pt x="1849775" y="4129"/>
                          <a:pt x="1861299" y="266"/>
                          <a:pt x="1876258" y="1"/>
                        </a:cubicBezTo>
                        <a:close/>
                        <a:moveTo>
                          <a:pt x="1236926" y="1"/>
                        </a:moveTo>
                        <a:cubicBezTo>
                          <a:pt x="1257081" y="-1"/>
                          <a:pt x="1273235" y="5020"/>
                          <a:pt x="1285389" y="15061"/>
                        </a:cubicBezTo>
                        <a:lnTo>
                          <a:pt x="1279446" y="24436"/>
                        </a:lnTo>
                        <a:cubicBezTo>
                          <a:pt x="1273769" y="20111"/>
                          <a:pt x="1267463" y="16928"/>
                          <a:pt x="1260529" y="14889"/>
                        </a:cubicBezTo>
                        <a:cubicBezTo>
                          <a:pt x="1253595" y="12851"/>
                          <a:pt x="1245804" y="11841"/>
                          <a:pt x="1237155" y="11860"/>
                        </a:cubicBezTo>
                        <a:cubicBezTo>
                          <a:pt x="1224113" y="11977"/>
                          <a:pt x="1212706" y="15045"/>
                          <a:pt x="1202932" y="21065"/>
                        </a:cubicBezTo>
                        <a:cubicBezTo>
                          <a:pt x="1193159" y="27085"/>
                          <a:pt x="1185545" y="35353"/>
                          <a:pt x="1180089" y="45869"/>
                        </a:cubicBezTo>
                        <a:cubicBezTo>
                          <a:pt x="1174634" y="56385"/>
                          <a:pt x="1171863" y="68447"/>
                          <a:pt x="1171775" y="82054"/>
                        </a:cubicBezTo>
                        <a:cubicBezTo>
                          <a:pt x="1172104" y="103385"/>
                          <a:pt x="1178419" y="120343"/>
                          <a:pt x="1190720" y="132928"/>
                        </a:cubicBezTo>
                        <a:cubicBezTo>
                          <a:pt x="1203022" y="145513"/>
                          <a:pt x="1219338" y="151953"/>
                          <a:pt x="1239669" y="152249"/>
                        </a:cubicBezTo>
                        <a:cubicBezTo>
                          <a:pt x="1248289" y="152191"/>
                          <a:pt x="1256309" y="150820"/>
                          <a:pt x="1263730" y="148133"/>
                        </a:cubicBezTo>
                        <a:cubicBezTo>
                          <a:pt x="1271150" y="145446"/>
                          <a:pt x="1277684" y="141788"/>
                          <a:pt x="1283332" y="137158"/>
                        </a:cubicBezTo>
                        <a:lnTo>
                          <a:pt x="1288361" y="146532"/>
                        </a:lnTo>
                        <a:cubicBezTo>
                          <a:pt x="1282680" y="152060"/>
                          <a:pt x="1275412" y="156360"/>
                          <a:pt x="1266558" y="159430"/>
                        </a:cubicBezTo>
                        <a:cubicBezTo>
                          <a:pt x="1257705" y="162501"/>
                          <a:pt x="1248437" y="164060"/>
                          <a:pt x="1238755" y="164107"/>
                        </a:cubicBezTo>
                        <a:cubicBezTo>
                          <a:pt x="1214610" y="163804"/>
                          <a:pt x="1195298" y="156359"/>
                          <a:pt x="1180819" y="141773"/>
                        </a:cubicBezTo>
                        <a:cubicBezTo>
                          <a:pt x="1166340" y="127186"/>
                          <a:pt x="1158915" y="107280"/>
                          <a:pt x="1158545" y="82054"/>
                        </a:cubicBezTo>
                        <a:cubicBezTo>
                          <a:pt x="1158619" y="66573"/>
                          <a:pt x="1161820" y="52674"/>
                          <a:pt x="1168147" y="40356"/>
                        </a:cubicBezTo>
                        <a:cubicBezTo>
                          <a:pt x="1174474" y="28038"/>
                          <a:pt x="1183481" y="18273"/>
                          <a:pt x="1195167" y="11061"/>
                        </a:cubicBezTo>
                        <a:cubicBezTo>
                          <a:pt x="1206854" y="3850"/>
                          <a:pt x="1220773" y="163"/>
                          <a:pt x="1236926" y="1"/>
                        </a:cubicBezTo>
                        <a:close/>
                        <a:moveTo>
                          <a:pt x="886344" y="1"/>
                        </a:moveTo>
                        <a:cubicBezTo>
                          <a:pt x="901659" y="129"/>
                          <a:pt x="915333" y="3680"/>
                          <a:pt x="927366" y="10655"/>
                        </a:cubicBezTo>
                        <a:cubicBezTo>
                          <a:pt x="939399" y="17629"/>
                          <a:pt x="948904" y="27259"/>
                          <a:pt x="955881" y="39543"/>
                        </a:cubicBezTo>
                        <a:cubicBezTo>
                          <a:pt x="962858" y="51827"/>
                          <a:pt x="966421" y="65997"/>
                          <a:pt x="966569" y="82054"/>
                        </a:cubicBezTo>
                        <a:cubicBezTo>
                          <a:pt x="966421" y="97896"/>
                          <a:pt x="962858" y="111964"/>
                          <a:pt x="955881" y="124261"/>
                        </a:cubicBezTo>
                        <a:cubicBezTo>
                          <a:pt x="948904" y="136558"/>
                          <a:pt x="939399" y="146238"/>
                          <a:pt x="927366" y="153301"/>
                        </a:cubicBezTo>
                        <a:cubicBezTo>
                          <a:pt x="915333" y="160364"/>
                          <a:pt x="901659" y="163966"/>
                          <a:pt x="886344" y="164107"/>
                        </a:cubicBezTo>
                        <a:cubicBezTo>
                          <a:pt x="871029" y="163979"/>
                          <a:pt x="857356" y="160428"/>
                          <a:pt x="845323" y="153454"/>
                        </a:cubicBezTo>
                        <a:cubicBezTo>
                          <a:pt x="833290" y="146479"/>
                          <a:pt x="823785" y="136850"/>
                          <a:pt x="816807" y="124566"/>
                        </a:cubicBezTo>
                        <a:cubicBezTo>
                          <a:pt x="809830" y="112282"/>
                          <a:pt x="806268" y="98111"/>
                          <a:pt x="806120" y="82054"/>
                        </a:cubicBezTo>
                        <a:cubicBezTo>
                          <a:pt x="806255" y="66429"/>
                          <a:pt x="809767" y="52462"/>
                          <a:pt x="816655" y="40152"/>
                        </a:cubicBezTo>
                        <a:cubicBezTo>
                          <a:pt x="823543" y="27843"/>
                          <a:pt x="832998" y="18112"/>
                          <a:pt x="845018" y="10960"/>
                        </a:cubicBezTo>
                        <a:cubicBezTo>
                          <a:pt x="857038" y="3807"/>
                          <a:pt x="870813" y="154"/>
                          <a:pt x="886344" y="1"/>
                        </a:cubicBezTo>
                        <a:close/>
                        <a:moveTo>
                          <a:pt x="562494" y="1"/>
                        </a:moveTo>
                        <a:cubicBezTo>
                          <a:pt x="577809" y="129"/>
                          <a:pt x="591483" y="3680"/>
                          <a:pt x="603516" y="10655"/>
                        </a:cubicBezTo>
                        <a:cubicBezTo>
                          <a:pt x="615549" y="17629"/>
                          <a:pt x="625054" y="27259"/>
                          <a:pt x="632031" y="39543"/>
                        </a:cubicBezTo>
                        <a:cubicBezTo>
                          <a:pt x="639008" y="51827"/>
                          <a:pt x="642571" y="65997"/>
                          <a:pt x="642719" y="82054"/>
                        </a:cubicBezTo>
                        <a:cubicBezTo>
                          <a:pt x="642571" y="97896"/>
                          <a:pt x="639008" y="111964"/>
                          <a:pt x="632031" y="124261"/>
                        </a:cubicBezTo>
                        <a:cubicBezTo>
                          <a:pt x="625054" y="136558"/>
                          <a:pt x="615549" y="146238"/>
                          <a:pt x="603516" y="153301"/>
                        </a:cubicBezTo>
                        <a:cubicBezTo>
                          <a:pt x="591483" y="160364"/>
                          <a:pt x="577809" y="163966"/>
                          <a:pt x="562494" y="164107"/>
                        </a:cubicBezTo>
                        <a:cubicBezTo>
                          <a:pt x="547179" y="163979"/>
                          <a:pt x="533506" y="160428"/>
                          <a:pt x="521473" y="153454"/>
                        </a:cubicBezTo>
                        <a:cubicBezTo>
                          <a:pt x="509440" y="146479"/>
                          <a:pt x="499935" y="136850"/>
                          <a:pt x="492957" y="124566"/>
                        </a:cubicBezTo>
                        <a:cubicBezTo>
                          <a:pt x="485980" y="112282"/>
                          <a:pt x="482418" y="98111"/>
                          <a:pt x="482270" y="82054"/>
                        </a:cubicBezTo>
                        <a:cubicBezTo>
                          <a:pt x="482405" y="66429"/>
                          <a:pt x="485917" y="52462"/>
                          <a:pt x="492805" y="40152"/>
                        </a:cubicBezTo>
                        <a:cubicBezTo>
                          <a:pt x="499693" y="27843"/>
                          <a:pt x="509148" y="18112"/>
                          <a:pt x="521168" y="10960"/>
                        </a:cubicBezTo>
                        <a:cubicBezTo>
                          <a:pt x="533188" y="3807"/>
                          <a:pt x="546963" y="154"/>
                          <a:pt x="562494" y="1"/>
                        </a:cubicBezTo>
                        <a:close/>
                        <a:moveTo>
                          <a:pt x="210069" y="1"/>
                        </a:moveTo>
                        <a:cubicBezTo>
                          <a:pt x="225384" y="129"/>
                          <a:pt x="239058" y="3680"/>
                          <a:pt x="251091" y="10655"/>
                        </a:cubicBezTo>
                        <a:cubicBezTo>
                          <a:pt x="263124" y="17629"/>
                          <a:pt x="272629" y="27259"/>
                          <a:pt x="279606" y="39543"/>
                        </a:cubicBezTo>
                        <a:cubicBezTo>
                          <a:pt x="286583" y="51827"/>
                          <a:pt x="290146" y="65997"/>
                          <a:pt x="290294" y="82054"/>
                        </a:cubicBezTo>
                        <a:cubicBezTo>
                          <a:pt x="290146" y="97896"/>
                          <a:pt x="286583" y="111964"/>
                          <a:pt x="279606" y="124261"/>
                        </a:cubicBezTo>
                        <a:cubicBezTo>
                          <a:pt x="272629" y="136558"/>
                          <a:pt x="263124" y="146238"/>
                          <a:pt x="251091" y="153301"/>
                        </a:cubicBezTo>
                        <a:cubicBezTo>
                          <a:pt x="239058" y="160364"/>
                          <a:pt x="225384" y="163966"/>
                          <a:pt x="210069" y="164107"/>
                        </a:cubicBezTo>
                        <a:cubicBezTo>
                          <a:pt x="194754" y="163979"/>
                          <a:pt x="181081" y="160428"/>
                          <a:pt x="169048" y="153454"/>
                        </a:cubicBezTo>
                        <a:cubicBezTo>
                          <a:pt x="157015" y="146479"/>
                          <a:pt x="147510" y="136850"/>
                          <a:pt x="140532" y="124566"/>
                        </a:cubicBezTo>
                        <a:cubicBezTo>
                          <a:pt x="133555" y="112282"/>
                          <a:pt x="129993" y="98111"/>
                          <a:pt x="129845" y="82054"/>
                        </a:cubicBezTo>
                        <a:cubicBezTo>
                          <a:pt x="129980" y="66429"/>
                          <a:pt x="133492" y="52462"/>
                          <a:pt x="140380" y="40152"/>
                        </a:cubicBezTo>
                        <a:cubicBezTo>
                          <a:pt x="147268" y="27843"/>
                          <a:pt x="156723" y="18112"/>
                          <a:pt x="168743" y="10960"/>
                        </a:cubicBezTo>
                        <a:cubicBezTo>
                          <a:pt x="180763" y="3807"/>
                          <a:pt x="194538" y="154"/>
                          <a:pt x="210069" y="1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67" name="TextBox 466">
                    <a:extLst>
                      <a:ext uri="{FF2B5EF4-FFF2-40B4-BE49-F238E27FC236}">
                        <a16:creationId xmlns:a16="http://schemas.microsoft.com/office/drawing/2014/main" id="{BDF166C7-4662-51AE-1CE0-194E76F310FF}"/>
                      </a:ext>
                    </a:extLst>
                  </p:cNvPr>
                  <p:cNvSpPr txBox="1"/>
                  <p:nvPr/>
                </p:nvSpPr>
                <p:spPr>
                  <a:xfrm>
                    <a:off x="10835947" y="4126107"/>
                    <a:ext cx="1332482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32481" h="164106">
                        <a:moveTo>
                          <a:pt x="80224" y="11859"/>
                        </a:moveTo>
                        <a:cubicBezTo>
                          <a:pt x="67448" y="11976"/>
                          <a:pt x="56035" y="15044"/>
                          <a:pt x="45986" y="21064"/>
                        </a:cubicBezTo>
                        <a:cubicBezTo>
                          <a:pt x="35937" y="27084"/>
                          <a:pt x="27996" y="35352"/>
                          <a:pt x="22164" y="45868"/>
                        </a:cubicBezTo>
                        <a:cubicBezTo>
                          <a:pt x="16332" y="56384"/>
                          <a:pt x="13354" y="68446"/>
                          <a:pt x="13230" y="82053"/>
                        </a:cubicBezTo>
                        <a:cubicBezTo>
                          <a:pt x="13359" y="95517"/>
                          <a:pt x="16354" y="107511"/>
                          <a:pt x="22215" y="118035"/>
                        </a:cubicBezTo>
                        <a:cubicBezTo>
                          <a:pt x="28077" y="128560"/>
                          <a:pt x="36034" y="136862"/>
                          <a:pt x="46088" y="142941"/>
                        </a:cubicBezTo>
                        <a:cubicBezTo>
                          <a:pt x="56141" y="149020"/>
                          <a:pt x="67520" y="152122"/>
                          <a:pt x="80224" y="152248"/>
                        </a:cubicBezTo>
                        <a:cubicBezTo>
                          <a:pt x="93360" y="152118"/>
                          <a:pt x="104942" y="148999"/>
                          <a:pt x="114970" y="142890"/>
                        </a:cubicBezTo>
                        <a:cubicBezTo>
                          <a:pt x="124999" y="136782"/>
                          <a:pt x="132854" y="128463"/>
                          <a:pt x="138538" y="117934"/>
                        </a:cubicBezTo>
                        <a:cubicBezTo>
                          <a:pt x="144222" y="107405"/>
                          <a:pt x="147115" y="95445"/>
                          <a:pt x="147218" y="82053"/>
                        </a:cubicBezTo>
                        <a:cubicBezTo>
                          <a:pt x="147090" y="68446"/>
                          <a:pt x="144095" y="56384"/>
                          <a:pt x="138233" y="45868"/>
                        </a:cubicBezTo>
                        <a:cubicBezTo>
                          <a:pt x="132372" y="35352"/>
                          <a:pt x="124414" y="27084"/>
                          <a:pt x="114361" y="21064"/>
                        </a:cubicBezTo>
                        <a:cubicBezTo>
                          <a:pt x="104307" y="15044"/>
                          <a:pt x="92928" y="11976"/>
                          <a:pt x="80224" y="11859"/>
                        </a:cubicBezTo>
                        <a:close/>
                        <a:moveTo>
                          <a:pt x="1241755" y="2057"/>
                        </a:moveTo>
                        <a:lnTo>
                          <a:pt x="1330195" y="2057"/>
                        </a:lnTo>
                        <a:lnTo>
                          <a:pt x="1330195" y="13916"/>
                        </a:lnTo>
                        <a:lnTo>
                          <a:pt x="1254300" y="13916"/>
                        </a:lnTo>
                        <a:lnTo>
                          <a:pt x="1254300" y="74981"/>
                        </a:lnTo>
                        <a:lnTo>
                          <a:pt x="1323337" y="74981"/>
                        </a:lnTo>
                        <a:lnTo>
                          <a:pt x="1323337" y="86839"/>
                        </a:lnTo>
                        <a:lnTo>
                          <a:pt x="1254300" y="86839"/>
                        </a:lnTo>
                        <a:lnTo>
                          <a:pt x="1254300" y="150190"/>
                        </a:lnTo>
                        <a:lnTo>
                          <a:pt x="1332481" y="150190"/>
                        </a:lnTo>
                        <a:lnTo>
                          <a:pt x="1332481" y="162049"/>
                        </a:lnTo>
                        <a:lnTo>
                          <a:pt x="1241755" y="162049"/>
                        </a:lnTo>
                        <a:close/>
                        <a:moveTo>
                          <a:pt x="1194178" y="2057"/>
                        </a:moveTo>
                        <a:lnTo>
                          <a:pt x="1209494" y="2057"/>
                        </a:lnTo>
                        <a:lnTo>
                          <a:pt x="1133827" y="77711"/>
                        </a:lnTo>
                        <a:lnTo>
                          <a:pt x="1212694" y="162049"/>
                        </a:lnTo>
                        <a:lnTo>
                          <a:pt x="1196464" y="162049"/>
                        </a:lnTo>
                        <a:lnTo>
                          <a:pt x="1118968" y="78625"/>
                        </a:lnTo>
                        <a:close/>
                        <a:moveTo>
                          <a:pt x="1098880" y="2057"/>
                        </a:moveTo>
                        <a:lnTo>
                          <a:pt x="1111424" y="2057"/>
                        </a:lnTo>
                        <a:lnTo>
                          <a:pt x="1111424" y="162049"/>
                        </a:lnTo>
                        <a:lnTo>
                          <a:pt x="1098880" y="162049"/>
                        </a:lnTo>
                        <a:close/>
                        <a:moveTo>
                          <a:pt x="799781" y="2057"/>
                        </a:moveTo>
                        <a:lnTo>
                          <a:pt x="813268" y="2057"/>
                        </a:lnTo>
                        <a:lnTo>
                          <a:pt x="873390" y="144222"/>
                        </a:lnTo>
                        <a:lnTo>
                          <a:pt x="931912" y="2057"/>
                        </a:lnTo>
                        <a:lnTo>
                          <a:pt x="944713" y="2057"/>
                        </a:lnTo>
                        <a:lnTo>
                          <a:pt x="877505" y="163420"/>
                        </a:lnTo>
                        <a:lnTo>
                          <a:pt x="868589" y="163420"/>
                        </a:lnTo>
                        <a:close/>
                        <a:moveTo>
                          <a:pt x="751941" y="2057"/>
                        </a:moveTo>
                        <a:lnTo>
                          <a:pt x="764486" y="2057"/>
                        </a:lnTo>
                        <a:lnTo>
                          <a:pt x="764486" y="162049"/>
                        </a:lnTo>
                        <a:lnTo>
                          <a:pt x="751941" y="162049"/>
                        </a:lnTo>
                        <a:close/>
                        <a:moveTo>
                          <a:pt x="575005" y="2057"/>
                        </a:moveTo>
                        <a:lnTo>
                          <a:pt x="587550" y="2057"/>
                        </a:lnTo>
                        <a:lnTo>
                          <a:pt x="587550" y="74524"/>
                        </a:lnTo>
                        <a:lnTo>
                          <a:pt x="687476" y="74524"/>
                        </a:lnTo>
                        <a:lnTo>
                          <a:pt x="687476" y="2057"/>
                        </a:lnTo>
                        <a:lnTo>
                          <a:pt x="700021" y="2057"/>
                        </a:lnTo>
                        <a:lnTo>
                          <a:pt x="700021" y="162049"/>
                        </a:lnTo>
                        <a:lnTo>
                          <a:pt x="687476" y="162049"/>
                        </a:lnTo>
                        <a:lnTo>
                          <a:pt x="687476" y="86382"/>
                        </a:lnTo>
                        <a:lnTo>
                          <a:pt x="587550" y="86382"/>
                        </a:lnTo>
                        <a:lnTo>
                          <a:pt x="587550" y="162049"/>
                        </a:lnTo>
                        <a:lnTo>
                          <a:pt x="575005" y="162049"/>
                        </a:lnTo>
                        <a:close/>
                        <a:moveTo>
                          <a:pt x="295656" y="2057"/>
                        </a:moveTo>
                        <a:lnTo>
                          <a:pt x="310286" y="2057"/>
                        </a:lnTo>
                        <a:lnTo>
                          <a:pt x="359420" y="80225"/>
                        </a:lnTo>
                        <a:lnTo>
                          <a:pt x="408784" y="2057"/>
                        </a:lnTo>
                        <a:lnTo>
                          <a:pt x="422729" y="2057"/>
                        </a:lnTo>
                        <a:lnTo>
                          <a:pt x="365122" y="92110"/>
                        </a:lnTo>
                        <a:lnTo>
                          <a:pt x="365122" y="162049"/>
                        </a:lnTo>
                        <a:lnTo>
                          <a:pt x="352577" y="162049"/>
                        </a:lnTo>
                        <a:lnTo>
                          <a:pt x="352577" y="92110"/>
                        </a:lnTo>
                        <a:close/>
                        <a:moveTo>
                          <a:pt x="194005" y="2057"/>
                        </a:moveTo>
                        <a:lnTo>
                          <a:pt x="206550" y="2057"/>
                        </a:lnTo>
                        <a:lnTo>
                          <a:pt x="206550" y="150190"/>
                        </a:lnTo>
                        <a:lnTo>
                          <a:pt x="290903" y="150190"/>
                        </a:lnTo>
                        <a:lnTo>
                          <a:pt x="290903" y="162049"/>
                        </a:lnTo>
                        <a:lnTo>
                          <a:pt x="194005" y="162049"/>
                        </a:lnTo>
                        <a:close/>
                        <a:moveTo>
                          <a:pt x="1012988" y="0"/>
                        </a:moveTo>
                        <a:cubicBezTo>
                          <a:pt x="1022027" y="61"/>
                          <a:pt x="1030306" y="1535"/>
                          <a:pt x="1037828" y="4420"/>
                        </a:cubicBezTo>
                        <a:cubicBezTo>
                          <a:pt x="1045349" y="7305"/>
                          <a:pt x="1051394" y="11233"/>
                          <a:pt x="1055964" y="16204"/>
                        </a:cubicBezTo>
                        <a:lnTo>
                          <a:pt x="1049121" y="25578"/>
                        </a:lnTo>
                        <a:cubicBezTo>
                          <a:pt x="1039974" y="16432"/>
                          <a:pt x="1028082" y="11859"/>
                          <a:pt x="1013445" y="11859"/>
                        </a:cubicBezTo>
                        <a:cubicBezTo>
                          <a:pt x="1002821" y="11973"/>
                          <a:pt x="994511" y="14545"/>
                          <a:pt x="988518" y="19576"/>
                        </a:cubicBezTo>
                        <a:cubicBezTo>
                          <a:pt x="982524" y="24606"/>
                          <a:pt x="979475" y="31408"/>
                          <a:pt x="979370" y="39983"/>
                        </a:cubicBezTo>
                        <a:cubicBezTo>
                          <a:pt x="979591" y="48763"/>
                          <a:pt x="982459" y="55567"/>
                          <a:pt x="987976" y="60394"/>
                        </a:cubicBezTo>
                        <a:cubicBezTo>
                          <a:pt x="993493" y="65222"/>
                          <a:pt x="1000334" y="69169"/>
                          <a:pt x="1008499" y="72234"/>
                        </a:cubicBezTo>
                        <a:cubicBezTo>
                          <a:pt x="1016664" y="75300"/>
                          <a:pt x="1024829" y="78581"/>
                          <a:pt x="1032994" y="82077"/>
                        </a:cubicBezTo>
                        <a:cubicBezTo>
                          <a:pt x="1041159" y="85573"/>
                          <a:pt x="1048000" y="90379"/>
                          <a:pt x="1053517" y="96496"/>
                        </a:cubicBezTo>
                        <a:cubicBezTo>
                          <a:pt x="1059034" y="102614"/>
                          <a:pt x="1061902" y="111137"/>
                          <a:pt x="1062123" y="122066"/>
                        </a:cubicBezTo>
                        <a:cubicBezTo>
                          <a:pt x="1061772" y="135022"/>
                          <a:pt x="1056823" y="145229"/>
                          <a:pt x="1047275" y="152689"/>
                        </a:cubicBezTo>
                        <a:cubicBezTo>
                          <a:pt x="1037727" y="160149"/>
                          <a:pt x="1025689" y="163955"/>
                          <a:pt x="1011158" y="164106"/>
                        </a:cubicBezTo>
                        <a:cubicBezTo>
                          <a:pt x="1001306" y="164045"/>
                          <a:pt x="991744" y="162001"/>
                          <a:pt x="982471" y="157974"/>
                        </a:cubicBezTo>
                        <a:cubicBezTo>
                          <a:pt x="973198" y="153947"/>
                          <a:pt x="966383" y="148303"/>
                          <a:pt x="962025" y="141044"/>
                        </a:cubicBezTo>
                        <a:lnTo>
                          <a:pt x="969561" y="132355"/>
                        </a:lnTo>
                        <a:cubicBezTo>
                          <a:pt x="974476" y="138786"/>
                          <a:pt x="980739" y="143702"/>
                          <a:pt x="988350" y="147103"/>
                        </a:cubicBezTo>
                        <a:cubicBezTo>
                          <a:pt x="995961" y="150504"/>
                          <a:pt x="1003487" y="152219"/>
                          <a:pt x="1010930" y="152248"/>
                        </a:cubicBezTo>
                        <a:cubicBezTo>
                          <a:pt x="1021116" y="152229"/>
                          <a:pt x="1029902" y="149694"/>
                          <a:pt x="1037287" y="144645"/>
                        </a:cubicBezTo>
                        <a:cubicBezTo>
                          <a:pt x="1044672" y="139596"/>
                          <a:pt x="1048540" y="132146"/>
                          <a:pt x="1048893" y="122295"/>
                        </a:cubicBezTo>
                        <a:cubicBezTo>
                          <a:pt x="1048672" y="113416"/>
                          <a:pt x="1045803" y="106480"/>
                          <a:pt x="1040287" y="101486"/>
                        </a:cubicBezTo>
                        <a:cubicBezTo>
                          <a:pt x="1034770" y="96493"/>
                          <a:pt x="1027929" y="92388"/>
                          <a:pt x="1019764" y="89173"/>
                        </a:cubicBezTo>
                        <a:cubicBezTo>
                          <a:pt x="1011599" y="85957"/>
                          <a:pt x="1003434" y="82577"/>
                          <a:pt x="995269" y="79032"/>
                        </a:cubicBezTo>
                        <a:cubicBezTo>
                          <a:pt x="987104" y="75487"/>
                          <a:pt x="980263" y="70724"/>
                          <a:pt x="974746" y="64742"/>
                        </a:cubicBezTo>
                        <a:cubicBezTo>
                          <a:pt x="969229" y="58761"/>
                          <a:pt x="966360" y="50508"/>
                          <a:pt x="966140" y="39983"/>
                        </a:cubicBezTo>
                        <a:cubicBezTo>
                          <a:pt x="966234" y="28514"/>
                          <a:pt x="970325" y="19049"/>
                          <a:pt x="978415" y="11589"/>
                        </a:cubicBezTo>
                        <a:cubicBezTo>
                          <a:pt x="986505" y="4128"/>
                          <a:pt x="998029" y="265"/>
                          <a:pt x="1012988" y="0"/>
                        </a:cubicBezTo>
                        <a:close/>
                        <a:moveTo>
                          <a:pt x="489113" y="0"/>
                        </a:moveTo>
                        <a:cubicBezTo>
                          <a:pt x="498152" y="61"/>
                          <a:pt x="506431" y="1535"/>
                          <a:pt x="513953" y="4420"/>
                        </a:cubicBezTo>
                        <a:cubicBezTo>
                          <a:pt x="521474" y="7305"/>
                          <a:pt x="527519" y="11233"/>
                          <a:pt x="532089" y="16204"/>
                        </a:cubicBezTo>
                        <a:lnTo>
                          <a:pt x="525246" y="25578"/>
                        </a:lnTo>
                        <a:cubicBezTo>
                          <a:pt x="516099" y="16432"/>
                          <a:pt x="504207" y="11859"/>
                          <a:pt x="489570" y="11859"/>
                        </a:cubicBezTo>
                        <a:cubicBezTo>
                          <a:pt x="478946" y="11973"/>
                          <a:pt x="470636" y="14545"/>
                          <a:pt x="464643" y="19576"/>
                        </a:cubicBezTo>
                        <a:cubicBezTo>
                          <a:pt x="458649" y="24606"/>
                          <a:pt x="455600" y="31408"/>
                          <a:pt x="455495" y="39983"/>
                        </a:cubicBezTo>
                        <a:cubicBezTo>
                          <a:pt x="455716" y="48763"/>
                          <a:pt x="458584" y="55567"/>
                          <a:pt x="464101" y="60394"/>
                        </a:cubicBezTo>
                        <a:cubicBezTo>
                          <a:pt x="469618" y="65222"/>
                          <a:pt x="476459" y="69169"/>
                          <a:pt x="484624" y="72234"/>
                        </a:cubicBezTo>
                        <a:cubicBezTo>
                          <a:pt x="492789" y="75300"/>
                          <a:pt x="500954" y="78581"/>
                          <a:pt x="509119" y="82077"/>
                        </a:cubicBezTo>
                        <a:cubicBezTo>
                          <a:pt x="517284" y="85573"/>
                          <a:pt x="524125" y="90379"/>
                          <a:pt x="529642" y="96496"/>
                        </a:cubicBezTo>
                        <a:cubicBezTo>
                          <a:pt x="535159" y="102614"/>
                          <a:pt x="538028" y="111137"/>
                          <a:pt x="538248" y="122066"/>
                        </a:cubicBezTo>
                        <a:cubicBezTo>
                          <a:pt x="537897" y="135022"/>
                          <a:pt x="532948" y="145229"/>
                          <a:pt x="523400" y="152689"/>
                        </a:cubicBezTo>
                        <a:cubicBezTo>
                          <a:pt x="513852" y="160149"/>
                          <a:pt x="501814" y="163955"/>
                          <a:pt x="487283" y="164106"/>
                        </a:cubicBezTo>
                        <a:cubicBezTo>
                          <a:pt x="477431" y="164045"/>
                          <a:pt x="467869" y="162001"/>
                          <a:pt x="458596" y="157974"/>
                        </a:cubicBezTo>
                        <a:cubicBezTo>
                          <a:pt x="449323" y="153947"/>
                          <a:pt x="442508" y="148303"/>
                          <a:pt x="438150" y="141044"/>
                        </a:cubicBezTo>
                        <a:lnTo>
                          <a:pt x="445686" y="132355"/>
                        </a:lnTo>
                        <a:cubicBezTo>
                          <a:pt x="450601" y="138786"/>
                          <a:pt x="456864" y="143702"/>
                          <a:pt x="464475" y="147103"/>
                        </a:cubicBezTo>
                        <a:cubicBezTo>
                          <a:pt x="472086" y="150504"/>
                          <a:pt x="479612" y="152219"/>
                          <a:pt x="487055" y="152248"/>
                        </a:cubicBezTo>
                        <a:cubicBezTo>
                          <a:pt x="497241" y="152229"/>
                          <a:pt x="506027" y="149694"/>
                          <a:pt x="513412" y="144645"/>
                        </a:cubicBezTo>
                        <a:cubicBezTo>
                          <a:pt x="520797" y="139596"/>
                          <a:pt x="524665" y="132146"/>
                          <a:pt x="525018" y="122295"/>
                        </a:cubicBezTo>
                        <a:cubicBezTo>
                          <a:pt x="524797" y="113416"/>
                          <a:pt x="521928" y="106480"/>
                          <a:pt x="516412" y="101486"/>
                        </a:cubicBezTo>
                        <a:cubicBezTo>
                          <a:pt x="510895" y="96493"/>
                          <a:pt x="504054" y="92388"/>
                          <a:pt x="495889" y="89173"/>
                        </a:cubicBezTo>
                        <a:cubicBezTo>
                          <a:pt x="487724" y="85957"/>
                          <a:pt x="479559" y="82577"/>
                          <a:pt x="471394" y="79032"/>
                        </a:cubicBezTo>
                        <a:cubicBezTo>
                          <a:pt x="463229" y="75487"/>
                          <a:pt x="456388" y="70724"/>
                          <a:pt x="450871" y="64742"/>
                        </a:cubicBezTo>
                        <a:cubicBezTo>
                          <a:pt x="445354" y="58761"/>
                          <a:pt x="442485" y="50508"/>
                          <a:pt x="442265" y="39983"/>
                        </a:cubicBezTo>
                        <a:cubicBezTo>
                          <a:pt x="442359" y="28514"/>
                          <a:pt x="446450" y="19049"/>
                          <a:pt x="454540" y="11589"/>
                        </a:cubicBezTo>
                        <a:cubicBezTo>
                          <a:pt x="462630" y="4128"/>
                          <a:pt x="474154" y="265"/>
                          <a:pt x="489113" y="0"/>
                        </a:cubicBezTo>
                        <a:close/>
                        <a:moveTo>
                          <a:pt x="80224" y="0"/>
                        </a:moveTo>
                        <a:cubicBezTo>
                          <a:pt x="95539" y="128"/>
                          <a:pt x="109213" y="3679"/>
                          <a:pt x="121246" y="10654"/>
                        </a:cubicBezTo>
                        <a:cubicBezTo>
                          <a:pt x="133279" y="17628"/>
                          <a:pt x="142784" y="27258"/>
                          <a:pt x="149761" y="39542"/>
                        </a:cubicBezTo>
                        <a:cubicBezTo>
                          <a:pt x="156738" y="51826"/>
                          <a:pt x="160301" y="65996"/>
                          <a:pt x="160449" y="82053"/>
                        </a:cubicBezTo>
                        <a:cubicBezTo>
                          <a:pt x="160301" y="97895"/>
                          <a:pt x="156738" y="111963"/>
                          <a:pt x="149761" y="124260"/>
                        </a:cubicBezTo>
                        <a:cubicBezTo>
                          <a:pt x="142784" y="136557"/>
                          <a:pt x="133279" y="146237"/>
                          <a:pt x="121246" y="153300"/>
                        </a:cubicBezTo>
                        <a:cubicBezTo>
                          <a:pt x="109213" y="160363"/>
                          <a:pt x="95539" y="163965"/>
                          <a:pt x="80224" y="164106"/>
                        </a:cubicBezTo>
                        <a:cubicBezTo>
                          <a:pt x="64909" y="163978"/>
                          <a:pt x="51236" y="160427"/>
                          <a:pt x="39203" y="153453"/>
                        </a:cubicBezTo>
                        <a:cubicBezTo>
                          <a:pt x="27170" y="146478"/>
                          <a:pt x="17665" y="136849"/>
                          <a:pt x="10687" y="124565"/>
                        </a:cubicBezTo>
                        <a:cubicBezTo>
                          <a:pt x="3710" y="112281"/>
                          <a:pt x="148" y="98110"/>
                          <a:pt x="0" y="82053"/>
                        </a:cubicBezTo>
                        <a:cubicBezTo>
                          <a:pt x="135" y="66428"/>
                          <a:pt x="3647" y="52461"/>
                          <a:pt x="10535" y="40151"/>
                        </a:cubicBezTo>
                        <a:cubicBezTo>
                          <a:pt x="17423" y="27842"/>
                          <a:pt x="26878" y="18111"/>
                          <a:pt x="38898" y="10959"/>
                        </a:cubicBezTo>
                        <a:cubicBezTo>
                          <a:pt x="50918" y="3806"/>
                          <a:pt x="64693" y="153"/>
                          <a:pt x="80224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68" name="TextBox 467">
                    <a:extLst>
                      <a:ext uri="{FF2B5EF4-FFF2-40B4-BE49-F238E27FC236}">
                        <a16:creationId xmlns:a16="http://schemas.microsoft.com/office/drawing/2014/main" id="{FA8350C3-684C-6B42-ECF9-E31E16162FF3}"/>
                      </a:ext>
                    </a:extLst>
                  </p:cNvPr>
                  <p:cNvSpPr txBox="1"/>
                  <p:nvPr/>
                </p:nvSpPr>
                <p:spPr>
                  <a:xfrm>
                    <a:off x="12241287" y="6005762"/>
                    <a:ext cx="1014650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14651" h="164106">
                        <a:moveTo>
                          <a:pt x="237726" y="13459"/>
                        </a:moveTo>
                        <a:cubicBezTo>
                          <a:pt x="235048" y="13464"/>
                          <a:pt x="231199" y="13511"/>
                          <a:pt x="226177" y="13602"/>
                        </a:cubicBezTo>
                        <a:cubicBezTo>
                          <a:pt x="221155" y="13693"/>
                          <a:pt x="216619" y="13798"/>
                          <a:pt x="212570" y="13917"/>
                        </a:cubicBezTo>
                        <a:lnTo>
                          <a:pt x="212570" y="83210"/>
                        </a:lnTo>
                        <a:lnTo>
                          <a:pt x="240242" y="83210"/>
                        </a:lnTo>
                        <a:cubicBezTo>
                          <a:pt x="247155" y="83169"/>
                          <a:pt x="253708" y="81696"/>
                          <a:pt x="259901" y="78791"/>
                        </a:cubicBezTo>
                        <a:cubicBezTo>
                          <a:pt x="266094" y="75887"/>
                          <a:pt x="271156" y="71796"/>
                          <a:pt x="275088" y="66520"/>
                        </a:cubicBezTo>
                        <a:cubicBezTo>
                          <a:pt x="279020" y="61244"/>
                          <a:pt x="281050" y="55029"/>
                          <a:pt x="281178" y="47875"/>
                        </a:cubicBezTo>
                        <a:cubicBezTo>
                          <a:pt x="281397" y="37909"/>
                          <a:pt x="278215" y="29735"/>
                          <a:pt x="271630" y="23354"/>
                        </a:cubicBezTo>
                        <a:cubicBezTo>
                          <a:pt x="265045" y="16972"/>
                          <a:pt x="253744" y="13674"/>
                          <a:pt x="237726" y="13459"/>
                        </a:cubicBezTo>
                        <a:close/>
                        <a:moveTo>
                          <a:pt x="923925" y="2057"/>
                        </a:moveTo>
                        <a:lnTo>
                          <a:pt x="1012365" y="2057"/>
                        </a:lnTo>
                        <a:lnTo>
                          <a:pt x="1012365" y="13916"/>
                        </a:lnTo>
                        <a:lnTo>
                          <a:pt x="936469" y="13916"/>
                        </a:lnTo>
                        <a:lnTo>
                          <a:pt x="936469" y="74981"/>
                        </a:lnTo>
                        <a:lnTo>
                          <a:pt x="1005507" y="74981"/>
                        </a:lnTo>
                        <a:lnTo>
                          <a:pt x="1005507" y="86839"/>
                        </a:lnTo>
                        <a:lnTo>
                          <a:pt x="936469" y="86839"/>
                        </a:lnTo>
                        <a:lnTo>
                          <a:pt x="936469" y="150190"/>
                        </a:lnTo>
                        <a:lnTo>
                          <a:pt x="1014651" y="150190"/>
                        </a:lnTo>
                        <a:lnTo>
                          <a:pt x="1014651" y="162049"/>
                        </a:lnTo>
                        <a:lnTo>
                          <a:pt x="923925" y="162049"/>
                        </a:lnTo>
                        <a:close/>
                        <a:moveTo>
                          <a:pt x="876348" y="2057"/>
                        </a:moveTo>
                        <a:lnTo>
                          <a:pt x="891664" y="2057"/>
                        </a:lnTo>
                        <a:lnTo>
                          <a:pt x="815997" y="77711"/>
                        </a:lnTo>
                        <a:lnTo>
                          <a:pt x="894864" y="162049"/>
                        </a:lnTo>
                        <a:lnTo>
                          <a:pt x="878634" y="162049"/>
                        </a:lnTo>
                        <a:lnTo>
                          <a:pt x="801138" y="78625"/>
                        </a:lnTo>
                        <a:close/>
                        <a:moveTo>
                          <a:pt x="781050" y="2057"/>
                        </a:moveTo>
                        <a:lnTo>
                          <a:pt x="793594" y="2057"/>
                        </a:lnTo>
                        <a:lnTo>
                          <a:pt x="793594" y="162049"/>
                        </a:lnTo>
                        <a:lnTo>
                          <a:pt x="781050" y="162049"/>
                        </a:lnTo>
                        <a:close/>
                        <a:moveTo>
                          <a:pt x="476250" y="2057"/>
                        </a:moveTo>
                        <a:lnTo>
                          <a:pt x="486284" y="2057"/>
                        </a:lnTo>
                        <a:lnTo>
                          <a:pt x="595808" y="140107"/>
                        </a:lnTo>
                        <a:lnTo>
                          <a:pt x="595808" y="2057"/>
                        </a:lnTo>
                        <a:lnTo>
                          <a:pt x="607667" y="2057"/>
                        </a:lnTo>
                        <a:lnTo>
                          <a:pt x="607667" y="162049"/>
                        </a:lnTo>
                        <a:lnTo>
                          <a:pt x="597632" y="162049"/>
                        </a:lnTo>
                        <a:lnTo>
                          <a:pt x="488109" y="24457"/>
                        </a:lnTo>
                        <a:lnTo>
                          <a:pt x="488109" y="162049"/>
                        </a:lnTo>
                        <a:lnTo>
                          <a:pt x="476250" y="162049"/>
                        </a:lnTo>
                        <a:close/>
                        <a:moveTo>
                          <a:pt x="320726" y="2057"/>
                        </a:moveTo>
                        <a:lnTo>
                          <a:pt x="335356" y="2057"/>
                        </a:lnTo>
                        <a:lnTo>
                          <a:pt x="384490" y="80225"/>
                        </a:lnTo>
                        <a:lnTo>
                          <a:pt x="433854" y="2057"/>
                        </a:lnTo>
                        <a:lnTo>
                          <a:pt x="447799" y="2057"/>
                        </a:lnTo>
                        <a:lnTo>
                          <a:pt x="390192" y="92110"/>
                        </a:lnTo>
                        <a:lnTo>
                          <a:pt x="390192" y="162049"/>
                        </a:lnTo>
                        <a:lnTo>
                          <a:pt x="377647" y="162049"/>
                        </a:lnTo>
                        <a:lnTo>
                          <a:pt x="377647" y="92110"/>
                        </a:lnTo>
                        <a:close/>
                        <a:moveTo>
                          <a:pt x="0" y="2057"/>
                        </a:moveTo>
                        <a:lnTo>
                          <a:pt x="12773" y="2057"/>
                        </a:lnTo>
                        <a:lnTo>
                          <a:pt x="77253" y="89824"/>
                        </a:lnTo>
                        <a:lnTo>
                          <a:pt x="139217" y="2057"/>
                        </a:lnTo>
                        <a:lnTo>
                          <a:pt x="151305" y="2057"/>
                        </a:lnTo>
                        <a:lnTo>
                          <a:pt x="151305" y="162049"/>
                        </a:lnTo>
                        <a:lnTo>
                          <a:pt x="138760" y="162049"/>
                        </a:lnTo>
                        <a:lnTo>
                          <a:pt x="138760" y="21714"/>
                        </a:lnTo>
                        <a:lnTo>
                          <a:pt x="77253" y="108109"/>
                        </a:lnTo>
                        <a:lnTo>
                          <a:pt x="75195" y="108109"/>
                        </a:lnTo>
                        <a:lnTo>
                          <a:pt x="12545" y="22400"/>
                        </a:lnTo>
                        <a:lnTo>
                          <a:pt x="12545" y="162049"/>
                        </a:lnTo>
                        <a:lnTo>
                          <a:pt x="0" y="162049"/>
                        </a:lnTo>
                        <a:close/>
                        <a:moveTo>
                          <a:pt x="238412" y="1600"/>
                        </a:moveTo>
                        <a:cubicBezTo>
                          <a:pt x="252854" y="1717"/>
                          <a:pt x="264164" y="3897"/>
                          <a:pt x="272342" y="8142"/>
                        </a:cubicBezTo>
                        <a:cubicBezTo>
                          <a:pt x="280520" y="12386"/>
                          <a:pt x="286272" y="17994"/>
                          <a:pt x="289597" y="24967"/>
                        </a:cubicBezTo>
                        <a:cubicBezTo>
                          <a:pt x="292922" y="31939"/>
                          <a:pt x="294526" y="39575"/>
                          <a:pt x="294408" y="47875"/>
                        </a:cubicBezTo>
                        <a:cubicBezTo>
                          <a:pt x="294172" y="59491"/>
                          <a:pt x="290537" y="69236"/>
                          <a:pt x="283505" y="77112"/>
                        </a:cubicBezTo>
                        <a:cubicBezTo>
                          <a:pt x="276473" y="84988"/>
                          <a:pt x="267464" y="90137"/>
                          <a:pt x="256479" y="92561"/>
                        </a:cubicBezTo>
                        <a:lnTo>
                          <a:pt x="312468" y="162049"/>
                        </a:lnTo>
                        <a:lnTo>
                          <a:pt x="296923" y="162049"/>
                        </a:lnTo>
                        <a:lnTo>
                          <a:pt x="243672" y="95069"/>
                        </a:lnTo>
                        <a:lnTo>
                          <a:pt x="212570" y="95069"/>
                        </a:lnTo>
                        <a:lnTo>
                          <a:pt x="212570" y="162049"/>
                        </a:lnTo>
                        <a:lnTo>
                          <a:pt x="200025" y="162049"/>
                        </a:lnTo>
                        <a:lnTo>
                          <a:pt x="200025" y="2056"/>
                        </a:lnTo>
                        <a:cubicBezTo>
                          <a:pt x="203215" y="2051"/>
                          <a:pt x="207511" y="2011"/>
                          <a:pt x="212914" y="1938"/>
                        </a:cubicBezTo>
                        <a:cubicBezTo>
                          <a:pt x="218317" y="1865"/>
                          <a:pt x="223481" y="1792"/>
                          <a:pt x="228404" y="1718"/>
                        </a:cubicBezTo>
                        <a:cubicBezTo>
                          <a:pt x="233327" y="1645"/>
                          <a:pt x="236663" y="1606"/>
                          <a:pt x="238412" y="1600"/>
                        </a:cubicBezTo>
                        <a:close/>
                        <a:moveTo>
                          <a:pt x="695158" y="0"/>
                        </a:moveTo>
                        <a:cubicBezTo>
                          <a:pt x="704197" y="62"/>
                          <a:pt x="712476" y="1535"/>
                          <a:pt x="719998" y="4420"/>
                        </a:cubicBezTo>
                        <a:cubicBezTo>
                          <a:pt x="727519" y="7305"/>
                          <a:pt x="733564" y="11233"/>
                          <a:pt x="738134" y="16204"/>
                        </a:cubicBezTo>
                        <a:lnTo>
                          <a:pt x="731291" y="25578"/>
                        </a:lnTo>
                        <a:cubicBezTo>
                          <a:pt x="722144" y="16432"/>
                          <a:pt x="710252" y="11859"/>
                          <a:pt x="695615" y="11859"/>
                        </a:cubicBezTo>
                        <a:cubicBezTo>
                          <a:pt x="684991" y="11973"/>
                          <a:pt x="676681" y="14545"/>
                          <a:pt x="670688" y="19576"/>
                        </a:cubicBezTo>
                        <a:cubicBezTo>
                          <a:pt x="664694" y="24606"/>
                          <a:pt x="661645" y="31409"/>
                          <a:pt x="661540" y="39983"/>
                        </a:cubicBezTo>
                        <a:cubicBezTo>
                          <a:pt x="661761" y="48763"/>
                          <a:pt x="664629" y="55567"/>
                          <a:pt x="670146" y="60394"/>
                        </a:cubicBezTo>
                        <a:cubicBezTo>
                          <a:pt x="675663" y="65222"/>
                          <a:pt x="682504" y="69169"/>
                          <a:pt x="690669" y="72235"/>
                        </a:cubicBezTo>
                        <a:cubicBezTo>
                          <a:pt x="698834" y="75301"/>
                          <a:pt x="706999" y="78581"/>
                          <a:pt x="715164" y="82077"/>
                        </a:cubicBezTo>
                        <a:cubicBezTo>
                          <a:pt x="723329" y="85573"/>
                          <a:pt x="730170" y="90380"/>
                          <a:pt x="735687" y="96497"/>
                        </a:cubicBezTo>
                        <a:cubicBezTo>
                          <a:pt x="741204" y="102614"/>
                          <a:pt x="744072" y="111137"/>
                          <a:pt x="744293" y="122066"/>
                        </a:cubicBezTo>
                        <a:cubicBezTo>
                          <a:pt x="743942" y="135022"/>
                          <a:pt x="738993" y="145229"/>
                          <a:pt x="729445" y="152689"/>
                        </a:cubicBezTo>
                        <a:cubicBezTo>
                          <a:pt x="719897" y="160150"/>
                          <a:pt x="707859" y="163955"/>
                          <a:pt x="693328" y="164106"/>
                        </a:cubicBezTo>
                        <a:cubicBezTo>
                          <a:pt x="683476" y="164045"/>
                          <a:pt x="673914" y="162001"/>
                          <a:pt x="664641" y="157974"/>
                        </a:cubicBezTo>
                        <a:cubicBezTo>
                          <a:pt x="655368" y="153947"/>
                          <a:pt x="648553" y="148303"/>
                          <a:pt x="644195" y="141044"/>
                        </a:cubicBezTo>
                        <a:lnTo>
                          <a:pt x="651731" y="132355"/>
                        </a:lnTo>
                        <a:cubicBezTo>
                          <a:pt x="656646" y="138786"/>
                          <a:pt x="662909" y="143702"/>
                          <a:pt x="670520" y="147103"/>
                        </a:cubicBezTo>
                        <a:cubicBezTo>
                          <a:pt x="678131" y="150504"/>
                          <a:pt x="685657" y="152219"/>
                          <a:pt x="693100" y="152248"/>
                        </a:cubicBezTo>
                        <a:cubicBezTo>
                          <a:pt x="703286" y="152229"/>
                          <a:pt x="712072" y="149694"/>
                          <a:pt x="719457" y="144645"/>
                        </a:cubicBezTo>
                        <a:cubicBezTo>
                          <a:pt x="726842" y="139596"/>
                          <a:pt x="730710" y="132146"/>
                          <a:pt x="731063" y="122295"/>
                        </a:cubicBezTo>
                        <a:cubicBezTo>
                          <a:pt x="730842" y="113416"/>
                          <a:pt x="727973" y="106480"/>
                          <a:pt x="722457" y="101487"/>
                        </a:cubicBezTo>
                        <a:cubicBezTo>
                          <a:pt x="716940" y="96493"/>
                          <a:pt x="710099" y="92388"/>
                          <a:pt x="701934" y="89173"/>
                        </a:cubicBezTo>
                        <a:cubicBezTo>
                          <a:pt x="693769" y="85957"/>
                          <a:pt x="685604" y="82577"/>
                          <a:pt x="677439" y="79032"/>
                        </a:cubicBezTo>
                        <a:cubicBezTo>
                          <a:pt x="669274" y="75487"/>
                          <a:pt x="662433" y="70724"/>
                          <a:pt x="656916" y="64742"/>
                        </a:cubicBezTo>
                        <a:cubicBezTo>
                          <a:pt x="651399" y="58761"/>
                          <a:pt x="648530" y="50508"/>
                          <a:pt x="648310" y="39983"/>
                        </a:cubicBezTo>
                        <a:cubicBezTo>
                          <a:pt x="648404" y="28514"/>
                          <a:pt x="652495" y="19049"/>
                          <a:pt x="660585" y="11589"/>
                        </a:cubicBezTo>
                        <a:cubicBezTo>
                          <a:pt x="668675" y="4128"/>
                          <a:pt x="680199" y="266"/>
                          <a:pt x="695158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69" name="TextBox 468">
                    <a:extLst>
                      <a:ext uri="{FF2B5EF4-FFF2-40B4-BE49-F238E27FC236}">
                        <a16:creationId xmlns:a16="http://schemas.microsoft.com/office/drawing/2014/main" id="{C46C5C8C-2A5E-058E-1DAA-A1A0859876C9}"/>
                      </a:ext>
                    </a:extLst>
                  </p:cNvPr>
                  <p:cNvSpPr txBox="1"/>
                  <p:nvPr/>
                </p:nvSpPr>
                <p:spPr>
                  <a:xfrm>
                    <a:off x="13647064" y="4464034"/>
                    <a:ext cx="1522981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22981" h="164106">
                        <a:moveTo>
                          <a:pt x="508849" y="11859"/>
                        </a:moveTo>
                        <a:cubicBezTo>
                          <a:pt x="496073" y="11976"/>
                          <a:pt x="484660" y="15044"/>
                          <a:pt x="474611" y="21064"/>
                        </a:cubicBezTo>
                        <a:cubicBezTo>
                          <a:pt x="464562" y="27084"/>
                          <a:pt x="456621" y="35352"/>
                          <a:pt x="450789" y="45868"/>
                        </a:cubicBezTo>
                        <a:cubicBezTo>
                          <a:pt x="444957" y="56384"/>
                          <a:pt x="441979" y="68446"/>
                          <a:pt x="441855" y="82053"/>
                        </a:cubicBezTo>
                        <a:cubicBezTo>
                          <a:pt x="441984" y="95517"/>
                          <a:pt x="444979" y="107511"/>
                          <a:pt x="450840" y="118035"/>
                        </a:cubicBezTo>
                        <a:cubicBezTo>
                          <a:pt x="456702" y="128560"/>
                          <a:pt x="464659" y="136862"/>
                          <a:pt x="474713" y="142941"/>
                        </a:cubicBezTo>
                        <a:cubicBezTo>
                          <a:pt x="484766" y="149020"/>
                          <a:pt x="496145" y="152122"/>
                          <a:pt x="508849" y="152248"/>
                        </a:cubicBezTo>
                        <a:cubicBezTo>
                          <a:pt x="521985" y="152118"/>
                          <a:pt x="533567" y="148999"/>
                          <a:pt x="543595" y="142890"/>
                        </a:cubicBezTo>
                        <a:cubicBezTo>
                          <a:pt x="553624" y="136782"/>
                          <a:pt x="561479" y="128463"/>
                          <a:pt x="567163" y="117934"/>
                        </a:cubicBezTo>
                        <a:cubicBezTo>
                          <a:pt x="572847" y="107405"/>
                          <a:pt x="575740" y="95445"/>
                          <a:pt x="575843" y="82053"/>
                        </a:cubicBezTo>
                        <a:cubicBezTo>
                          <a:pt x="575715" y="68446"/>
                          <a:pt x="572720" y="56384"/>
                          <a:pt x="566858" y="45868"/>
                        </a:cubicBezTo>
                        <a:cubicBezTo>
                          <a:pt x="560997" y="35352"/>
                          <a:pt x="553039" y="27084"/>
                          <a:pt x="542986" y="21064"/>
                        </a:cubicBezTo>
                        <a:cubicBezTo>
                          <a:pt x="532932" y="15044"/>
                          <a:pt x="521553" y="11976"/>
                          <a:pt x="508849" y="11859"/>
                        </a:cubicBezTo>
                        <a:close/>
                        <a:moveTo>
                          <a:pt x="204049" y="11859"/>
                        </a:moveTo>
                        <a:cubicBezTo>
                          <a:pt x="191273" y="11976"/>
                          <a:pt x="179861" y="15044"/>
                          <a:pt x="169811" y="21064"/>
                        </a:cubicBezTo>
                        <a:cubicBezTo>
                          <a:pt x="159762" y="27084"/>
                          <a:pt x="151821" y="35352"/>
                          <a:pt x="145989" y="45868"/>
                        </a:cubicBezTo>
                        <a:cubicBezTo>
                          <a:pt x="140157" y="56384"/>
                          <a:pt x="137179" y="68446"/>
                          <a:pt x="137055" y="82053"/>
                        </a:cubicBezTo>
                        <a:cubicBezTo>
                          <a:pt x="137184" y="95517"/>
                          <a:pt x="140179" y="107511"/>
                          <a:pt x="146040" y="118035"/>
                        </a:cubicBezTo>
                        <a:cubicBezTo>
                          <a:pt x="151902" y="128560"/>
                          <a:pt x="159859" y="136862"/>
                          <a:pt x="169913" y="142941"/>
                        </a:cubicBezTo>
                        <a:cubicBezTo>
                          <a:pt x="179966" y="149020"/>
                          <a:pt x="191345" y="152122"/>
                          <a:pt x="204049" y="152248"/>
                        </a:cubicBezTo>
                        <a:cubicBezTo>
                          <a:pt x="217185" y="152118"/>
                          <a:pt x="228767" y="148999"/>
                          <a:pt x="238795" y="142890"/>
                        </a:cubicBezTo>
                        <a:cubicBezTo>
                          <a:pt x="248823" y="136782"/>
                          <a:pt x="256679" y="128463"/>
                          <a:pt x="262363" y="117934"/>
                        </a:cubicBezTo>
                        <a:cubicBezTo>
                          <a:pt x="268047" y="107405"/>
                          <a:pt x="270940" y="95445"/>
                          <a:pt x="271043" y="82053"/>
                        </a:cubicBezTo>
                        <a:cubicBezTo>
                          <a:pt x="270915" y="68446"/>
                          <a:pt x="267920" y="56384"/>
                          <a:pt x="262058" y="45868"/>
                        </a:cubicBezTo>
                        <a:cubicBezTo>
                          <a:pt x="256197" y="35352"/>
                          <a:pt x="248239" y="27084"/>
                          <a:pt x="238186" y="21064"/>
                        </a:cubicBezTo>
                        <a:cubicBezTo>
                          <a:pt x="228132" y="15044"/>
                          <a:pt x="216753" y="11976"/>
                          <a:pt x="204049" y="11859"/>
                        </a:cubicBezTo>
                        <a:close/>
                        <a:moveTo>
                          <a:pt x="1432255" y="2057"/>
                        </a:moveTo>
                        <a:lnTo>
                          <a:pt x="1520695" y="2057"/>
                        </a:lnTo>
                        <a:lnTo>
                          <a:pt x="1520695" y="13916"/>
                        </a:lnTo>
                        <a:lnTo>
                          <a:pt x="1444800" y="13916"/>
                        </a:lnTo>
                        <a:lnTo>
                          <a:pt x="1444800" y="74981"/>
                        </a:lnTo>
                        <a:lnTo>
                          <a:pt x="1513837" y="74981"/>
                        </a:lnTo>
                        <a:lnTo>
                          <a:pt x="1513837" y="86839"/>
                        </a:lnTo>
                        <a:lnTo>
                          <a:pt x="1444800" y="86839"/>
                        </a:lnTo>
                        <a:lnTo>
                          <a:pt x="1444800" y="150190"/>
                        </a:lnTo>
                        <a:lnTo>
                          <a:pt x="1522981" y="150190"/>
                        </a:lnTo>
                        <a:lnTo>
                          <a:pt x="1522981" y="162049"/>
                        </a:lnTo>
                        <a:lnTo>
                          <a:pt x="1432255" y="162049"/>
                        </a:lnTo>
                        <a:close/>
                        <a:moveTo>
                          <a:pt x="1384678" y="2057"/>
                        </a:moveTo>
                        <a:lnTo>
                          <a:pt x="1399994" y="2057"/>
                        </a:lnTo>
                        <a:lnTo>
                          <a:pt x="1324327" y="77711"/>
                        </a:lnTo>
                        <a:lnTo>
                          <a:pt x="1403194" y="162049"/>
                        </a:lnTo>
                        <a:lnTo>
                          <a:pt x="1386964" y="162049"/>
                        </a:lnTo>
                        <a:lnTo>
                          <a:pt x="1309468" y="78625"/>
                        </a:lnTo>
                        <a:close/>
                        <a:moveTo>
                          <a:pt x="1289380" y="2057"/>
                        </a:moveTo>
                        <a:lnTo>
                          <a:pt x="1301925" y="2057"/>
                        </a:lnTo>
                        <a:lnTo>
                          <a:pt x="1301925" y="162049"/>
                        </a:lnTo>
                        <a:lnTo>
                          <a:pt x="1289380" y="162049"/>
                        </a:lnTo>
                        <a:close/>
                        <a:moveTo>
                          <a:pt x="990281" y="2057"/>
                        </a:moveTo>
                        <a:lnTo>
                          <a:pt x="1003768" y="2057"/>
                        </a:lnTo>
                        <a:lnTo>
                          <a:pt x="1063890" y="144222"/>
                        </a:lnTo>
                        <a:lnTo>
                          <a:pt x="1122412" y="2057"/>
                        </a:lnTo>
                        <a:lnTo>
                          <a:pt x="1135213" y="2057"/>
                        </a:lnTo>
                        <a:lnTo>
                          <a:pt x="1068005" y="163420"/>
                        </a:lnTo>
                        <a:lnTo>
                          <a:pt x="1059089" y="163420"/>
                        </a:lnTo>
                        <a:close/>
                        <a:moveTo>
                          <a:pt x="942441" y="2057"/>
                        </a:moveTo>
                        <a:lnTo>
                          <a:pt x="954986" y="2057"/>
                        </a:lnTo>
                        <a:lnTo>
                          <a:pt x="954986" y="162049"/>
                        </a:lnTo>
                        <a:lnTo>
                          <a:pt x="942441" y="162049"/>
                        </a:lnTo>
                        <a:close/>
                        <a:moveTo>
                          <a:pt x="765505" y="2057"/>
                        </a:moveTo>
                        <a:lnTo>
                          <a:pt x="778049" y="2057"/>
                        </a:lnTo>
                        <a:lnTo>
                          <a:pt x="778049" y="74524"/>
                        </a:lnTo>
                        <a:lnTo>
                          <a:pt x="877976" y="74524"/>
                        </a:lnTo>
                        <a:lnTo>
                          <a:pt x="877976" y="2057"/>
                        </a:lnTo>
                        <a:lnTo>
                          <a:pt x="890521" y="2057"/>
                        </a:lnTo>
                        <a:lnTo>
                          <a:pt x="890521" y="162049"/>
                        </a:lnTo>
                        <a:lnTo>
                          <a:pt x="877976" y="162049"/>
                        </a:lnTo>
                        <a:lnTo>
                          <a:pt x="877976" y="86382"/>
                        </a:lnTo>
                        <a:lnTo>
                          <a:pt x="778049" y="86382"/>
                        </a:lnTo>
                        <a:lnTo>
                          <a:pt x="778049" y="162049"/>
                        </a:lnTo>
                        <a:lnTo>
                          <a:pt x="765505" y="162049"/>
                        </a:lnTo>
                        <a:close/>
                        <a:moveTo>
                          <a:pt x="717928" y="2057"/>
                        </a:moveTo>
                        <a:lnTo>
                          <a:pt x="733244" y="2057"/>
                        </a:lnTo>
                        <a:lnTo>
                          <a:pt x="657577" y="77711"/>
                        </a:lnTo>
                        <a:lnTo>
                          <a:pt x="736444" y="162049"/>
                        </a:lnTo>
                        <a:lnTo>
                          <a:pt x="720214" y="162049"/>
                        </a:lnTo>
                        <a:lnTo>
                          <a:pt x="642718" y="78625"/>
                        </a:lnTo>
                        <a:close/>
                        <a:moveTo>
                          <a:pt x="622630" y="2057"/>
                        </a:moveTo>
                        <a:lnTo>
                          <a:pt x="635174" y="2057"/>
                        </a:lnTo>
                        <a:lnTo>
                          <a:pt x="635174" y="162049"/>
                        </a:lnTo>
                        <a:lnTo>
                          <a:pt x="622630" y="162049"/>
                        </a:lnTo>
                        <a:close/>
                        <a:moveTo>
                          <a:pt x="317830" y="2057"/>
                        </a:moveTo>
                        <a:lnTo>
                          <a:pt x="330375" y="2057"/>
                        </a:lnTo>
                        <a:lnTo>
                          <a:pt x="330375" y="150190"/>
                        </a:lnTo>
                        <a:lnTo>
                          <a:pt x="414728" y="150190"/>
                        </a:lnTo>
                        <a:lnTo>
                          <a:pt x="414728" y="162049"/>
                        </a:lnTo>
                        <a:lnTo>
                          <a:pt x="317830" y="162049"/>
                        </a:lnTo>
                        <a:close/>
                        <a:moveTo>
                          <a:pt x="1203488" y="0"/>
                        </a:moveTo>
                        <a:cubicBezTo>
                          <a:pt x="1212527" y="62"/>
                          <a:pt x="1220806" y="1535"/>
                          <a:pt x="1228328" y="4420"/>
                        </a:cubicBezTo>
                        <a:cubicBezTo>
                          <a:pt x="1235849" y="7305"/>
                          <a:pt x="1241894" y="11233"/>
                          <a:pt x="1246464" y="16204"/>
                        </a:cubicBezTo>
                        <a:lnTo>
                          <a:pt x="1239621" y="25578"/>
                        </a:lnTo>
                        <a:cubicBezTo>
                          <a:pt x="1230474" y="16432"/>
                          <a:pt x="1218582" y="11859"/>
                          <a:pt x="1203945" y="11859"/>
                        </a:cubicBezTo>
                        <a:cubicBezTo>
                          <a:pt x="1193321" y="11973"/>
                          <a:pt x="1185011" y="14545"/>
                          <a:pt x="1179018" y="19576"/>
                        </a:cubicBezTo>
                        <a:cubicBezTo>
                          <a:pt x="1173024" y="24606"/>
                          <a:pt x="1169975" y="31409"/>
                          <a:pt x="1169870" y="39983"/>
                        </a:cubicBezTo>
                        <a:cubicBezTo>
                          <a:pt x="1170091" y="48763"/>
                          <a:pt x="1172959" y="55567"/>
                          <a:pt x="1178476" y="60394"/>
                        </a:cubicBezTo>
                        <a:cubicBezTo>
                          <a:pt x="1183993" y="65222"/>
                          <a:pt x="1190834" y="69169"/>
                          <a:pt x="1198999" y="72235"/>
                        </a:cubicBezTo>
                        <a:cubicBezTo>
                          <a:pt x="1207164" y="75301"/>
                          <a:pt x="1215329" y="78581"/>
                          <a:pt x="1223494" y="82077"/>
                        </a:cubicBezTo>
                        <a:cubicBezTo>
                          <a:pt x="1231659" y="85573"/>
                          <a:pt x="1238500" y="90380"/>
                          <a:pt x="1244017" y="96497"/>
                        </a:cubicBezTo>
                        <a:cubicBezTo>
                          <a:pt x="1249534" y="102614"/>
                          <a:pt x="1252402" y="111137"/>
                          <a:pt x="1252623" y="122066"/>
                        </a:cubicBezTo>
                        <a:cubicBezTo>
                          <a:pt x="1252272" y="135022"/>
                          <a:pt x="1247323" y="145229"/>
                          <a:pt x="1237775" y="152689"/>
                        </a:cubicBezTo>
                        <a:cubicBezTo>
                          <a:pt x="1228228" y="160150"/>
                          <a:pt x="1216189" y="163955"/>
                          <a:pt x="1201658" y="164106"/>
                        </a:cubicBezTo>
                        <a:cubicBezTo>
                          <a:pt x="1191806" y="164045"/>
                          <a:pt x="1182244" y="162001"/>
                          <a:pt x="1172971" y="157974"/>
                        </a:cubicBezTo>
                        <a:cubicBezTo>
                          <a:pt x="1163698" y="153947"/>
                          <a:pt x="1156883" y="148303"/>
                          <a:pt x="1152525" y="141044"/>
                        </a:cubicBezTo>
                        <a:lnTo>
                          <a:pt x="1160061" y="132355"/>
                        </a:lnTo>
                        <a:cubicBezTo>
                          <a:pt x="1164976" y="138786"/>
                          <a:pt x="1171239" y="143702"/>
                          <a:pt x="1178850" y="147103"/>
                        </a:cubicBezTo>
                        <a:cubicBezTo>
                          <a:pt x="1186461" y="150504"/>
                          <a:pt x="1193987" y="152219"/>
                          <a:pt x="1201430" y="152248"/>
                        </a:cubicBezTo>
                        <a:cubicBezTo>
                          <a:pt x="1211616" y="152229"/>
                          <a:pt x="1220402" y="149694"/>
                          <a:pt x="1227787" y="144645"/>
                        </a:cubicBezTo>
                        <a:cubicBezTo>
                          <a:pt x="1235172" y="139596"/>
                          <a:pt x="1239040" y="132146"/>
                          <a:pt x="1239393" y="122295"/>
                        </a:cubicBezTo>
                        <a:cubicBezTo>
                          <a:pt x="1239172" y="113416"/>
                          <a:pt x="1236303" y="106480"/>
                          <a:pt x="1230787" y="101487"/>
                        </a:cubicBezTo>
                        <a:cubicBezTo>
                          <a:pt x="1225270" y="96493"/>
                          <a:pt x="1218429" y="92388"/>
                          <a:pt x="1210264" y="89173"/>
                        </a:cubicBezTo>
                        <a:cubicBezTo>
                          <a:pt x="1202099" y="85957"/>
                          <a:pt x="1193934" y="82577"/>
                          <a:pt x="1185769" y="79032"/>
                        </a:cubicBezTo>
                        <a:cubicBezTo>
                          <a:pt x="1177604" y="75487"/>
                          <a:pt x="1170763" y="70724"/>
                          <a:pt x="1165246" y="64742"/>
                        </a:cubicBezTo>
                        <a:cubicBezTo>
                          <a:pt x="1159729" y="58761"/>
                          <a:pt x="1156860" y="50508"/>
                          <a:pt x="1156640" y="39983"/>
                        </a:cubicBezTo>
                        <a:cubicBezTo>
                          <a:pt x="1156734" y="28514"/>
                          <a:pt x="1160825" y="19049"/>
                          <a:pt x="1168915" y="11589"/>
                        </a:cubicBezTo>
                        <a:cubicBezTo>
                          <a:pt x="1177005" y="4128"/>
                          <a:pt x="1188529" y="266"/>
                          <a:pt x="1203488" y="0"/>
                        </a:cubicBezTo>
                        <a:close/>
                        <a:moveTo>
                          <a:pt x="508849" y="0"/>
                        </a:moveTo>
                        <a:cubicBezTo>
                          <a:pt x="524164" y="128"/>
                          <a:pt x="537838" y="3679"/>
                          <a:pt x="549871" y="10654"/>
                        </a:cubicBezTo>
                        <a:cubicBezTo>
                          <a:pt x="561904" y="17628"/>
                          <a:pt x="571409" y="27258"/>
                          <a:pt x="578386" y="39542"/>
                        </a:cubicBezTo>
                        <a:cubicBezTo>
                          <a:pt x="585363" y="51826"/>
                          <a:pt x="588926" y="65996"/>
                          <a:pt x="589074" y="82053"/>
                        </a:cubicBezTo>
                        <a:cubicBezTo>
                          <a:pt x="588926" y="97895"/>
                          <a:pt x="585363" y="111963"/>
                          <a:pt x="578386" y="124260"/>
                        </a:cubicBezTo>
                        <a:cubicBezTo>
                          <a:pt x="571409" y="136557"/>
                          <a:pt x="561904" y="146237"/>
                          <a:pt x="549871" y="153300"/>
                        </a:cubicBezTo>
                        <a:cubicBezTo>
                          <a:pt x="537838" y="160363"/>
                          <a:pt x="524164" y="163965"/>
                          <a:pt x="508849" y="164106"/>
                        </a:cubicBezTo>
                        <a:cubicBezTo>
                          <a:pt x="493534" y="163978"/>
                          <a:pt x="479860" y="160427"/>
                          <a:pt x="467828" y="153453"/>
                        </a:cubicBezTo>
                        <a:cubicBezTo>
                          <a:pt x="455795" y="146478"/>
                          <a:pt x="446290" y="136849"/>
                          <a:pt x="439312" y="124565"/>
                        </a:cubicBezTo>
                        <a:cubicBezTo>
                          <a:pt x="432335" y="112281"/>
                          <a:pt x="428773" y="98111"/>
                          <a:pt x="428625" y="82053"/>
                        </a:cubicBezTo>
                        <a:cubicBezTo>
                          <a:pt x="428760" y="66428"/>
                          <a:pt x="432272" y="52461"/>
                          <a:pt x="439160" y="40151"/>
                        </a:cubicBezTo>
                        <a:cubicBezTo>
                          <a:pt x="446048" y="27842"/>
                          <a:pt x="455503" y="18111"/>
                          <a:pt x="467523" y="10959"/>
                        </a:cubicBezTo>
                        <a:cubicBezTo>
                          <a:pt x="479543" y="3806"/>
                          <a:pt x="493318" y="153"/>
                          <a:pt x="508849" y="0"/>
                        </a:cubicBezTo>
                        <a:close/>
                        <a:moveTo>
                          <a:pt x="204049" y="0"/>
                        </a:moveTo>
                        <a:cubicBezTo>
                          <a:pt x="219364" y="128"/>
                          <a:pt x="233038" y="3679"/>
                          <a:pt x="245071" y="10654"/>
                        </a:cubicBezTo>
                        <a:cubicBezTo>
                          <a:pt x="257104" y="17628"/>
                          <a:pt x="266609" y="27258"/>
                          <a:pt x="273586" y="39542"/>
                        </a:cubicBezTo>
                        <a:cubicBezTo>
                          <a:pt x="280563" y="51826"/>
                          <a:pt x="284126" y="65996"/>
                          <a:pt x="284274" y="82053"/>
                        </a:cubicBezTo>
                        <a:cubicBezTo>
                          <a:pt x="284126" y="97895"/>
                          <a:pt x="280563" y="111963"/>
                          <a:pt x="273586" y="124260"/>
                        </a:cubicBezTo>
                        <a:cubicBezTo>
                          <a:pt x="266609" y="136557"/>
                          <a:pt x="257104" y="146237"/>
                          <a:pt x="245071" y="153300"/>
                        </a:cubicBezTo>
                        <a:cubicBezTo>
                          <a:pt x="233038" y="160363"/>
                          <a:pt x="219364" y="163965"/>
                          <a:pt x="204049" y="164106"/>
                        </a:cubicBezTo>
                        <a:cubicBezTo>
                          <a:pt x="188734" y="163978"/>
                          <a:pt x="175061" y="160427"/>
                          <a:pt x="163028" y="153453"/>
                        </a:cubicBezTo>
                        <a:cubicBezTo>
                          <a:pt x="150995" y="146478"/>
                          <a:pt x="141490" y="136849"/>
                          <a:pt x="134513" y="124565"/>
                        </a:cubicBezTo>
                        <a:cubicBezTo>
                          <a:pt x="127535" y="112281"/>
                          <a:pt x="123973" y="98111"/>
                          <a:pt x="123825" y="82053"/>
                        </a:cubicBezTo>
                        <a:cubicBezTo>
                          <a:pt x="123960" y="66428"/>
                          <a:pt x="127472" y="52461"/>
                          <a:pt x="134360" y="40151"/>
                        </a:cubicBezTo>
                        <a:cubicBezTo>
                          <a:pt x="141248" y="27842"/>
                          <a:pt x="150703" y="18111"/>
                          <a:pt x="162723" y="10959"/>
                        </a:cubicBezTo>
                        <a:cubicBezTo>
                          <a:pt x="174743" y="3806"/>
                          <a:pt x="188518" y="153"/>
                          <a:pt x="204049" y="0"/>
                        </a:cubicBezTo>
                        <a:close/>
                        <a:moveTo>
                          <a:pt x="50963" y="0"/>
                        </a:moveTo>
                        <a:cubicBezTo>
                          <a:pt x="60002" y="62"/>
                          <a:pt x="68281" y="1535"/>
                          <a:pt x="75803" y="4420"/>
                        </a:cubicBezTo>
                        <a:cubicBezTo>
                          <a:pt x="83324" y="7305"/>
                          <a:pt x="89369" y="11233"/>
                          <a:pt x="93939" y="16204"/>
                        </a:cubicBezTo>
                        <a:lnTo>
                          <a:pt x="87096" y="25578"/>
                        </a:lnTo>
                        <a:cubicBezTo>
                          <a:pt x="77949" y="16432"/>
                          <a:pt x="66057" y="11859"/>
                          <a:pt x="51420" y="11859"/>
                        </a:cubicBezTo>
                        <a:cubicBezTo>
                          <a:pt x="40796" y="11973"/>
                          <a:pt x="32486" y="14545"/>
                          <a:pt x="26493" y="19576"/>
                        </a:cubicBezTo>
                        <a:cubicBezTo>
                          <a:pt x="20499" y="24606"/>
                          <a:pt x="17450" y="31409"/>
                          <a:pt x="17345" y="39983"/>
                        </a:cubicBezTo>
                        <a:cubicBezTo>
                          <a:pt x="17566" y="48763"/>
                          <a:pt x="20434" y="55567"/>
                          <a:pt x="25951" y="60394"/>
                        </a:cubicBezTo>
                        <a:cubicBezTo>
                          <a:pt x="31468" y="65222"/>
                          <a:pt x="38309" y="69169"/>
                          <a:pt x="46474" y="72235"/>
                        </a:cubicBezTo>
                        <a:cubicBezTo>
                          <a:pt x="54639" y="75301"/>
                          <a:pt x="62804" y="78581"/>
                          <a:pt x="70969" y="82077"/>
                        </a:cubicBezTo>
                        <a:cubicBezTo>
                          <a:pt x="79134" y="85573"/>
                          <a:pt x="85975" y="90380"/>
                          <a:pt x="91492" y="96497"/>
                        </a:cubicBezTo>
                        <a:cubicBezTo>
                          <a:pt x="97009" y="102614"/>
                          <a:pt x="99878" y="111137"/>
                          <a:pt x="100098" y="122066"/>
                        </a:cubicBezTo>
                        <a:cubicBezTo>
                          <a:pt x="99747" y="135022"/>
                          <a:pt x="94798" y="145229"/>
                          <a:pt x="85250" y="152689"/>
                        </a:cubicBezTo>
                        <a:cubicBezTo>
                          <a:pt x="75703" y="160150"/>
                          <a:pt x="63664" y="163955"/>
                          <a:pt x="49133" y="164106"/>
                        </a:cubicBezTo>
                        <a:cubicBezTo>
                          <a:pt x="39281" y="164045"/>
                          <a:pt x="29719" y="162001"/>
                          <a:pt x="20446" y="157974"/>
                        </a:cubicBezTo>
                        <a:cubicBezTo>
                          <a:pt x="11173" y="153947"/>
                          <a:pt x="4358" y="148303"/>
                          <a:pt x="0" y="141044"/>
                        </a:cubicBezTo>
                        <a:lnTo>
                          <a:pt x="7536" y="132355"/>
                        </a:lnTo>
                        <a:cubicBezTo>
                          <a:pt x="12451" y="138786"/>
                          <a:pt x="18714" y="143702"/>
                          <a:pt x="26325" y="147103"/>
                        </a:cubicBezTo>
                        <a:cubicBezTo>
                          <a:pt x="33936" y="150504"/>
                          <a:pt x="41462" y="152219"/>
                          <a:pt x="48905" y="152248"/>
                        </a:cubicBezTo>
                        <a:cubicBezTo>
                          <a:pt x="59091" y="152229"/>
                          <a:pt x="67877" y="149694"/>
                          <a:pt x="75262" y="144645"/>
                        </a:cubicBezTo>
                        <a:cubicBezTo>
                          <a:pt x="82647" y="139596"/>
                          <a:pt x="86515" y="132146"/>
                          <a:pt x="86868" y="122295"/>
                        </a:cubicBezTo>
                        <a:cubicBezTo>
                          <a:pt x="86647" y="113416"/>
                          <a:pt x="83778" y="106480"/>
                          <a:pt x="78262" y="101487"/>
                        </a:cubicBezTo>
                        <a:cubicBezTo>
                          <a:pt x="72745" y="96493"/>
                          <a:pt x="65904" y="92388"/>
                          <a:pt x="57739" y="89173"/>
                        </a:cubicBezTo>
                        <a:cubicBezTo>
                          <a:pt x="49574" y="85957"/>
                          <a:pt x="41409" y="82577"/>
                          <a:pt x="33244" y="79032"/>
                        </a:cubicBezTo>
                        <a:cubicBezTo>
                          <a:pt x="25079" y="75487"/>
                          <a:pt x="18238" y="70724"/>
                          <a:pt x="12721" y="64742"/>
                        </a:cubicBezTo>
                        <a:cubicBezTo>
                          <a:pt x="7204" y="58761"/>
                          <a:pt x="4335" y="50508"/>
                          <a:pt x="4115" y="39983"/>
                        </a:cubicBezTo>
                        <a:cubicBezTo>
                          <a:pt x="4209" y="28514"/>
                          <a:pt x="8300" y="19049"/>
                          <a:pt x="16390" y="11589"/>
                        </a:cubicBezTo>
                        <a:cubicBezTo>
                          <a:pt x="24480" y="4128"/>
                          <a:pt x="36004" y="266"/>
                          <a:pt x="50963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70" name="TextBox 469">
                    <a:extLst>
                      <a:ext uri="{FF2B5EF4-FFF2-40B4-BE49-F238E27FC236}">
                        <a16:creationId xmlns:a16="http://schemas.microsoft.com/office/drawing/2014/main" id="{9A319B73-7B7B-311B-A8C4-7978DDBDC217}"/>
                      </a:ext>
                    </a:extLst>
                  </p:cNvPr>
                  <p:cNvSpPr txBox="1"/>
                  <p:nvPr/>
                </p:nvSpPr>
                <p:spPr>
                  <a:xfrm>
                    <a:off x="14991241" y="8149263"/>
                    <a:ext cx="1490901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90901" h="164107">
                        <a:moveTo>
                          <a:pt x="1400175" y="2058"/>
                        </a:moveTo>
                        <a:lnTo>
                          <a:pt x="1488615" y="2058"/>
                        </a:lnTo>
                        <a:lnTo>
                          <a:pt x="1488615" y="13917"/>
                        </a:lnTo>
                        <a:lnTo>
                          <a:pt x="1412720" y="13917"/>
                        </a:lnTo>
                        <a:lnTo>
                          <a:pt x="1412720" y="74982"/>
                        </a:lnTo>
                        <a:lnTo>
                          <a:pt x="1481757" y="74982"/>
                        </a:lnTo>
                        <a:lnTo>
                          <a:pt x="1481757" y="86840"/>
                        </a:lnTo>
                        <a:lnTo>
                          <a:pt x="1412720" y="86840"/>
                        </a:lnTo>
                        <a:lnTo>
                          <a:pt x="1412720" y="150191"/>
                        </a:lnTo>
                        <a:lnTo>
                          <a:pt x="1490901" y="150191"/>
                        </a:lnTo>
                        <a:lnTo>
                          <a:pt x="1490901" y="162050"/>
                        </a:lnTo>
                        <a:lnTo>
                          <a:pt x="1400175" y="162050"/>
                        </a:lnTo>
                        <a:close/>
                        <a:moveTo>
                          <a:pt x="1352598" y="2058"/>
                        </a:moveTo>
                        <a:lnTo>
                          <a:pt x="1367914" y="2058"/>
                        </a:lnTo>
                        <a:lnTo>
                          <a:pt x="1292247" y="77712"/>
                        </a:lnTo>
                        <a:lnTo>
                          <a:pt x="1371114" y="162050"/>
                        </a:lnTo>
                        <a:lnTo>
                          <a:pt x="1354884" y="162050"/>
                        </a:lnTo>
                        <a:lnTo>
                          <a:pt x="1277388" y="78626"/>
                        </a:lnTo>
                        <a:close/>
                        <a:moveTo>
                          <a:pt x="1257300" y="2058"/>
                        </a:moveTo>
                        <a:lnTo>
                          <a:pt x="1269845" y="2058"/>
                        </a:lnTo>
                        <a:lnTo>
                          <a:pt x="1269845" y="162050"/>
                        </a:lnTo>
                        <a:lnTo>
                          <a:pt x="1257300" y="162050"/>
                        </a:lnTo>
                        <a:close/>
                        <a:moveTo>
                          <a:pt x="958201" y="2058"/>
                        </a:moveTo>
                        <a:lnTo>
                          <a:pt x="971688" y="2058"/>
                        </a:lnTo>
                        <a:lnTo>
                          <a:pt x="1031810" y="144223"/>
                        </a:lnTo>
                        <a:lnTo>
                          <a:pt x="1090332" y="2058"/>
                        </a:lnTo>
                        <a:lnTo>
                          <a:pt x="1103133" y="2058"/>
                        </a:lnTo>
                        <a:lnTo>
                          <a:pt x="1035925" y="163421"/>
                        </a:lnTo>
                        <a:lnTo>
                          <a:pt x="1027009" y="163421"/>
                        </a:lnTo>
                        <a:close/>
                        <a:moveTo>
                          <a:pt x="910361" y="2058"/>
                        </a:moveTo>
                        <a:lnTo>
                          <a:pt x="922906" y="2058"/>
                        </a:lnTo>
                        <a:lnTo>
                          <a:pt x="922906" y="162050"/>
                        </a:lnTo>
                        <a:lnTo>
                          <a:pt x="910361" y="162050"/>
                        </a:lnTo>
                        <a:close/>
                        <a:moveTo>
                          <a:pt x="733425" y="2058"/>
                        </a:moveTo>
                        <a:lnTo>
                          <a:pt x="745969" y="2058"/>
                        </a:lnTo>
                        <a:lnTo>
                          <a:pt x="745969" y="74525"/>
                        </a:lnTo>
                        <a:lnTo>
                          <a:pt x="845896" y="74525"/>
                        </a:lnTo>
                        <a:lnTo>
                          <a:pt x="845896" y="2058"/>
                        </a:lnTo>
                        <a:lnTo>
                          <a:pt x="858441" y="2058"/>
                        </a:lnTo>
                        <a:lnTo>
                          <a:pt x="858441" y="162050"/>
                        </a:lnTo>
                        <a:lnTo>
                          <a:pt x="845896" y="162050"/>
                        </a:lnTo>
                        <a:lnTo>
                          <a:pt x="845896" y="86383"/>
                        </a:lnTo>
                        <a:lnTo>
                          <a:pt x="745969" y="86383"/>
                        </a:lnTo>
                        <a:lnTo>
                          <a:pt x="745969" y="162050"/>
                        </a:lnTo>
                        <a:lnTo>
                          <a:pt x="733425" y="162050"/>
                        </a:lnTo>
                        <a:close/>
                        <a:moveTo>
                          <a:pt x="425501" y="2058"/>
                        </a:moveTo>
                        <a:lnTo>
                          <a:pt x="440131" y="2058"/>
                        </a:lnTo>
                        <a:lnTo>
                          <a:pt x="489265" y="80226"/>
                        </a:lnTo>
                        <a:lnTo>
                          <a:pt x="538629" y="2058"/>
                        </a:lnTo>
                        <a:lnTo>
                          <a:pt x="552574" y="2058"/>
                        </a:lnTo>
                        <a:lnTo>
                          <a:pt x="494967" y="92111"/>
                        </a:lnTo>
                        <a:lnTo>
                          <a:pt x="494967" y="162050"/>
                        </a:lnTo>
                        <a:lnTo>
                          <a:pt x="482422" y="162050"/>
                        </a:lnTo>
                        <a:lnTo>
                          <a:pt x="482422" y="92111"/>
                        </a:lnTo>
                        <a:close/>
                        <a:moveTo>
                          <a:pt x="276225" y="2058"/>
                        </a:moveTo>
                        <a:lnTo>
                          <a:pt x="288770" y="2058"/>
                        </a:lnTo>
                        <a:lnTo>
                          <a:pt x="288770" y="74525"/>
                        </a:lnTo>
                        <a:lnTo>
                          <a:pt x="388696" y="74525"/>
                        </a:lnTo>
                        <a:lnTo>
                          <a:pt x="388696" y="2058"/>
                        </a:lnTo>
                        <a:lnTo>
                          <a:pt x="401241" y="2058"/>
                        </a:lnTo>
                        <a:lnTo>
                          <a:pt x="401241" y="162050"/>
                        </a:lnTo>
                        <a:lnTo>
                          <a:pt x="388696" y="162050"/>
                        </a:lnTo>
                        <a:lnTo>
                          <a:pt x="388696" y="86383"/>
                        </a:lnTo>
                        <a:lnTo>
                          <a:pt x="288770" y="86383"/>
                        </a:lnTo>
                        <a:lnTo>
                          <a:pt x="288770" y="162050"/>
                        </a:lnTo>
                        <a:lnTo>
                          <a:pt x="276225" y="162050"/>
                        </a:lnTo>
                        <a:close/>
                        <a:moveTo>
                          <a:pt x="142875" y="2058"/>
                        </a:moveTo>
                        <a:lnTo>
                          <a:pt x="231315" y="2058"/>
                        </a:lnTo>
                        <a:lnTo>
                          <a:pt x="231315" y="13917"/>
                        </a:lnTo>
                        <a:lnTo>
                          <a:pt x="155420" y="13917"/>
                        </a:lnTo>
                        <a:lnTo>
                          <a:pt x="155420" y="74982"/>
                        </a:lnTo>
                        <a:lnTo>
                          <a:pt x="224457" y="74982"/>
                        </a:lnTo>
                        <a:lnTo>
                          <a:pt x="224457" y="86840"/>
                        </a:lnTo>
                        <a:lnTo>
                          <a:pt x="155420" y="86840"/>
                        </a:lnTo>
                        <a:lnTo>
                          <a:pt x="155420" y="150191"/>
                        </a:lnTo>
                        <a:lnTo>
                          <a:pt x="233601" y="150191"/>
                        </a:lnTo>
                        <a:lnTo>
                          <a:pt x="233601" y="162050"/>
                        </a:lnTo>
                        <a:lnTo>
                          <a:pt x="142875" y="162050"/>
                        </a:lnTo>
                        <a:close/>
                        <a:moveTo>
                          <a:pt x="95298" y="2058"/>
                        </a:moveTo>
                        <a:lnTo>
                          <a:pt x="110614" y="2058"/>
                        </a:lnTo>
                        <a:lnTo>
                          <a:pt x="34947" y="77712"/>
                        </a:lnTo>
                        <a:lnTo>
                          <a:pt x="113814" y="162050"/>
                        </a:lnTo>
                        <a:lnTo>
                          <a:pt x="97584" y="162050"/>
                        </a:lnTo>
                        <a:lnTo>
                          <a:pt x="20088" y="78626"/>
                        </a:lnTo>
                        <a:close/>
                        <a:moveTo>
                          <a:pt x="0" y="2058"/>
                        </a:moveTo>
                        <a:lnTo>
                          <a:pt x="12545" y="2058"/>
                        </a:lnTo>
                        <a:lnTo>
                          <a:pt x="12545" y="162050"/>
                        </a:lnTo>
                        <a:lnTo>
                          <a:pt x="0" y="162050"/>
                        </a:lnTo>
                        <a:close/>
                        <a:moveTo>
                          <a:pt x="1171408" y="1"/>
                        </a:moveTo>
                        <a:cubicBezTo>
                          <a:pt x="1180447" y="63"/>
                          <a:pt x="1188727" y="1536"/>
                          <a:pt x="1196248" y="4421"/>
                        </a:cubicBezTo>
                        <a:cubicBezTo>
                          <a:pt x="1203769" y="7306"/>
                          <a:pt x="1209814" y="11234"/>
                          <a:pt x="1214384" y="16205"/>
                        </a:cubicBezTo>
                        <a:lnTo>
                          <a:pt x="1207541" y="25579"/>
                        </a:lnTo>
                        <a:cubicBezTo>
                          <a:pt x="1198394" y="16433"/>
                          <a:pt x="1186502" y="11860"/>
                          <a:pt x="1171865" y="11860"/>
                        </a:cubicBezTo>
                        <a:cubicBezTo>
                          <a:pt x="1161241" y="11974"/>
                          <a:pt x="1152931" y="14546"/>
                          <a:pt x="1146938" y="19577"/>
                        </a:cubicBezTo>
                        <a:cubicBezTo>
                          <a:pt x="1140944" y="24607"/>
                          <a:pt x="1137895" y="31410"/>
                          <a:pt x="1137790" y="39984"/>
                        </a:cubicBezTo>
                        <a:cubicBezTo>
                          <a:pt x="1138011" y="48764"/>
                          <a:pt x="1140879" y="55568"/>
                          <a:pt x="1146396" y="60395"/>
                        </a:cubicBezTo>
                        <a:cubicBezTo>
                          <a:pt x="1151913" y="65223"/>
                          <a:pt x="1158754" y="69170"/>
                          <a:pt x="1166919" y="72236"/>
                        </a:cubicBezTo>
                        <a:cubicBezTo>
                          <a:pt x="1175084" y="75302"/>
                          <a:pt x="1183249" y="78582"/>
                          <a:pt x="1191414" y="82078"/>
                        </a:cubicBezTo>
                        <a:cubicBezTo>
                          <a:pt x="1199579" y="85574"/>
                          <a:pt x="1206420" y="90381"/>
                          <a:pt x="1211937" y="96498"/>
                        </a:cubicBezTo>
                        <a:cubicBezTo>
                          <a:pt x="1217454" y="102615"/>
                          <a:pt x="1220323" y="111138"/>
                          <a:pt x="1220543" y="122067"/>
                        </a:cubicBezTo>
                        <a:cubicBezTo>
                          <a:pt x="1220192" y="135023"/>
                          <a:pt x="1215243" y="145230"/>
                          <a:pt x="1205695" y="152690"/>
                        </a:cubicBezTo>
                        <a:cubicBezTo>
                          <a:pt x="1196147" y="160151"/>
                          <a:pt x="1184109" y="163956"/>
                          <a:pt x="1169578" y="164107"/>
                        </a:cubicBezTo>
                        <a:cubicBezTo>
                          <a:pt x="1159726" y="164046"/>
                          <a:pt x="1150164" y="162002"/>
                          <a:pt x="1140891" y="157975"/>
                        </a:cubicBezTo>
                        <a:cubicBezTo>
                          <a:pt x="1131618" y="153948"/>
                          <a:pt x="1124803" y="148304"/>
                          <a:pt x="1120445" y="141045"/>
                        </a:cubicBezTo>
                        <a:lnTo>
                          <a:pt x="1127981" y="132356"/>
                        </a:lnTo>
                        <a:cubicBezTo>
                          <a:pt x="1132896" y="138787"/>
                          <a:pt x="1139159" y="143703"/>
                          <a:pt x="1146770" y="147104"/>
                        </a:cubicBezTo>
                        <a:cubicBezTo>
                          <a:pt x="1154381" y="150505"/>
                          <a:pt x="1161907" y="152220"/>
                          <a:pt x="1169350" y="152249"/>
                        </a:cubicBezTo>
                        <a:cubicBezTo>
                          <a:pt x="1179536" y="152230"/>
                          <a:pt x="1188322" y="149695"/>
                          <a:pt x="1195707" y="144646"/>
                        </a:cubicBezTo>
                        <a:cubicBezTo>
                          <a:pt x="1203092" y="139597"/>
                          <a:pt x="1206960" y="132147"/>
                          <a:pt x="1207313" y="122296"/>
                        </a:cubicBezTo>
                        <a:cubicBezTo>
                          <a:pt x="1207092" y="113417"/>
                          <a:pt x="1204224" y="106481"/>
                          <a:pt x="1198707" y="101488"/>
                        </a:cubicBezTo>
                        <a:cubicBezTo>
                          <a:pt x="1193190" y="96494"/>
                          <a:pt x="1186349" y="92389"/>
                          <a:pt x="1178184" y="89174"/>
                        </a:cubicBezTo>
                        <a:cubicBezTo>
                          <a:pt x="1170019" y="85958"/>
                          <a:pt x="1161854" y="82578"/>
                          <a:pt x="1153689" y="79033"/>
                        </a:cubicBezTo>
                        <a:cubicBezTo>
                          <a:pt x="1145524" y="75488"/>
                          <a:pt x="1138683" y="70725"/>
                          <a:pt x="1133166" y="64743"/>
                        </a:cubicBezTo>
                        <a:cubicBezTo>
                          <a:pt x="1127649" y="58762"/>
                          <a:pt x="1124780" y="50509"/>
                          <a:pt x="1124560" y="39984"/>
                        </a:cubicBezTo>
                        <a:cubicBezTo>
                          <a:pt x="1124654" y="28515"/>
                          <a:pt x="1128745" y="19050"/>
                          <a:pt x="1136835" y="11590"/>
                        </a:cubicBezTo>
                        <a:cubicBezTo>
                          <a:pt x="1144925" y="4129"/>
                          <a:pt x="1156449" y="267"/>
                          <a:pt x="1171408" y="1"/>
                        </a:cubicBezTo>
                        <a:close/>
                        <a:moveTo>
                          <a:pt x="646376" y="1"/>
                        </a:moveTo>
                        <a:cubicBezTo>
                          <a:pt x="666531" y="0"/>
                          <a:pt x="682685" y="5020"/>
                          <a:pt x="694839" y="15061"/>
                        </a:cubicBezTo>
                        <a:lnTo>
                          <a:pt x="688896" y="24436"/>
                        </a:lnTo>
                        <a:cubicBezTo>
                          <a:pt x="683219" y="20111"/>
                          <a:pt x="676913" y="16929"/>
                          <a:pt x="669979" y="14890"/>
                        </a:cubicBezTo>
                        <a:cubicBezTo>
                          <a:pt x="663045" y="12851"/>
                          <a:pt x="655253" y="11841"/>
                          <a:pt x="646605" y="11860"/>
                        </a:cubicBezTo>
                        <a:cubicBezTo>
                          <a:pt x="633563" y="11977"/>
                          <a:pt x="622156" y="15045"/>
                          <a:pt x="612382" y="21065"/>
                        </a:cubicBezTo>
                        <a:cubicBezTo>
                          <a:pt x="602609" y="27085"/>
                          <a:pt x="594995" y="35353"/>
                          <a:pt x="589539" y="45869"/>
                        </a:cubicBezTo>
                        <a:cubicBezTo>
                          <a:pt x="584084" y="56385"/>
                          <a:pt x="581313" y="68447"/>
                          <a:pt x="581225" y="82054"/>
                        </a:cubicBezTo>
                        <a:cubicBezTo>
                          <a:pt x="581554" y="103385"/>
                          <a:pt x="587869" y="120343"/>
                          <a:pt x="600170" y="132928"/>
                        </a:cubicBezTo>
                        <a:cubicBezTo>
                          <a:pt x="612472" y="145513"/>
                          <a:pt x="628788" y="151953"/>
                          <a:pt x="649119" y="152249"/>
                        </a:cubicBezTo>
                        <a:cubicBezTo>
                          <a:pt x="657739" y="152191"/>
                          <a:pt x="665759" y="150820"/>
                          <a:pt x="673179" y="148133"/>
                        </a:cubicBezTo>
                        <a:cubicBezTo>
                          <a:pt x="680599" y="145446"/>
                          <a:pt x="687134" y="141788"/>
                          <a:pt x="692782" y="137158"/>
                        </a:cubicBezTo>
                        <a:lnTo>
                          <a:pt x="697811" y="146532"/>
                        </a:lnTo>
                        <a:cubicBezTo>
                          <a:pt x="692129" y="152060"/>
                          <a:pt x="684862" y="156360"/>
                          <a:pt x="676008" y="159430"/>
                        </a:cubicBezTo>
                        <a:cubicBezTo>
                          <a:pt x="667155" y="162501"/>
                          <a:pt x="657887" y="164060"/>
                          <a:pt x="648205" y="164107"/>
                        </a:cubicBezTo>
                        <a:cubicBezTo>
                          <a:pt x="624060" y="163804"/>
                          <a:pt x="604748" y="156359"/>
                          <a:pt x="590269" y="141773"/>
                        </a:cubicBezTo>
                        <a:cubicBezTo>
                          <a:pt x="575790" y="127186"/>
                          <a:pt x="568365" y="107280"/>
                          <a:pt x="567995" y="82054"/>
                        </a:cubicBezTo>
                        <a:cubicBezTo>
                          <a:pt x="568069" y="66573"/>
                          <a:pt x="571270" y="52674"/>
                          <a:pt x="577597" y="40356"/>
                        </a:cubicBezTo>
                        <a:cubicBezTo>
                          <a:pt x="583924" y="28038"/>
                          <a:pt x="592931" y="18273"/>
                          <a:pt x="604617" y="11061"/>
                        </a:cubicBezTo>
                        <a:cubicBezTo>
                          <a:pt x="616304" y="3850"/>
                          <a:pt x="630224" y="163"/>
                          <a:pt x="646376" y="1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71" name="TextBox 470">
                    <a:extLst>
                      <a:ext uri="{FF2B5EF4-FFF2-40B4-BE49-F238E27FC236}">
                        <a16:creationId xmlns:a16="http://schemas.microsoft.com/office/drawing/2014/main" id="{FE25E73C-D254-3BBF-33F3-3F85F1FFBDB8}"/>
                      </a:ext>
                    </a:extLst>
                  </p:cNvPr>
                  <p:cNvSpPr txBox="1"/>
                  <p:nvPr/>
                </p:nvSpPr>
                <p:spPr>
                  <a:xfrm>
                    <a:off x="13504112" y="7522543"/>
                    <a:ext cx="1509951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09951" h="164106">
                        <a:moveTo>
                          <a:pt x="901660" y="18059"/>
                        </a:moveTo>
                        <a:lnTo>
                          <a:pt x="868285" y="95783"/>
                        </a:lnTo>
                        <a:lnTo>
                          <a:pt x="934807" y="95783"/>
                        </a:lnTo>
                        <a:close/>
                        <a:moveTo>
                          <a:pt x="1047351" y="13459"/>
                        </a:moveTo>
                        <a:cubicBezTo>
                          <a:pt x="1044673" y="13464"/>
                          <a:pt x="1040824" y="13511"/>
                          <a:pt x="1035802" y="13602"/>
                        </a:cubicBezTo>
                        <a:cubicBezTo>
                          <a:pt x="1030780" y="13693"/>
                          <a:pt x="1026244" y="13798"/>
                          <a:pt x="1022194" y="13917"/>
                        </a:cubicBezTo>
                        <a:lnTo>
                          <a:pt x="1022194" y="83210"/>
                        </a:lnTo>
                        <a:lnTo>
                          <a:pt x="1049866" y="83210"/>
                        </a:lnTo>
                        <a:cubicBezTo>
                          <a:pt x="1056780" y="83169"/>
                          <a:pt x="1063333" y="81696"/>
                          <a:pt x="1069526" y="78791"/>
                        </a:cubicBezTo>
                        <a:cubicBezTo>
                          <a:pt x="1075719" y="75887"/>
                          <a:pt x="1080781" y="71796"/>
                          <a:pt x="1084713" y="66520"/>
                        </a:cubicBezTo>
                        <a:cubicBezTo>
                          <a:pt x="1088645" y="61244"/>
                          <a:pt x="1090675" y="55029"/>
                          <a:pt x="1090803" y="47875"/>
                        </a:cubicBezTo>
                        <a:cubicBezTo>
                          <a:pt x="1091022" y="37909"/>
                          <a:pt x="1087840" y="29735"/>
                          <a:pt x="1081255" y="23354"/>
                        </a:cubicBezTo>
                        <a:cubicBezTo>
                          <a:pt x="1074670" y="16972"/>
                          <a:pt x="1063369" y="13674"/>
                          <a:pt x="1047351" y="13459"/>
                        </a:cubicBezTo>
                        <a:close/>
                        <a:moveTo>
                          <a:pt x="171051" y="13459"/>
                        </a:moveTo>
                        <a:cubicBezTo>
                          <a:pt x="168373" y="13464"/>
                          <a:pt x="164524" y="13511"/>
                          <a:pt x="159502" y="13602"/>
                        </a:cubicBezTo>
                        <a:cubicBezTo>
                          <a:pt x="154480" y="13693"/>
                          <a:pt x="149944" y="13798"/>
                          <a:pt x="145895" y="13917"/>
                        </a:cubicBezTo>
                        <a:lnTo>
                          <a:pt x="145895" y="83210"/>
                        </a:lnTo>
                        <a:lnTo>
                          <a:pt x="173567" y="83210"/>
                        </a:lnTo>
                        <a:cubicBezTo>
                          <a:pt x="180480" y="83169"/>
                          <a:pt x="187033" y="81696"/>
                          <a:pt x="193226" y="78791"/>
                        </a:cubicBezTo>
                        <a:cubicBezTo>
                          <a:pt x="199419" y="75887"/>
                          <a:pt x="204481" y="71796"/>
                          <a:pt x="208413" y="66520"/>
                        </a:cubicBezTo>
                        <a:cubicBezTo>
                          <a:pt x="212345" y="61244"/>
                          <a:pt x="214375" y="55029"/>
                          <a:pt x="214503" y="47875"/>
                        </a:cubicBezTo>
                        <a:cubicBezTo>
                          <a:pt x="214722" y="37909"/>
                          <a:pt x="211540" y="29735"/>
                          <a:pt x="204955" y="23354"/>
                        </a:cubicBezTo>
                        <a:cubicBezTo>
                          <a:pt x="198370" y="16972"/>
                          <a:pt x="187069" y="13674"/>
                          <a:pt x="171051" y="13459"/>
                        </a:cubicBezTo>
                        <a:close/>
                        <a:moveTo>
                          <a:pt x="40217" y="13459"/>
                        </a:moveTo>
                        <a:cubicBezTo>
                          <a:pt x="36434" y="13464"/>
                          <a:pt x="31879" y="13511"/>
                          <a:pt x="26552" y="13602"/>
                        </a:cubicBezTo>
                        <a:cubicBezTo>
                          <a:pt x="21225" y="13692"/>
                          <a:pt x="16556" y="13797"/>
                          <a:pt x="12545" y="13916"/>
                        </a:cubicBezTo>
                        <a:lnTo>
                          <a:pt x="12545" y="85725"/>
                        </a:lnTo>
                        <a:cubicBezTo>
                          <a:pt x="16961" y="86072"/>
                          <a:pt x="21278" y="86349"/>
                          <a:pt x="25494" y="86554"/>
                        </a:cubicBezTo>
                        <a:cubicBezTo>
                          <a:pt x="29711" y="86758"/>
                          <a:pt x="34085" y="86863"/>
                          <a:pt x="38616" y="86868"/>
                        </a:cubicBezTo>
                        <a:cubicBezTo>
                          <a:pt x="53162" y="86687"/>
                          <a:pt x="64148" y="83218"/>
                          <a:pt x="71576" y="76463"/>
                        </a:cubicBezTo>
                        <a:cubicBezTo>
                          <a:pt x="79004" y="69707"/>
                          <a:pt x="82730" y="60750"/>
                          <a:pt x="82753" y="49591"/>
                        </a:cubicBezTo>
                        <a:cubicBezTo>
                          <a:pt x="82868" y="38981"/>
                          <a:pt x="79552" y="30358"/>
                          <a:pt x="72805" y="23721"/>
                        </a:cubicBezTo>
                        <a:cubicBezTo>
                          <a:pt x="66059" y="17084"/>
                          <a:pt x="55196" y="13664"/>
                          <a:pt x="40217" y="13459"/>
                        </a:cubicBezTo>
                        <a:close/>
                        <a:moveTo>
                          <a:pt x="343419" y="11859"/>
                        </a:moveTo>
                        <a:cubicBezTo>
                          <a:pt x="330643" y="11976"/>
                          <a:pt x="319230" y="15044"/>
                          <a:pt x="309181" y="21064"/>
                        </a:cubicBezTo>
                        <a:cubicBezTo>
                          <a:pt x="299132" y="27084"/>
                          <a:pt x="291191" y="35352"/>
                          <a:pt x="285359" y="45868"/>
                        </a:cubicBezTo>
                        <a:cubicBezTo>
                          <a:pt x="279527" y="56384"/>
                          <a:pt x="276549" y="68446"/>
                          <a:pt x="276425" y="82053"/>
                        </a:cubicBezTo>
                        <a:cubicBezTo>
                          <a:pt x="276554" y="95517"/>
                          <a:pt x="279549" y="107511"/>
                          <a:pt x="285410" y="118035"/>
                        </a:cubicBezTo>
                        <a:cubicBezTo>
                          <a:pt x="291272" y="128560"/>
                          <a:pt x="299229" y="136862"/>
                          <a:pt x="309283" y="142941"/>
                        </a:cubicBezTo>
                        <a:cubicBezTo>
                          <a:pt x="319336" y="149020"/>
                          <a:pt x="330715" y="152122"/>
                          <a:pt x="343419" y="152248"/>
                        </a:cubicBezTo>
                        <a:cubicBezTo>
                          <a:pt x="356555" y="152118"/>
                          <a:pt x="368137" y="148999"/>
                          <a:pt x="378165" y="142890"/>
                        </a:cubicBezTo>
                        <a:cubicBezTo>
                          <a:pt x="388193" y="136782"/>
                          <a:pt x="396049" y="128463"/>
                          <a:pt x="401733" y="117934"/>
                        </a:cubicBezTo>
                        <a:cubicBezTo>
                          <a:pt x="407417" y="107405"/>
                          <a:pt x="410310" y="95445"/>
                          <a:pt x="410413" y="82053"/>
                        </a:cubicBezTo>
                        <a:cubicBezTo>
                          <a:pt x="410285" y="68446"/>
                          <a:pt x="407290" y="56384"/>
                          <a:pt x="401428" y="45868"/>
                        </a:cubicBezTo>
                        <a:cubicBezTo>
                          <a:pt x="395567" y="35352"/>
                          <a:pt x="387609" y="27084"/>
                          <a:pt x="377556" y="21064"/>
                        </a:cubicBezTo>
                        <a:cubicBezTo>
                          <a:pt x="367502" y="15044"/>
                          <a:pt x="356123" y="11976"/>
                          <a:pt x="343419" y="11859"/>
                        </a:cubicBezTo>
                        <a:close/>
                        <a:moveTo>
                          <a:pt x="1419225" y="2057"/>
                        </a:moveTo>
                        <a:lnTo>
                          <a:pt x="1507665" y="2057"/>
                        </a:lnTo>
                        <a:lnTo>
                          <a:pt x="1507665" y="13916"/>
                        </a:lnTo>
                        <a:lnTo>
                          <a:pt x="1431770" y="13916"/>
                        </a:lnTo>
                        <a:lnTo>
                          <a:pt x="1431770" y="74981"/>
                        </a:lnTo>
                        <a:lnTo>
                          <a:pt x="1500807" y="74981"/>
                        </a:lnTo>
                        <a:lnTo>
                          <a:pt x="1500807" y="86839"/>
                        </a:lnTo>
                        <a:lnTo>
                          <a:pt x="1431770" y="86839"/>
                        </a:lnTo>
                        <a:lnTo>
                          <a:pt x="1431770" y="150190"/>
                        </a:lnTo>
                        <a:lnTo>
                          <a:pt x="1509951" y="150190"/>
                        </a:lnTo>
                        <a:lnTo>
                          <a:pt x="1509951" y="162049"/>
                        </a:lnTo>
                        <a:lnTo>
                          <a:pt x="1419225" y="162049"/>
                        </a:lnTo>
                        <a:close/>
                        <a:moveTo>
                          <a:pt x="1371648" y="2057"/>
                        </a:moveTo>
                        <a:lnTo>
                          <a:pt x="1386964" y="2057"/>
                        </a:lnTo>
                        <a:lnTo>
                          <a:pt x="1311297" y="77711"/>
                        </a:lnTo>
                        <a:lnTo>
                          <a:pt x="1390164" y="162049"/>
                        </a:lnTo>
                        <a:lnTo>
                          <a:pt x="1373934" y="162049"/>
                        </a:lnTo>
                        <a:lnTo>
                          <a:pt x="1296438" y="78625"/>
                        </a:lnTo>
                        <a:close/>
                        <a:moveTo>
                          <a:pt x="1276350" y="2057"/>
                        </a:moveTo>
                        <a:lnTo>
                          <a:pt x="1288895" y="2057"/>
                        </a:lnTo>
                        <a:lnTo>
                          <a:pt x="1288895" y="162049"/>
                        </a:lnTo>
                        <a:lnTo>
                          <a:pt x="1276350" y="162049"/>
                        </a:lnTo>
                        <a:close/>
                        <a:moveTo>
                          <a:pt x="691286" y="2057"/>
                        </a:moveTo>
                        <a:lnTo>
                          <a:pt x="822246" y="2057"/>
                        </a:lnTo>
                        <a:lnTo>
                          <a:pt x="822246" y="13916"/>
                        </a:lnTo>
                        <a:lnTo>
                          <a:pt x="763038" y="13916"/>
                        </a:lnTo>
                        <a:lnTo>
                          <a:pt x="763038" y="162049"/>
                        </a:lnTo>
                        <a:lnTo>
                          <a:pt x="750494" y="162049"/>
                        </a:lnTo>
                        <a:lnTo>
                          <a:pt x="750494" y="13916"/>
                        </a:lnTo>
                        <a:lnTo>
                          <a:pt x="691286" y="13916"/>
                        </a:lnTo>
                        <a:close/>
                        <a:moveTo>
                          <a:pt x="581025" y="2057"/>
                        </a:moveTo>
                        <a:lnTo>
                          <a:pt x="669465" y="2057"/>
                        </a:lnTo>
                        <a:lnTo>
                          <a:pt x="669465" y="13916"/>
                        </a:lnTo>
                        <a:lnTo>
                          <a:pt x="593569" y="13916"/>
                        </a:lnTo>
                        <a:lnTo>
                          <a:pt x="593569" y="74981"/>
                        </a:lnTo>
                        <a:lnTo>
                          <a:pt x="662607" y="74981"/>
                        </a:lnTo>
                        <a:lnTo>
                          <a:pt x="662607" y="86839"/>
                        </a:lnTo>
                        <a:lnTo>
                          <a:pt x="593569" y="86839"/>
                        </a:lnTo>
                        <a:lnTo>
                          <a:pt x="593569" y="150190"/>
                        </a:lnTo>
                        <a:lnTo>
                          <a:pt x="671751" y="150190"/>
                        </a:lnTo>
                        <a:lnTo>
                          <a:pt x="671751" y="162049"/>
                        </a:lnTo>
                        <a:lnTo>
                          <a:pt x="581025" y="162049"/>
                        </a:lnTo>
                        <a:close/>
                        <a:moveTo>
                          <a:pt x="457200" y="2057"/>
                        </a:moveTo>
                        <a:lnTo>
                          <a:pt x="469745" y="2057"/>
                        </a:lnTo>
                        <a:lnTo>
                          <a:pt x="469745" y="150190"/>
                        </a:lnTo>
                        <a:lnTo>
                          <a:pt x="554098" y="150190"/>
                        </a:lnTo>
                        <a:lnTo>
                          <a:pt x="554098" y="162049"/>
                        </a:lnTo>
                        <a:lnTo>
                          <a:pt x="457200" y="162049"/>
                        </a:lnTo>
                        <a:close/>
                        <a:moveTo>
                          <a:pt x="1048037" y="1600"/>
                        </a:moveTo>
                        <a:cubicBezTo>
                          <a:pt x="1062479" y="1717"/>
                          <a:pt x="1073789" y="3897"/>
                          <a:pt x="1081967" y="8142"/>
                        </a:cubicBezTo>
                        <a:cubicBezTo>
                          <a:pt x="1090145" y="12386"/>
                          <a:pt x="1095897" y="17994"/>
                          <a:pt x="1099222" y="24967"/>
                        </a:cubicBezTo>
                        <a:cubicBezTo>
                          <a:pt x="1102547" y="31939"/>
                          <a:pt x="1104151" y="39575"/>
                          <a:pt x="1104033" y="47875"/>
                        </a:cubicBezTo>
                        <a:cubicBezTo>
                          <a:pt x="1103797" y="59491"/>
                          <a:pt x="1100162" y="69236"/>
                          <a:pt x="1093130" y="77112"/>
                        </a:cubicBezTo>
                        <a:cubicBezTo>
                          <a:pt x="1086098" y="84988"/>
                          <a:pt x="1077089" y="90137"/>
                          <a:pt x="1066104" y="92561"/>
                        </a:cubicBezTo>
                        <a:lnTo>
                          <a:pt x="1122093" y="162049"/>
                        </a:lnTo>
                        <a:lnTo>
                          <a:pt x="1106548" y="162049"/>
                        </a:lnTo>
                        <a:lnTo>
                          <a:pt x="1053297" y="95069"/>
                        </a:lnTo>
                        <a:lnTo>
                          <a:pt x="1022194" y="95069"/>
                        </a:lnTo>
                        <a:lnTo>
                          <a:pt x="1022194" y="162049"/>
                        </a:lnTo>
                        <a:lnTo>
                          <a:pt x="1009650" y="162049"/>
                        </a:lnTo>
                        <a:lnTo>
                          <a:pt x="1009650" y="2056"/>
                        </a:lnTo>
                        <a:cubicBezTo>
                          <a:pt x="1012840" y="2051"/>
                          <a:pt x="1017136" y="2011"/>
                          <a:pt x="1022539" y="1938"/>
                        </a:cubicBezTo>
                        <a:cubicBezTo>
                          <a:pt x="1027942" y="1865"/>
                          <a:pt x="1033106" y="1792"/>
                          <a:pt x="1038029" y="1718"/>
                        </a:cubicBezTo>
                        <a:cubicBezTo>
                          <a:pt x="1042952" y="1645"/>
                          <a:pt x="1046288" y="1606"/>
                          <a:pt x="1048037" y="1600"/>
                        </a:cubicBezTo>
                        <a:close/>
                        <a:moveTo>
                          <a:pt x="171737" y="1600"/>
                        </a:moveTo>
                        <a:cubicBezTo>
                          <a:pt x="186179" y="1717"/>
                          <a:pt x="197489" y="3897"/>
                          <a:pt x="205667" y="8142"/>
                        </a:cubicBezTo>
                        <a:cubicBezTo>
                          <a:pt x="213845" y="12386"/>
                          <a:pt x="219597" y="17994"/>
                          <a:pt x="222922" y="24967"/>
                        </a:cubicBezTo>
                        <a:cubicBezTo>
                          <a:pt x="226247" y="31939"/>
                          <a:pt x="227851" y="39575"/>
                          <a:pt x="227733" y="47875"/>
                        </a:cubicBezTo>
                        <a:cubicBezTo>
                          <a:pt x="227497" y="59491"/>
                          <a:pt x="223862" y="69236"/>
                          <a:pt x="216830" y="77112"/>
                        </a:cubicBezTo>
                        <a:cubicBezTo>
                          <a:pt x="209798" y="84988"/>
                          <a:pt x="200789" y="90137"/>
                          <a:pt x="189804" y="92561"/>
                        </a:cubicBezTo>
                        <a:lnTo>
                          <a:pt x="245793" y="162049"/>
                        </a:lnTo>
                        <a:lnTo>
                          <a:pt x="230248" y="162049"/>
                        </a:lnTo>
                        <a:lnTo>
                          <a:pt x="176997" y="95069"/>
                        </a:lnTo>
                        <a:lnTo>
                          <a:pt x="145895" y="95069"/>
                        </a:lnTo>
                        <a:lnTo>
                          <a:pt x="145895" y="162049"/>
                        </a:lnTo>
                        <a:lnTo>
                          <a:pt x="133350" y="162049"/>
                        </a:lnTo>
                        <a:lnTo>
                          <a:pt x="133350" y="2056"/>
                        </a:lnTo>
                        <a:cubicBezTo>
                          <a:pt x="136540" y="2051"/>
                          <a:pt x="140836" y="2011"/>
                          <a:pt x="146239" y="1938"/>
                        </a:cubicBezTo>
                        <a:cubicBezTo>
                          <a:pt x="151642" y="1865"/>
                          <a:pt x="156806" y="1792"/>
                          <a:pt x="161729" y="1718"/>
                        </a:cubicBezTo>
                        <a:cubicBezTo>
                          <a:pt x="166652" y="1645"/>
                          <a:pt x="169988" y="1606"/>
                          <a:pt x="171737" y="1600"/>
                        </a:cubicBezTo>
                        <a:close/>
                        <a:moveTo>
                          <a:pt x="39073" y="1600"/>
                        </a:moveTo>
                        <a:cubicBezTo>
                          <a:pt x="53742" y="1755"/>
                          <a:pt x="65233" y="4160"/>
                          <a:pt x="73545" y="8816"/>
                        </a:cubicBezTo>
                        <a:cubicBezTo>
                          <a:pt x="81857" y="13472"/>
                          <a:pt x="87705" y="19450"/>
                          <a:pt x="91088" y="26748"/>
                        </a:cubicBezTo>
                        <a:cubicBezTo>
                          <a:pt x="94471" y="34047"/>
                          <a:pt x="96103" y="41737"/>
                          <a:pt x="95984" y="49820"/>
                        </a:cubicBezTo>
                        <a:cubicBezTo>
                          <a:pt x="96018" y="58271"/>
                          <a:pt x="94047" y="66191"/>
                          <a:pt x="90072" y="73578"/>
                        </a:cubicBezTo>
                        <a:cubicBezTo>
                          <a:pt x="86096" y="80966"/>
                          <a:pt x="79910" y="86969"/>
                          <a:pt x="71513" y="91587"/>
                        </a:cubicBezTo>
                        <a:cubicBezTo>
                          <a:pt x="63116" y="96204"/>
                          <a:pt x="52303" y="98584"/>
                          <a:pt x="39073" y="98727"/>
                        </a:cubicBezTo>
                        <a:cubicBezTo>
                          <a:pt x="35238" y="98731"/>
                          <a:pt x="31016" y="98665"/>
                          <a:pt x="26409" y="98527"/>
                        </a:cubicBezTo>
                        <a:cubicBezTo>
                          <a:pt x="21802" y="98389"/>
                          <a:pt x="17180" y="98152"/>
                          <a:pt x="12545" y="97814"/>
                        </a:cubicBezTo>
                        <a:lnTo>
                          <a:pt x="12545" y="162049"/>
                        </a:lnTo>
                        <a:lnTo>
                          <a:pt x="0" y="162049"/>
                        </a:lnTo>
                        <a:lnTo>
                          <a:pt x="0" y="2056"/>
                        </a:lnTo>
                        <a:cubicBezTo>
                          <a:pt x="3113" y="2051"/>
                          <a:pt x="7130" y="2011"/>
                          <a:pt x="12051" y="1938"/>
                        </a:cubicBezTo>
                        <a:cubicBezTo>
                          <a:pt x="16971" y="1865"/>
                          <a:pt x="21906" y="1792"/>
                          <a:pt x="26854" y="1718"/>
                        </a:cubicBezTo>
                        <a:cubicBezTo>
                          <a:pt x="31803" y="1645"/>
                          <a:pt x="35876" y="1606"/>
                          <a:pt x="39073" y="1600"/>
                        </a:cubicBezTo>
                        <a:close/>
                        <a:moveTo>
                          <a:pt x="896860" y="686"/>
                        </a:moveTo>
                        <a:lnTo>
                          <a:pt x="907147" y="686"/>
                        </a:lnTo>
                        <a:lnTo>
                          <a:pt x="976870" y="162049"/>
                        </a:lnTo>
                        <a:lnTo>
                          <a:pt x="963382" y="162049"/>
                        </a:lnTo>
                        <a:lnTo>
                          <a:pt x="940065" y="107642"/>
                        </a:lnTo>
                        <a:lnTo>
                          <a:pt x="863256" y="107642"/>
                        </a:lnTo>
                        <a:lnTo>
                          <a:pt x="839938" y="162049"/>
                        </a:lnTo>
                        <a:lnTo>
                          <a:pt x="827137" y="162049"/>
                        </a:lnTo>
                        <a:close/>
                        <a:moveTo>
                          <a:pt x="1190458" y="0"/>
                        </a:moveTo>
                        <a:cubicBezTo>
                          <a:pt x="1199497" y="62"/>
                          <a:pt x="1207776" y="1535"/>
                          <a:pt x="1215298" y="4420"/>
                        </a:cubicBezTo>
                        <a:cubicBezTo>
                          <a:pt x="1222819" y="7305"/>
                          <a:pt x="1228864" y="11233"/>
                          <a:pt x="1233434" y="16204"/>
                        </a:cubicBezTo>
                        <a:lnTo>
                          <a:pt x="1226591" y="25578"/>
                        </a:lnTo>
                        <a:cubicBezTo>
                          <a:pt x="1217444" y="16432"/>
                          <a:pt x="1205552" y="11859"/>
                          <a:pt x="1190915" y="11859"/>
                        </a:cubicBezTo>
                        <a:cubicBezTo>
                          <a:pt x="1180291" y="11973"/>
                          <a:pt x="1171981" y="14545"/>
                          <a:pt x="1165988" y="19576"/>
                        </a:cubicBezTo>
                        <a:cubicBezTo>
                          <a:pt x="1159994" y="24606"/>
                          <a:pt x="1156945" y="31409"/>
                          <a:pt x="1156840" y="39983"/>
                        </a:cubicBezTo>
                        <a:cubicBezTo>
                          <a:pt x="1157061" y="48763"/>
                          <a:pt x="1159929" y="55567"/>
                          <a:pt x="1165446" y="60394"/>
                        </a:cubicBezTo>
                        <a:cubicBezTo>
                          <a:pt x="1170963" y="65222"/>
                          <a:pt x="1177804" y="69169"/>
                          <a:pt x="1185969" y="72235"/>
                        </a:cubicBezTo>
                        <a:cubicBezTo>
                          <a:pt x="1194134" y="75301"/>
                          <a:pt x="1202299" y="78581"/>
                          <a:pt x="1210464" y="82077"/>
                        </a:cubicBezTo>
                        <a:cubicBezTo>
                          <a:pt x="1218629" y="85573"/>
                          <a:pt x="1225470" y="90380"/>
                          <a:pt x="1230987" y="96497"/>
                        </a:cubicBezTo>
                        <a:cubicBezTo>
                          <a:pt x="1236504" y="102614"/>
                          <a:pt x="1239372" y="111137"/>
                          <a:pt x="1239593" y="122066"/>
                        </a:cubicBezTo>
                        <a:cubicBezTo>
                          <a:pt x="1239242" y="135022"/>
                          <a:pt x="1234293" y="145229"/>
                          <a:pt x="1224745" y="152689"/>
                        </a:cubicBezTo>
                        <a:cubicBezTo>
                          <a:pt x="1215198" y="160150"/>
                          <a:pt x="1203159" y="163955"/>
                          <a:pt x="1188628" y="164106"/>
                        </a:cubicBezTo>
                        <a:cubicBezTo>
                          <a:pt x="1178776" y="164045"/>
                          <a:pt x="1169214" y="162001"/>
                          <a:pt x="1159941" y="157974"/>
                        </a:cubicBezTo>
                        <a:cubicBezTo>
                          <a:pt x="1150668" y="153947"/>
                          <a:pt x="1143853" y="148303"/>
                          <a:pt x="1139495" y="141044"/>
                        </a:cubicBezTo>
                        <a:lnTo>
                          <a:pt x="1147031" y="132355"/>
                        </a:lnTo>
                        <a:cubicBezTo>
                          <a:pt x="1151946" y="138786"/>
                          <a:pt x="1158209" y="143702"/>
                          <a:pt x="1165820" y="147103"/>
                        </a:cubicBezTo>
                        <a:cubicBezTo>
                          <a:pt x="1173431" y="150504"/>
                          <a:pt x="1180957" y="152219"/>
                          <a:pt x="1188400" y="152248"/>
                        </a:cubicBezTo>
                        <a:cubicBezTo>
                          <a:pt x="1198586" y="152229"/>
                          <a:pt x="1207372" y="149694"/>
                          <a:pt x="1214757" y="144645"/>
                        </a:cubicBezTo>
                        <a:cubicBezTo>
                          <a:pt x="1222142" y="139596"/>
                          <a:pt x="1226010" y="132146"/>
                          <a:pt x="1226363" y="122295"/>
                        </a:cubicBezTo>
                        <a:cubicBezTo>
                          <a:pt x="1226142" y="113416"/>
                          <a:pt x="1223273" y="106480"/>
                          <a:pt x="1217757" y="101487"/>
                        </a:cubicBezTo>
                        <a:cubicBezTo>
                          <a:pt x="1212240" y="96493"/>
                          <a:pt x="1205399" y="92388"/>
                          <a:pt x="1197234" y="89173"/>
                        </a:cubicBezTo>
                        <a:cubicBezTo>
                          <a:pt x="1189069" y="85957"/>
                          <a:pt x="1180904" y="82577"/>
                          <a:pt x="1172739" y="79032"/>
                        </a:cubicBezTo>
                        <a:cubicBezTo>
                          <a:pt x="1164574" y="75487"/>
                          <a:pt x="1157733" y="70724"/>
                          <a:pt x="1152216" y="64742"/>
                        </a:cubicBezTo>
                        <a:cubicBezTo>
                          <a:pt x="1146699" y="58761"/>
                          <a:pt x="1143830" y="50508"/>
                          <a:pt x="1143610" y="39983"/>
                        </a:cubicBezTo>
                        <a:cubicBezTo>
                          <a:pt x="1143704" y="28514"/>
                          <a:pt x="1147795" y="19049"/>
                          <a:pt x="1155885" y="11589"/>
                        </a:cubicBezTo>
                        <a:cubicBezTo>
                          <a:pt x="1163975" y="4128"/>
                          <a:pt x="1175499" y="266"/>
                          <a:pt x="1190458" y="0"/>
                        </a:cubicBezTo>
                        <a:close/>
                        <a:moveTo>
                          <a:pt x="343419" y="0"/>
                        </a:moveTo>
                        <a:cubicBezTo>
                          <a:pt x="358734" y="128"/>
                          <a:pt x="372408" y="3679"/>
                          <a:pt x="384441" y="10654"/>
                        </a:cubicBezTo>
                        <a:cubicBezTo>
                          <a:pt x="396474" y="17628"/>
                          <a:pt x="405979" y="27258"/>
                          <a:pt x="412956" y="39542"/>
                        </a:cubicBezTo>
                        <a:cubicBezTo>
                          <a:pt x="419933" y="51826"/>
                          <a:pt x="423496" y="65996"/>
                          <a:pt x="423644" y="82053"/>
                        </a:cubicBezTo>
                        <a:cubicBezTo>
                          <a:pt x="423496" y="97895"/>
                          <a:pt x="419933" y="111963"/>
                          <a:pt x="412956" y="124260"/>
                        </a:cubicBezTo>
                        <a:cubicBezTo>
                          <a:pt x="405979" y="136557"/>
                          <a:pt x="396474" y="146237"/>
                          <a:pt x="384441" y="153300"/>
                        </a:cubicBezTo>
                        <a:cubicBezTo>
                          <a:pt x="372408" y="160363"/>
                          <a:pt x="358734" y="163965"/>
                          <a:pt x="343419" y="164106"/>
                        </a:cubicBezTo>
                        <a:cubicBezTo>
                          <a:pt x="328104" y="163978"/>
                          <a:pt x="314431" y="160427"/>
                          <a:pt x="302398" y="153453"/>
                        </a:cubicBezTo>
                        <a:cubicBezTo>
                          <a:pt x="290365" y="146478"/>
                          <a:pt x="280860" y="136849"/>
                          <a:pt x="273882" y="124565"/>
                        </a:cubicBezTo>
                        <a:cubicBezTo>
                          <a:pt x="266905" y="112281"/>
                          <a:pt x="263343" y="98111"/>
                          <a:pt x="263195" y="82053"/>
                        </a:cubicBezTo>
                        <a:cubicBezTo>
                          <a:pt x="263330" y="66428"/>
                          <a:pt x="266842" y="52461"/>
                          <a:pt x="273730" y="40151"/>
                        </a:cubicBezTo>
                        <a:cubicBezTo>
                          <a:pt x="280618" y="27842"/>
                          <a:pt x="290073" y="18111"/>
                          <a:pt x="302093" y="10959"/>
                        </a:cubicBezTo>
                        <a:cubicBezTo>
                          <a:pt x="314113" y="3806"/>
                          <a:pt x="327888" y="153"/>
                          <a:pt x="343419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72" name="TextBox 471">
                    <a:extLst>
                      <a:ext uri="{FF2B5EF4-FFF2-40B4-BE49-F238E27FC236}">
                        <a16:creationId xmlns:a16="http://schemas.microsoft.com/office/drawing/2014/main" id="{9CAA83EF-2447-94E0-D8A6-E029475FB019}"/>
                      </a:ext>
                    </a:extLst>
                  </p:cNvPr>
                  <p:cNvSpPr txBox="1"/>
                  <p:nvPr/>
                </p:nvSpPr>
                <p:spPr>
                  <a:xfrm>
                    <a:off x="16906819" y="6295259"/>
                    <a:ext cx="1967151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67151" h="164106">
                        <a:moveTo>
                          <a:pt x="339685" y="18059"/>
                        </a:moveTo>
                        <a:lnTo>
                          <a:pt x="306310" y="95783"/>
                        </a:lnTo>
                        <a:lnTo>
                          <a:pt x="372832" y="95783"/>
                        </a:lnTo>
                        <a:close/>
                        <a:moveTo>
                          <a:pt x="1287992" y="13459"/>
                        </a:moveTo>
                        <a:cubicBezTo>
                          <a:pt x="1284208" y="13464"/>
                          <a:pt x="1279654" y="13511"/>
                          <a:pt x="1274327" y="13602"/>
                        </a:cubicBezTo>
                        <a:cubicBezTo>
                          <a:pt x="1269000" y="13692"/>
                          <a:pt x="1264331" y="13797"/>
                          <a:pt x="1260320" y="13916"/>
                        </a:cubicBezTo>
                        <a:lnTo>
                          <a:pt x="1260320" y="85725"/>
                        </a:lnTo>
                        <a:cubicBezTo>
                          <a:pt x="1264736" y="86072"/>
                          <a:pt x="1269053" y="86349"/>
                          <a:pt x="1273269" y="86554"/>
                        </a:cubicBezTo>
                        <a:cubicBezTo>
                          <a:pt x="1277486" y="86758"/>
                          <a:pt x="1281860" y="86863"/>
                          <a:pt x="1286391" y="86868"/>
                        </a:cubicBezTo>
                        <a:cubicBezTo>
                          <a:pt x="1300937" y="86687"/>
                          <a:pt x="1311923" y="83218"/>
                          <a:pt x="1319351" y="76463"/>
                        </a:cubicBezTo>
                        <a:cubicBezTo>
                          <a:pt x="1326779" y="69707"/>
                          <a:pt x="1330505" y="60750"/>
                          <a:pt x="1330528" y="49591"/>
                        </a:cubicBezTo>
                        <a:cubicBezTo>
                          <a:pt x="1330643" y="38981"/>
                          <a:pt x="1327327" y="30358"/>
                          <a:pt x="1320580" y="23721"/>
                        </a:cubicBezTo>
                        <a:cubicBezTo>
                          <a:pt x="1313834" y="17084"/>
                          <a:pt x="1302971" y="13664"/>
                          <a:pt x="1287992" y="13459"/>
                        </a:cubicBezTo>
                        <a:close/>
                        <a:moveTo>
                          <a:pt x="973667" y="13459"/>
                        </a:moveTo>
                        <a:cubicBezTo>
                          <a:pt x="969883" y="13464"/>
                          <a:pt x="965329" y="13511"/>
                          <a:pt x="960002" y="13602"/>
                        </a:cubicBezTo>
                        <a:cubicBezTo>
                          <a:pt x="954675" y="13692"/>
                          <a:pt x="950006" y="13797"/>
                          <a:pt x="945995" y="13916"/>
                        </a:cubicBezTo>
                        <a:lnTo>
                          <a:pt x="945995" y="85725"/>
                        </a:lnTo>
                        <a:cubicBezTo>
                          <a:pt x="950411" y="86072"/>
                          <a:pt x="954728" y="86349"/>
                          <a:pt x="958944" y="86554"/>
                        </a:cubicBezTo>
                        <a:cubicBezTo>
                          <a:pt x="963161" y="86758"/>
                          <a:pt x="967535" y="86863"/>
                          <a:pt x="972066" y="86868"/>
                        </a:cubicBezTo>
                        <a:cubicBezTo>
                          <a:pt x="986612" y="86687"/>
                          <a:pt x="997598" y="83218"/>
                          <a:pt x="1005026" y="76463"/>
                        </a:cubicBezTo>
                        <a:cubicBezTo>
                          <a:pt x="1012454" y="69707"/>
                          <a:pt x="1016179" y="60750"/>
                          <a:pt x="1016203" y="49591"/>
                        </a:cubicBezTo>
                        <a:cubicBezTo>
                          <a:pt x="1016318" y="38981"/>
                          <a:pt x="1013002" y="30358"/>
                          <a:pt x="1006255" y="23721"/>
                        </a:cubicBezTo>
                        <a:cubicBezTo>
                          <a:pt x="999509" y="17084"/>
                          <a:pt x="988646" y="13664"/>
                          <a:pt x="973667" y="13459"/>
                        </a:cubicBezTo>
                        <a:close/>
                        <a:moveTo>
                          <a:pt x="180576" y="13459"/>
                        </a:moveTo>
                        <a:cubicBezTo>
                          <a:pt x="177898" y="13464"/>
                          <a:pt x="174049" y="13511"/>
                          <a:pt x="169027" y="13602"/>
                        </a:cubicBezTo>
                        <a:cubicBezTo>
                          <a:pt x="164005" y="13693"/>
                          <a:pt x="159469" y="13798"/>
                          <a:pt x="155420" y="13917"/>
                        </a:cubicBezTo>
                        <a:lnTo>
                          <a:pt x="155420" y="83210"/>
                        </a:lnTo>
                        <a:lnTo>
                          <a:pt x="183092" y="83210"/>
                        </a:lnTo>
                        <a:cubicBezTo>
                          <a:pt x="190005" y="83169"/>
                          <a:pt x="196558" y="81696"/>
                          <a:pt x="202751" y="78791"/>
                        </a:cubicBezTo>
                        <a:cubicBezTo>
                          <a:pt x="208944" y="75887"/>
                          <a:pt x="214006" y="71796"/>
                          <a:pt x="217938" y="66520"/>
                        </a:cubicBezTo>
                        <a:cubicBezTo>
                          <a:pt x="221870" y="61244"/>
                          <a:pt x="223900" y="55029"/>
                          <a:pt x="224028" y="47875"/>
                        </a:cubicBezTo>
                        <a:cubicBezTo>
                          <a:pt x="224247" y="37909"/>
                          <a:pt x="221065" y="29735"/>
                          <a:pt x="214480" y="23354"/>
                        </a:cubicBezTo>
                        <a:cubicBezTo>
                          <a:pt x="207895" y="16972"/>
                          <a:pt x="196594" y="13674"/>
                          <a:pt x="180576" y="13459"/>
                        </a:cubicBezTo>
                        <a:close/>
                        <a:moveTo>
                          <a:pt x="1133994" y="11859"/>
                        </a:moveTo>
                        <a:cubicBezTo>
                          <a:pt x="1121218" y="11976"/>
                          <a:pt x="1109805" y="15044"/>
                          <a:pt x="1099756" y="21064"/>
                        </a:cubicBezTo>
                        <a:cubicBezTo>
                          <a:pt x="1089707" y="27084"/>
                          <a:pt x="1081766" y="35352"/>
                          <a:pt x="1075934" y="45868"/>
                        </a:cubicBezTo>
                        <a:cubicBezTo>
                          <a:pt x="1070102" y="56384"/>
                          <a:pt x="1067124" y="68446"/>
                          <a:pt x="1067000" y="82053"/>
                        </a:cubicBezTo>
                        <a:cubicBezTo>
                          <a:pt x="1067128" y="95517"/>
                          <a:pt x="1070124" y="107511"/>
                          <a:pt x="1075985" y="118035"/>
                        </a:cubicBezTo>
                        <a:cubicBezTo>
                          <a:pt x="1081847" y="128560"/>
                          <a:pt x="1089804" y="136862"/>
                          <a:pt x="1099858" y="142941"/>
                        </a:cubicBezTo>
                        <a:cubicBezTo>
                          <a:pt x="1109911" y="149020"/>
                          <a:pt x="1121290" y="152122"/>
                          <a:pt x="1133994" y="152248"/>
                        </a:cubicBezTo>
                        <a:cubicBezTo>
                          <a:pt x="1147130" y="152118"/>
                          <a:pt x="1158712" y="148999"/>
                          <a:pt x="1168740" y="142890"/>
                        </a:cubicBezTo>
                        <a:cubicBezTo>
                          <a:pt x="1178768" y="136782"/>
                          <a:pt x="1186624" y="128463"/>
                          <a:pt x="1192308" y="117934"/>
                        </a:cubicBezTo>
                        <a:cubicBezTo>
                          <a:pt x="1197992" y="107405"/>
                          <a:pt x="1200885" y="95445"/>
                          <a:pt x="1200988" y="82053"/>
                        </a:cubicBezTo>
                        <a:cubicBezTo>
                          <a:pt x="1200860" y="68446"/>
                          <a:pt x="1197865" y="56384"/>
                          <a:pt x="1192003" y="45868"/>
                        </a:cubicBezTo>
                        <a:cubicBezTo>
                          <a:pt x="1186142" y="35352"/>
                          <a:pt x="1178184" y="27084"/>
                          <a:pt x="1168131" y="21064"/>
                        </a:cubicBezTo>
                        <a:cubicBezTo>
                          <a:pt x="1158077" y="15044"/>
                          <a:pt x="1146698" y="11976"/>
                          <a:pt x="1133994" y="11859"/>
                        </a:cubicBezTo>
                        <a:close/>
                        <a:moveTo>
                          <a:pt x="819669" y="11859"/>
                        </a:moveTo>
                        <a:cubicBezTo>
                          <a:pt x="806893" y="11976"/>
                          <a:pt x="795480" y="15044"/>
                          <a:pt x="785431" y="21064"/>
                        </a:cubicBezTo>
                        <a:cubicBezTo>
                          <a:pt x="775382" y="27084"/>
                          <a:pt x="767441" y="35352"/>
                          <a:pt x="761609" y="45868"/>
                        </a:cubicBezTo>
                        <a:cubicBezTo>
                          <a:pt x="755777" y="56384"/>
                          <a:pt x="752799" y="68446"/>
                          <a:pt x="752675" y="82053"/>
                        </a:cubicBezTo>
                        <a:cubicBezTo>
                          <a:pt x="752804" y="95517"/>
                          <a:pt x="755799" y="107511"/>
                          <a:pt x="761660" y="118035"/>
                        </a:cubicBezTo>
                        <a:cubicBezTo>
                          <a:pt x="767522" y="128560"/>
                          <a:pt x="775479" y="136862"/>
                          <a:pt x="785533" y="142941"/>
                        </a:cubicBezTo>
                        <a:cubicBezTo>
                          <a:pt x="795586" y="149020"/>
                          <a:pt x="806965" y="152122"/>
                          <a:pt x="819669" y="152248"/>
                        </a:cubicBezTo>
                        <a:cubicBezTo>
                          <a:pt x="832805" y="152118"/>
                          <a:pt x="844387" y="148999"/>
                          <a:pt x="854415" y="142890"/>
                        </a:cubicBezTo>
                        <a:cubicBezTo>
                          <a:pt x="864443" y="136782"/>
                          <a:pt x="872299" y="128463"/>
                          <a:pt x="877983" y="117934"/>
                        </a:cubicBezTo>
                        <a:cubicBezTo>
                          <a:pt x="883667" y="107405"/>
                          <a:pt x="886560" y="95445"/>
                          <a:pt x="886663" y="82053"/>
                        </a:cubicBezTo>
                        <a:cubicBezTo>
                          <a:pt x="886535" y="68446"/>
                          <a:pt x="883540" y="56384"/>
                          <a:pt x="877678" y="45868"/>
                        </a:cubicBezTo>
                        <a:cubicBezTo>
                          <a:pt x="871817" y="35352"/>
                          <a:pt x="863859" y="27084"/>
                          <a:pt x="853806" y="21064"/>
                        </a:cubicBezTo>
                        <a:cubicBezTo>
                          <a:pt x="843752" y="15044"/>
                          <a:pt x="832373" y="11976"/>
                          <a:pt x="819669" y="11859"/>
                        </a:cubicBezTo>
                        <a:close/>
                        <a:moveTo>
                          <a:pt x="1876425" y="2057"/>
                        </a:moveTo>
                        <a:lnTo>
                          <a:pt x="1964865" y="2057"/>
                        </a:lnTo>
                        <a:lnTo>
                          <a:pt x="1964865" y="13916"/>
                        </a:lnTo>
                        <a:lnTo>
                          <a:pt x="1888970" y="13916"/>
                        </a:lnTo>
                        <a:lnTo>
                          <a:pt x="1888970" y="74981"/>
                        </a:lnTo>
                        <a:lnTo>
                          <a:pt x="1958007" y="74981"/>
                        </a:lnTo>
                        <a:lnTo>
                          <a:pt x="1958007" y="86839"/>
                        </a:lnTo>
                        <a:lnTo>
                          <a:pt x="1888970" y="86839"/>
                        </a:lnTo>
                        <a:lnTo>
                          <a:pt x="1888970" y="150190"/>
                        </a:lnTo>
                        <a:lnTo>
                          <a:pt x="1967151" y="150190"/>
                        </a:lnTo>
                        <a:lnTo>
                          <a:pt x="1967151" y="162049"/>
                        </a:lnTo>
                        <a:lnTo>
                          <a:pt x="1876425" y="162049"/>
                        </a:lnTo>
                        <a:close/>
                        <a:moveTo>
                          <a:pt x="1828848" y="2057"/>
                        </a:moveTo>
                        <a:lnTo>
                          <a:pt x="1844164" y="2057"/>
                        </a:lnTo>
                        <a:lnTo>
                          <a:pt x="1768497" y="77711"/>
                        </a:lnTo>
                        <a:lnTo>
                          <a:pt x="1847364" y="162049"/>
                        </a:lnTo>
                        <a:lnTo>
                          <a:pt x="1831134" y="162049"/>
                        </a:lnTo>
                        <a:lnTo>
                          <a:pt x="1753638" y="78625"/>
                        </a:lnTo>
                        <a:close/>
                        <a:moveTo>
                          <a:pt x="1733550" y="2057"/>
                        </a:moveTo>
                        <a:lnTo>
                          <a:pt x="1746095" y="2057"/>
                        </a:lnTo>
                        <a:lnTo>
                          <a:pt x="1746095" y="162049"/>
                        </a:lnTo>
                        <a:lnTo>
                          <a:pt x="1733550" y="162049"/>
                        </a:lnTo>
                        <a:close/>
                        <a:moveTo>
                          <a:pt x="1434451" y="2057"/>
                        </a:moveTo>
                        <a:lnTo>
                          <a:pt x="1447938" y="2057"/>
                        </a:lnTo>
                        <a:lnTo>
                          <a:pt x="1508060" y="144222"/>
                        </a:lnTo>
                        <a:lnTo>
                          <a:pt x="1566582" y="2057"/>
                        </a:lnTo>
                        <a:lnTo>
                          <a:pt x="1579383" y="2057"/>
                        </a:lnTo>
                        <a:lnTo>
                          <a:pt x="1512175" y="163420"/>
                        </a:lnTo>
                        <a:lnTo>
                          <a:pt x="1503260" y="163420"/>
                        </a:lnTo>
                        <a:close/>
                        <a:moveTo>
                          <a:pt x="1386612" y="2057"/>
                        </a:moveTo>
                        <a:lnTo>
                          <a:pt x="1399156" y="2057"/>
                        </a:lnTo>
                        <a:lnTo>
                          <a:pt x="1399156" y="162049"/>
                        </a:lnTo>
                        <a:lnTo>
                          <a:pt x="1386612" y="162049"/>
                        </a:lnTo>
                        <a:close/>
                        <a:moveTo>
                          <a:pt x="571500" y="2057"/>
                        </a:moveTo>
                        <a:lnTo>
                          <a:pt x="581534" y="2057"/>
                        </a:lnTo>
                        <a:lnTo>
                          <a:pt x="691058" y="140107"/>
                        </a:lnTo>
                        <a:lnTo>
                          <a:pt x="691058" y="2057"/>
                        </a:lnTo>
                        <a:lnTo>
                          <a:pt x="702917" y="2057"/>
                        </a:lnTo>
                        <a:lnTo>
                          <a:pt x="702917" y="162049"/>
                        </a:lnTo>
                        <a:lnTo>
                          <a:pt x="692882" y="162049"/>
                        </a:lnTo>
                        <a:lnTo>
                          <a:pt x="583359" y="24457"/>
                        </a:lnTo>
                        <a:lnTo>
                          <a:pt x="583359" y="162049"/>
                        </a:lnTo>
                        <a:lnTo>
                          <a:pt x="571500" y="162049"/>
                        </a:lnTo>
                        <a:close/>
                        <a:moveTo>
                          <a:pt x="95298" y="2057"/>
                        </a:moveTo>
                        <a:lnTo>
                          <a:pt x="110614" y="2057"/>
                        </a:lnTo>
                        <a:lnTo>
                          <a:pt x="34947" y="77711"/>
                        </a:lnTo>
                        <a:lnTo>
                          <a:pt x="113814" y="162049"/>
                        </a:lnTo>
                        <a:lnTo>
                          <a:pt x="97584" y="162049"/>
                        </a:lnTo>
                        <a:lnTo>
                          <a:pt x="20088" y="78625"/>
                        </a:lnTo>
                        <a:close/>
                        <a:moveTo>
                          <a:pt x="0" y="2057"/>
                        </a:moveTo>
                        <a:lnTo>
                          <a:pt x="12545" y="2057"/>
                        </a:lnTo>
                        <a:lnTo>
                          <a:pt x="12545" y="162049"/>
                        </a:lnTo>
                        <a:lnTo>
                          <a:pt x="0" y="162049"/>
                        </a:lnTo>
                        <a:close/>
                        <a:moveTo>
                          <a:pt x="1286848" y="1600"/>
                        </a:moveTo>
                        <a:cubicBezTo>
                          <a:pt x="1301517" y="1755"/>
                          <a:pt x="1313008" y="4160"/>
                          <a:pt x="1321320" y="8816"/>
                        </a:cubicBezTo>
                        <a:cubicBezTo>
                          <a:pt x="1329632" y="13472"/>
                          <a:pt x="1335480" y="19450"/>
                          <a:pt x="1338863" y="26748"/>
                        </a:cubicBezTo>
                        <a:cubicBezTo>
                          <a:pt x="1342245" y="34047"/>
                          <a:pt x="1343878" y="41737"/>
                          <a:pt x="1343759" y="49820"/>
                        </a:cubicBezTo>
                        <a:cubicBezTo>
                          <a:pt x="1343793" y="58271"/>
                          <a:pt x="1341822" y="66191"/>
                          <a:pt x="1337847" y="73578"/>
                        </a:cubicBezTo>
                        <a:cubicBezTo>
                          <a:pt x="1333871" y="80966"/>
                          <a:pt x="1327685" y="86969"/>
                          <a:pt x="1319288" y="91587"/>
                        </a:cubicBezTo>
                        <a:cubicBezTo>
                          <a:pt x="1310891" y="96204"/>
                          <a:pt x="1300078" y="98584"/>
                          <a:pt x="1286848" y="98727"/>
                        </a:cubicBezTo>
                        <a:cubicBezTo>
                          <a:pt x="1283013" y="98731"/>
                          <a:pt x="1278791" y="98665"/>
                          <a:pt x="1274184" y="98527"/>
                        </a:cubicBezTo>
                        <a:cubicBezTo>
                          <a:pt x="1269577" y="98389"/>
                          <a:pt x="1264955" y="98152"/>
                          <a:pt x="1260320" y="97814"/>
                        </a:cubicBezTo>
                        <a:lnTo>
                          <a:pt x="1260320" y="162049"/>
                        </a:lnTo>
                        <a:lnTo>
                          <a:pt x="1247775" y="162049"/>
                        </a:lnTo>
                        <a:lnTo>
                          <a:pt x="1247775" y="2056"/>
                        </a:lnTo>
                        <a:cubicBezTo>
                          <a:pt x="1250888" y="2051"/>
                          <a:pt x="1254905" y="2011"/>
                          <a:pt x="1259826" y="1938"/>
                        </a:cubicBezTo>
                        <a:cubicBezTo>
                          <a:pt x="1264746" y="1865"/>
                          <a:pt x="1269681" y="1792"/>
                          <a:pt x="1274629" y="1718"/>
                        </a:cubicBezTo>
                        <a:cubicBezTo>
                          <a:pt x="1279578" y="1645"/>
                          <a:pt x="1283651" y="1606"/>
                          <a:pt x="1286848" y="1600"/>
                        </a:cubicBezTo>
                        <a:close/>
                        <a:moveTo>
                          <a:pt x="972523" y="1600"/>
                        </a:moveTo>
                        <a:cubicBezTo>
                          <a:pt x="987192" y="1755"/>
                          <a:pt x="998683" y="4160"/>
                          <a:pt x="1006995" y="8816"/>
                        </a:cubicBezTo>
                        <a:cubicBezTo>
                          <a:pt x="1015307" y="13472"/>
                          <a:pt x="1021155" y="19450"/>
                          <a:pt x="1024538" y="26748"/>
                        </a:cubicBezTo>
                        <a:cubicBezTo>
                          <a:pt x="1027920" y="34047"/>
                          <a:pt x="1029553" y="41737"/>
                          <a:pt x="1029433" y="49820"/>
                        </a:cubicBezTo>
                        <a:cubicBezTo>
                          <a:pt x="1029468" y="58271"/>
                          <a:pt x="1027497" y="66191"/>
                          <a:pt x="1023522" y="73578"/>
                        </a:cubicBezTo>
                        <a:cubicBezTo>
                          <a:pt x="1019546" y="80966"/>
                          <a:pt x="1013360" y="86969"/>
                          <a:pt x="1004963" y="91587"/>
                        </a:cubicBezTo>
                        <a:cubicBezTo>
                          <a:pt x="996566" y="96204"/>
                          <a:pt x="985753" y="98584"/>
                          <a:pt x="972523" y="98727"/>
                        </a:cubicBezTo>
                        <a:cubicBezTo>
                          <a:pt x="968688" y="98731"/>
                          <a:pt x="964466" y="98665"/>
                          <a:pt x="959859" y="98527"/>
                        </a:cubicBezTo>
                        <a:cubicBezTo>
                          <a:pt x="955252" y="98389"/>
                          <a:pt x="950630" y="98152"/>
                          <a:pt x="945995" y="97814"/>
                        </a:cubicBezTo>
                        <a:lnTo>
                          <a:pt x="945995" y="162049"/>
                        </a:lnTo>
                        <a:lnTo>
                          <a:pt x="933450" y="162049"/>
                        </a:lnTo>
                        <a:lnTo>
                          <a:pt x="933450" y="2056"/>
                        </a:lnTo>
                        <a:cubicBezTo>
                          <a:pt x="936563" y="2051"/>
                          <a:pt x="940580" y="2011"/>
                          <a:pt x="945501" y="1938"/>
                        </a:cubicBezTo>
                        <a:cubicBezTo>
                          <a:pt x="950421" y="1865"/>
                          <a:pt x="955356" y="1792"/>
                          <a:pt x="960304" y="1718"/>
                        </a:cubicBezTo>
                        <a:cubicBezTo>
                          <a:pt x="965253" y="1645"/>
                          <a:pt x="969326" y="1606"/>
                          <a:pt x="972523" y="1600"/>
                        </a:cubicBezTo>
                        <a:close/>
                        <a:moveTo>
                          <a:pt x="181262" y="1600"/>
                        </a:moveTo>
                        <a:cubicBezTo>
                          <a:pt x="195704" y="1717"/>
                          <a:pt x="207014" y="3897"/>
                          <a:pt x="215192" y="8142"/>
                        </a:cubicBezTo>
                        <a:cubicBezTo>
                          <a:pt x="223371" y="12386"/>
                          <a:pt x="229122" y="17994"/>
                          <a:pt x="232447" y="24967"/>
                        </a:cubicBezTo>
                        <a:cubicBezTo>
                          <a:pt x="235772" y="31939"/>
                          <a:pt x="237376" y="39575"/>
                          <a:pt x="237258" y="47875"/>
                        </a:cubicBezTo>
                        <a:cubicBezTo>
                          <a:pt x="237022" y="59491"/>
                          <a:pt x="233387" y="69236"/>
                          <a:pt x="226355" y="77112"/>
                        </a:cubicBezTo>
                        <a:cubicBezTo>
                          <a:pt x="219323" y="84988"/>
                          <a:pt x="210314" y="90137"/>
                          <a:pt x="199329" y="92561"/>
                        </a:cubicBezTo>
                        <a:lnTo>
                          <a:pt x="255318" y="162049"/>
                        </a:lnTo>
                        <a:lnTo>
                          <a:pt x="239773" y="162049"/>
                        </a:lnTo>
                        <a:lnTo>
                          <a:pt x="186522" y="95069"/>
                        </a:lnTo>
                        <a:lnTo>
                          <a:pt x="155420" y="95069"/>
                        </a:lnTo>
                        <a:lnTo>
                          <a:pt x="155420" y="162049"/>
                        </a:lnTo>
                        <a:lnTo>
                          <a:pt x="142875" y="162049"/>
                        </a:lnTo>
                        <a:lnTo>
                          <a:pt x="142875" y="2056"/>
                        </a:lnTo>
                        <a:cubicBezTo>
                          <a:pt x="146065" y="2051"/>
                          <a:pt x="150361" y="2011"/>
                          <a:pt x="155764" y="1938"/>
                        </a:cubicBezTo>
                        <a:cubicBezTo>
                          <a:pt x="161167" y="1865"/>
                          <a:pt x="166331" y="1792"/>
                          <a:pt x="171254" y="1718"/>
                        </a:cubicBezTo>
                        <a:cubicBezTo>
                          <a:pt x="176177" y="1645"/>
                          <a:pt x="179513" y="1606"/>
                          <a:pt x="181262" y="1600"/>
                        </a:cubicBezTo>
                        <a:close/>
                        <a:moveTo>
                          <a:pt x="334885" y="686"/>
                        </a:moveTo>
                        <a:lnTo>
                          <a:pt x="345172" y="686"/>
                        </a:lnTo>
                        <a:lnTo>
                          <a:pt x="414895" y="162049"/>
                        </a:lnTo>
                        <a:lnTo>
                          <a:pt x="401407" y="162049"/>
                        </a:lnTo>
                        <a:lnTo>
                          <a:pt x="378090" y="107642"/>
                        </a:lnTo>
                        <a:lnTo>
                          <a:pt x="301281" y="107642"/>
                        </a:lnTo>
                        <a:lnTo>
                          <a:pt x="277963" y="162049"/>
                        </a:lnTo>
                        <a:lnTo>
                          <a:pt x="265162" y="162049"/>
                        </a:lnTo>
                        <a:close/>
                        <a:moveTo>
                          <a:pt x="1647658" y="0"/>
                        </a:moveTo>
                        <a:cubicBezTo>
                          <a:pt x="1656697" y="62"/>
                          <a:pt x="1664976" y="1535"/>
                          <a:pt x="1672498" y="4420"/>
                        </a:cubicBezTo>
                        <a:cubicBezTo>
                          <a:pt x="1680019" y="7305"/>
                          <a:pt x="1686064" y="11233"/>
                          <a:pt x="1690634" y="16204"/>
                        </a:cubicBezTo>
                        <a:lnTo>
                          <a:pt x="1683791" y="25578"/>
                        </a:lnTo>
                        <a:cubicBezTo>
                          <a:pt x="1674644" y="16432"/>
                          <a:pt x="1662752" y="11859"/>
                          <a:pt x="1648115" y="11859"/>
                        </a:cubicBezTo>
                        <a:cubicBezTo>
                          <a:pt x="1637491" y="11973"/>
                          <a:pt x="1629181" y="14545"/>
                          <a:pt x="1623188" y="19576"/>
                        </a:cubicBezTo>
                        <a:cubicBezTo>
                          <a:pt x="1617194" y="24606"/>
                          <a:pt x="1614145" y="31409"/>
                          <a:pt x="1614040" y="39983"/>
                        </a:cubicBezTo>
                        <a:cubicBezTo>
                          <a:pt x="1614261" y="48763"/>
                          <a:pt x="1617129" y="55567"/>
                          <a:pt x="1622646" y="60394"/>
                        </a:cubicBezTo>
                        <a:cubicBezTo>
                          <a:pt x="1628163" y="65222"/>
                          <a:pt x="1635004" y="69169"/>
                          <a:pt x="1643169" y="72235"/>
                        </a:cubicBezTo>
                        <a:cubicBezTo>
                          <a:pt x="1651334" y="75301"/>
                          <a:pt x="1659499" y="78581"/>
                          <a:pt x="1667664" y="82077"/>
                        </a:cubicBezTo>
                        <a:cubicBezTo>
                          <a:pt x="1675829" y="85573"/>
                          <a:pt x="1682670" y="90380"/>
                          <a:pt x="1688187" y="96497"/>
                        </a:cubicBezTo>
                        <a:cubicBezTo>
                          <a:pt x="1693704" y="102614"/>
                          <a:pt x="1696572" y="111137"/>
                          <a:pt x="1696793" y="122066"/>
                        </a:cubicBezTo>
                        <a:cubicBezTo>
                          <a:pt x="1696442" y="135022"/>
                          <a:pt x="1691493" y="145229"/>
                          <a:pt x="1681945" y="152689"/>
                        </a:cubicBezTo>
                        <a:cubicBezTo>
                          <a:pt x="1672398" y="160150"/>
                          <a:pt x="1660359" y="163955"/>
                          <a:pt x="1645828" y="164106"/>
                        </a:cubicBezTo>
                        <a:cubicBezTo>
                          <a:pt x="1635976" y="164045"/>
                          <a:pt x="1626414" y="162001"/>
                          <a:pt x="1617141" y="157974"/>
                        </a:cubicBezTo>
                        <a:cubicBezTo>
                          <a:pt x="1607868" y="153947"/>
                          <a:pt x="1601053" y="148303"/>
                          <a:pt x="1596695" y="141044"/>
                        </a:cubicBezTo>
                        <a:lnTo>
                          <a:pt x="1604231" y="132355"/>
                        </a:lnTo>
                        <a:cubicBezTo>
                          <a:pt x="1609146" y="138786"/>
                          <a:pt x="1615409" y="143702"/>
                          <a:pt x="1623020" y="147103"/>
                        </a:cubicBezTo>
                        <a:cubicBezTo>
                          <a:pt x="1630631" y="150504"/>
                          <a:pt x="1638157" y="152219"/>
                          <a:pt x="1645600" y="152248"/>
                        </a:cubicBezTo>
                        <a:cubicBezTo>
                          <a:pt x="1655786" y="152229"/>
                          <a:pt x="1664572" y="149694"/>
                          <a:pt x="1671957" y="144645"/>
                        </a:cubicBezTo>
                        <a:cubicBezTo>
                          <a:pt x="1679342" y="139596"/>
                          <a:pt x="1683210" y="132146"/>
                          <a:pt x="1683563" y="122295"/>
                        </a:cubicBezTo>
                        <a:cubicBezTo>
                          <a:pt x="1683342" y="113416"/>
                          <a:pt x="1680473" y="106480"/>
                          <a:pt x="1674957" y="101487"/>
                        </a:cubicBezTo>
                        <a:cubicBezTo>
                          <a:pt x="1669440" y="96493"/>
                          <a:pt x="1662599" y="92388"/>
                          <a:pt x="1654434" y="89173"/>
                        </a:cubicBezTo>
                        <a:cubicBezTo>
                          <a:pt x="1646269" y="85957"/>
                          <a:pt x="1638104" y="82577"/>
                          <a:pt x="1629939" y="79032"/>
                        </a:cubicBezTo>
                        <a:cubicBezTo>
                          <a:pt x="1621774" y="75487"/>
                          <a:pt x="1614933" y="70724"/>
                          <a:pt x="1609416" y="64742"/>
                        </a:cubicBezTo>
                        <a:cubicBezTo>
                          <a:pt x="1603899" y="58761"/>
                          <a:pt x="1601030" y="50508"/>
                          <a:pt x="1600810" y="39983"/>
                        </a:cubicBezTo>
                        <a:cubicBezTo>
                          <a:pt x="1600904" y="28514"/>
                          <a:pt x="1604995" y="19049"/>
                          <a:pt x="1613085" y="11589"/>
                        </a:cubicBezTo>
                        <a:cubicBezTo>
                          <a:pt x="1621175" y="4128"/>
                          <a:pt x="1632699" y="266"/>
                          <a:pt x="1647658" y="0"/>
                        </a:cubicBezTo>
                        <a:close/>
                        <a:moveTo>
                          <a:pt x="1133994" y="0"/>
                        </a:moveTo>
                        <a:cubicBezTo>
                          <a:pt x="1149309" y="128"/>
                          <a:pt x="1162983" y="3679"/>
                          <a:pt x="1175016" y="10654"/>
                        </a:cubicBezTo>
                        <a:cubicBezTo>
                          <a:pt x="1187049" y="17628"/>
                          <a:pt x="1196554" y="27258"/>
                          <a:pt x="1203531" y="39542"/>
                        </a:cubicBezTo>
                        <a:cubicBezTo>
                          <a:pt x="1210508" y="51826"/>
                          <a:pt x="1214071" y="65996"/>
                          <a:pt x="1214219" y="82053"/>
                        </a:cubicBezTo>
                        <a:cubicBezTo>
                          <a:pt x="1214071" y="97895"/>
                          <a:pt x="1210508" y="111963"/>
                          <a:pt x="1203531" y="124260"/>
                        </a:cubicBezTo>
                        <a:cubicBezTo>
                          <a:pt x="1196554" y="136557"/>
                          <a:pt x="1187049" y="146237"/>
                          <a:pt x="1175016" y="153300"/>
                        </a:cubicBezTo>
                        <a:cubicBezTo>
                          <a:pt x="1162983" y="160363"/>
                          <a:pt x="1149309" y="163965"/>
                          <a:pt x="1133994" y="164106"/>
                        </a:cubicBezTo>
                        <a:cubicBezTo>
                          <a:pt x="1118679" y="163978"/>
                          <a:pt x="1105005" y="160427"/>
                          <a:pt x="1092973" y="153453"/>
                        </a:cubicBezTo>
                        <a:cubicBezTo>
                          <a:pt x="1080940" y="146478"/>
                          <a:pt x="1071435" y="136849"/>
                          <a:pt x="1064457" y="124565"/>
                        </a:cubicBezTo>
                        <a:cubicBezTo>
                          <a:pt x="1057480" y="112281"/>
                          <a:pt x="1053918" y="98111"/>
                          <a:pt x="1053770" y="82053"/>
                        </a:cubicBezTo>
                        <a:cubicBezTo>
                          <a:pt x="1053905" y="66428"/>
                          <a:pt x="1057417" y="52461"/>
                          <a:pt x="1064305" y="40151"/>
                        </a:cubicBezTo>
                        <a:cubicBezTo>
                          <a:pt x="1071193" y="27842"/>
                          <a:pt x="1080648" y="18111"/>
                          <a:pt x="1092668" y="10959"/>
                        </a:cubicBezTo>
                        <a:cubicBezTo>
                          <a:pt x="1104688" y="3806"/>
                          <a:pt x="1118463" y="153"/>
                          <a:pt x="1133994" y="0"/>
                        </a:cubicBezTo>
                        <a:close/>
                        <a:moveTo>
                          <a:pt x="819669" y="0"/>
                        </a:moveTo>
                        <a:cubicBezTo>
                          <a:pt x="834984" y="128"/>
                          <a:pt x="848658" y="3679"/>
                          <a:pt x="860691" y="10654"/>
                        </a:cubicBezTo>
                        <a:cubicBezTo>
                          <a:pt x="872724" y="17628"/>
                          <a:pt x="882229" y="27258"/>
                          <a:pt x="889206" y="39542"/>
                        </a:cubicBezTo>
                        <a:cubicBezTo>
                          <a:pt x="896183" y="51826"/>
                          <a:pt x="899746" y="65996"/>
                          <a:pt x="899894" y="82053"/>
                        </a:cubicBezTo>
                        <a:cubicBezTo>
                          <a:pt x="899746" y="97895"/>
                          <a:pt x="896183" y="111963"/>
                          <a:pt x="889206" y="124260"/>
                        </a:cubicBezTo>
                        <a:cubicBezTo>
                          <a:pt x="882229" y="136557"/>
                          <a:pt x="872724" y="146237"/>
                          <a:pt x="860691" y="153300"/>
                        </a:cubicBezTo>
                        <a:cubicBezTo>
                          <a:pt x="848658" y="160363"/>
                          <a:pt x="834984" y="163965"/>
                          <a:pt x="819669" y="164106"/>
                        </a:cubicBezTo>
                        <a:cubicBezTo>
                          <a:pt x="804354" y="163978"/>
                          <a:pt x="790681" y="160427"/>
                          <a:pt x="778648" y="153453"/>
                        </a:cubicBezTo>
                        <a:cubicBezTo>
                          <a:pt x="766615" y="146478"/>
                          <a:pt x="757110" y="136849"/>
                          <a:pt x="750132" y="124565"/>
                        </a:cubicBezTo>
                        <a:cubicBezTo>
                          <a:pt x="743155" y="112281"/>
                          <a:pt x="739593" y="98111"/>
                          <a:pt x="739445" y="82053"/>
                        </a:cubicBezTo>
                        <a:cubicBezTo>
                          <a:pt x="739580" y="66428"/>
                          <a:pt x="743092" y="52461"/>
                          <a:pt x="749980" y="40151"/>
                        </a:cubicBezTo>
                        <a:cubicBezTo>
                          <a:pt x="756868" y="27842"/>
                          <a:pt x="766323" y="18111"/>
                          <a:pt x="778343" y="10959"/>
                        </a:cubicBezTo>
                        <a:cubicBezTo>
                          <a:pt x="790363" y="3806"/>
                          <a:pt x="804138" y="153"/>
                          <a:pt x="819669" y="0"/>
                        </a:cubicBezTo>
                        <a:close/>
                        <a:moveTo>
                          <a:pt x="485608" y="0"/>
                        </a:moveTo>
                        <a:cubicBezTo>
                          <a:pt x="494647" y="62"/>
                          <a:pt x="502926" y="1535"/>
                          <a:pt x="510448" y="4420"/>
                        </a:cubicBezTo>
                        <a:cubicBezTo>
                          <a:pt x="517969" y="7305"/>
                          <a:pt x="524014" y="11233"/>
                          <a:pt x="528584" y="16204"/>
                        </a:cubicBezTo>
                        <a:lnTo>
                          <a:pt x="521741" y="25578"/>
                        </a:lnTo>
                        <a:cubicBezTo>
                          <a:pt x="512594" y="16432"/>
                          <a:pt x="500702" y="11859"/>
                          <a:pt x="486065" y="11859"/>
                        </a:cubicBezTo>
                        <a:cubicBezTo>
                          <a:pt x="475441" y="11973"/>
                          <a:pt x="467131" y="14545"/>
                          <a:pt x="461138" y="19576"/>
                        </a:cubicBezTo>
                        <a:cubicBezTo>
                          <a:pt x="455144" y="24606"/>
                          <a:pt x="452095" y="31409"/>
                          <a:pt x="451990" y="39983"/>
                        </a:cubicBezTo>
                        <a:cubicBezTo>
                          <a:pt x="452211" y="48763"/>
                          <a:pt x="455079" y="55567"/>
                          <a:pt x="460596" y="60394"/>
                        </a:cubicBezTo>
                        <a:cubicBezTo>
                          <a:pt x="466113" y="65222"/>
                          <a:pt x="472954" y="69169"/>
                          <a:pt x="481119" y="72235"/>
                        </a:cubicBezTo>
                        <a:cubicBezTo>
                          <a:pt x="489284" y="75301"/>
                          <a:pt x="497449" y="78581"/>
                          <a:pt x="505614" y="82077"/>
                        </a:cubicBezTo>
                        <a:cubicBezTo>
                          <a:pt x="513779" y="85573"/>
                          <a:pt x="520620" y="90380"/>
                          <a:pt x="526137" y="96497"/>
                        </a:cubicBezTo>
                        <a:cubicBezTo>
                          <a:pt x="531654" y="102614"/>
                          <a:pt x="534522" y="111137"/>
                          <a:pt x="534743" y="122066"/>
                        </a:cubicBezTo>
                        <a:cubicBezTo>
                          <a:pt x="534392" y="135022"/>
                          <a:pt x="529443" y="145229"/>
                          <a:pt x="519895" y="152689"/>
                        </a:cubicBezTo>
                        <a:cubicBezTo>
                          <a:pt x="510348" y="160150"/>
                          <a:pt x="498309" y="163955"/>
                          <a:pt x="483778" y="164106"/>
                        </a:cubicBezTo>
                        <a:cubicBezTo>
                          <a:pt x="473926" y="164045"/>
                          <a:pt x="464364" y="162001"/>
                          <a:pt x="455091" y="157974"/>
                        </a:cubicBezTo>
                        <a:cubicBezTo>
                          <a:pt x="445818" y="153947"/>
                          <a:pt x="439003" y="148303"/>
                          <a:pt x="434645" y="141044"/>
                        </a:cubicBezTo>
                        <a:lnTo>
                          <a:pt x="442181" y="132355"/>
                        </a:lnTo>
                        <a:cubicBezTo>
                          <a:pt x="447096" y="138786"/>
                          <a:pt x="453359" y="143702"/>
                          <a:pt x="460970" y="147103"/>
                        </a:cubicBezTo>
                        <a:cubicBezTo>
                          <a:pt x="468581" y="150504"/>
                          <a:pt x="476107" y="152219"/>
                          <a:pt x="483550" y="152248"/>
                        </a:cubicBezTo>
                        <a:cubicBezTo>
                          <a:pt x="493736" y="152229"/>
                          <a:pt x="502522" y="149694"/>
                          <a:pt x="509907" y="144645"/>
                        </a:cubicBezTo>
                        <a:cubicBezTo>
                          <a:pt x="517292" y="139596"/>
                          <a:pt x="521160" y="132146"/>
                          <a:pt x="521513" y="122295"/>
                        </a:cubicBezTo>
                        <a:cubicBezTo>
                          <a:pt x="521292" y="113416"/>
                          <a:pt x="518423" y="106480"/>
                          <a:pt x="512907" y="101487"/>
                        </a:cubicBezTo>
                        <a:cubicBezTo>
                          <a:pt x="507390" y="96493"/>
                          <a:pt x="500549" y="92388"/>
                          <a:pt x="492384" y="89173"/>
                        </a:cubicBezTo>
                        <a:cubicBezTo>
                          <a:pt x="484219" y="85957"/>
                          <a:pt x="476054" y="82577"/>
                          <a:pt x="467889" y="79032"/>
                        </a:cubicBezTo>
                        <a:cubicBezTo>
                          <a:pt x="459724" y="75487"/>
                          <a:pt x="452883" y="70724"/>
                          <a:pt x="447366" y="64742"/>
                        </a:cubicBezTo>
                        <a:cubicBezTo>
                          <a:pt x="441849" y="58761"/>
                          <a:pt x="438980" y="50508"/>
                          <a:pt x="438760" y="39983"/>
                        </a:cubicBezTo>
                        <a:cubicBezTo>
                          <a:pt x="438854" y="28514"/>
                          <a:pt x="442945" y="19049"/>
                          <a:pt x="451035" y="11589"/>
                        </a:cubicBezTo>
                        <a:cubicBezTo>
                          <a:pt x="459125" y="4128"/>
                          <a:pt x="470649" y="266"/>
                          <a:pt x="485608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  <p:sp>
                <p:nvSpPr>
                  <p:cNvPr id="473" name="TextBox 472">
                    <a:extLst>
                      <a:ext uri="{FF2B5EF4-FFF2-40B4-BE49-F238E27FC236}">
                        <a16:creationId xmlns:a16="http://schemas.microsoft.com/office/drawing/2014/main" id="{38BB384D-59A5-CB0A-B8B1-1D6676634C0B}"/>
                      </a:ext>
                    </a:extLst>
                  </p:cNvPr>
                  <p:cNvSpPr txBox="1"/>
                  <p:nvPr/>
                </p:nvSpPr>
                <p:spPr>
                  <a:xfrm>
                    <a:off x="14055227" y="11738174"/>
                    <a:ext cx="1100376" cy="16410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00376" h="164106">
                        <a:moveTo>
                          <a:pt x="384020" y="85925"/>
                        </a:moveTo>
                        <a:lnTo>
                          <a:pt x="384020" y="149961"/>
                        </a:lnTo>
                        <a:cubicBezTo>
                          <a:pt x="387431" y="150100"/>
                          <a:pt x="391928" y="150281"/>
                          <a:pt x="397512" y="150504"/>
                        </a:cubicBezTo>
                        <a:cubicBezTo>
                          <a:pt x="403096" y="150728"/>
                          <a:pt x="408508" y="150852"/>
                          <a:pt x="413749" y="150876"/>
                        </a:cubicBezTo>
                        <a:cubicBezTo>
                          <a:pt x="427584" y="150890"/>
                          <a:pt x="438333" y="148060"/>
                          <a:pt x="445994" y="142386"/>
                        </a:cubicBezTo>
                        <a:cubicBezTo>
                          <a:pt x="453655" y="136711"/>
                          <a:pt x="457543" y="128106"/>
                          <a:pt x="457657" y="116571"/>
                        </a:cubicBezTo>
                        <a:cubicBezTo>
                          <a:pt x="457586" y="106689"/>
                          <a:pt x="453841" y="99123"/>
                          <a:pt x="446423" y="93872"/>
                        </a:cubicBezTo>
                        <a:cubicBezTo>
                          <a:pt x="439005" y="88622"/>
                          <a:pt x="428343" y="85973"/>
                          <a:pt x="414436" y="85925"/>
                        </a:cubicBezTo>
                        <a:close/>
                        <a:moveTo>
                          <a:pt x="413063" y="13230"/>
                        </a:moveTo>
                        <a:lnTo>
                          <a:pt x="397255" y="13488"/>
                        </a:lnTo>
                        <a:cubicBezTo>
                          <a:pt x="391829" y="13645"/>
                          <a:pt x="387417" y="13788"/>
                          <a:pt x="384020" y="13917"/>
                        </a:cubicBezTo>
                        <a:lnTo>
                          <a:pt x="384020" y="74752"/>
                        </a:lnTo>
                        <a:lnTo>
                          <a:pt x="415122" y="74752"/>
                        </a:lnTo>
                        <a:cubicBezTo>
                          <a:pt x="425342" y="74676"/>
                          <a:pt x="433890" y="71913"/>
                          <a:pt x="440765" y="66462"/>
                        </a:cubicBezTo>
                        <a:cubicBezTo>
                          <a:pt x="447640" y="61011"/>
                          <a:pt x="451214" y="53330"/>
                          <a:pt x="451485" y="43420"/>
                        </a:cubicBezTo>
                        <a:cubicBezTo>
                          <a:pt x="451528" y="33657"/>
                          <a:pt x="448412" y="26195"/>
                          <a:pt x="442137" y="21035"/>
                        </a:cubicBezTo>
                        <a:cubicBezTo>
                          <a:pt x="439000" y="18455"/>
                          <a:pt x="435008" y="16515"/>
                          <a:pt x="430162" y="15214"/>
                        </a:cubicBezTo>
                        <a:close/>
                        <a:moveTo>
                          <a:pt x="1009650" y="2058"/>
                        </a:moveTo>
                        <a:lnTo>
                          <a:pt x="1098090" y="2058"/>
                        </a:lnTo>
                        <a:lnTo>
                          <a:pt x="1098090" y="13916"/>
                        </a:lnTo>
                        <a:lnTo>
                          <a:pt x="1022194" y="13916"/>
                        </a:lnTo>
                        <a:lnTo>
                          <a:pt x="1022194" y="74981"/>
                        </a:lnTo>
                        <a:lnTo>
                          <a:pt x="1091232" y="74981"/>
                        </a:lnTo>
                        <a:lnTo>
                          <a:pt x="1091232" y="86840"/>
                        </a:lnTo>
                        <a:lnTo>
                          <a:pt x="1022194" y="86840"/>
                        </a:lnTo>
                        <a:lnTo>
                          <a:pt x="1022194" y="150190"/>
                        </a:lnTo>
                        <a:lnTo>
                          <a:pt x="1100376" y="150190"/>
                        </a:lnTo>
                        <a:lnTo>
                          <a:pt x="1100376" y="162049"/>
                        </a:lnTo>
                        <a:lnTo>
                          <a:pt x="1009650" y="162049"/>
                        </a:lnTo>
                        <a:close/>
                        <a:moveTo>
                          <a:pt x="962073" y="2058"/>
                        </a:moveTo>
                        <a:lnTo>
                          <a:pt x="977389" y="2058"/>
                        </a:lnTo>
                        <a:lnTo>
                          <a:pt x="901722" y="77711"/>
                        </a:lnTo>
                        <a:lnTo>
                          <a:pt x="980589" y="162049"/>
                        </a:lnTo>
                        <a:lnTo>
                          <a:pt x="964359" y="162049"/>
                        </a:lnTo>
                        <a:lnTo>
                          <a:pt x="886863" y="78625"/>
                        </a:lnTo>
                        <a:close/>
                        <a:moveTo>
                          <a:pt x="866775" y="2058"/>
                        </a:moveTo>
                        <a:lnTo>
                          <a:pt x="879319" y="2058"/>
                        </a:lnTo>
                        <a:lnTo>
                          <a:pt x="879319" y="162049"/>
                        </a:lnTo>
                        <a:lnTo>
                          <a:pt x="866775" y="162049"/>
                        </a:lnTo>
                        <a:close/>
                        <a:moveTo>
                          <a:pt x="567676" y="2058"/>
                        </a:moveTo>
                        <a:lnTo>
                          <a:pt x="581163" y="2058"/>
                        </a:lnTo>
                        <a:lnTo>
                          <a:pt x="641285" y="144222"/>
                        </a:lnTo>
                        <a:lnTo>
                          <a:pt x="699807" y="2058"/>
                        </a:lnTo>
                        <a:lnTo>
                          <a:pt x="712608" y="2058"/>
                        </a:lnTo>
                        <a:lnTo>
                          <a:pt x="645400" y="163421"/>
                        </a:lnTo>
                        <a:lnTo>
                          <a:pt x="636484" y="163421"/>
                        </a:lnTo>
                        <a:close/>
                        <a:moveTo>
                          <a:pt x="519836" y="2058"/>
                        </a:moveTo>
                        <a:lnTo>
                          <a:pt x="532381" y="2058"/>
                        </a:lnTo>
                        <a:lnTo>
                          <a:pt x="532381" y="162049"/>
                        </a:lnTo>
                        <a:lnTo>
                          <a:pt x="519836" y="162049"/>
                        </a:lnTo>
                        <a:close/>
                        <a:moveTo>
                          <a:pt x="300762" y="2058"/>
                        </a:moveTo>
                        <a:lnTo>
                          <a:pt x="313306" y="2058"/>
                        </a:lnTo>
                        <a:lnTo>
                          <a:pt x="313306" y="162049"/>
                        </a:lnTo>
                        <a:lnTo>
                          <a:pt x="300762" y="162049"/>
                        </a:lnTo>
                        <a:close/>
                        <a:moveTo>
                          <a:pt x="171450" y="2058"/>
                        </a:moveTo>
                        <a:lnTo>
                          <a:pt x="183995" y="2058"/>
                        </a:lnTo>
                        <a:lnTo>
                          <a:pt x="183995" y="150190"/>
                        </a:lnTo>
                        <a:lnTo>
                          <a:pt x="268348" y="150190"/>
                        </a:lnTo>
                        <a:lnTo>
                          <a:pt x="268348" y="162049"/>
                        </a:lnTo>
                        <a:lnTo>
                          <a:pt x="171450" y="162049"/>
                        </a:lnTo>
                        <a:close/>
                        <a:moveTo>
                          <a:pt x="0" y="2058"/>
                        </a:moveTo>
                        <a:lnTo>
                          <a:pt x="12545" y="2058"/>
                        </a:lnTo>
                        <a:lnTo>
                          <a:pt x="12545" y="74524"/>
                        </a:lnTo>
                        <a:lnTo>
                          <a:pt x="112471" y="74524"/>
                        </a:lnTo>
                        <a:lnTo>
                          <a:pt x="112471" y="2058"/>
                        </a:lnTo>
                        <a:lnTo>
                          <a:pt x="125016" y="2058"/>
                        </a:lnTo>
                        <a:lnTo>
                          <a:pt x="125016" y="162049"/>
                        </a:lnTo>
                        <a:lnTo>
                          <a:pt x="112471" y="162049"/>
                        </a:lnTo>
                        <a:lnTo>
                          <a:pt x="112471" y="86382"/>
                        </a:lnTo>
                        <a:lnTo>
                          <a:pt x="12545" y="86382"/>
                        </a:lnTo>
                        <a:lnTo>
                          <a:pt x="12545" y="162049"/>
                        </a:lnTo>
                        <a:lnTo>
                          <a:pt x="0" y="162049"/>
                        </a:lnTo>
                        <a:close/>
                        <a:moveTo>
                          <a:pt x="413522" y="1372"/>
                        </a:moveTo>
                        <a:cubicBezTo>
                          <a:pt x="432335" y="1632"/>
                          <a:pt x="445527" y="5448"/>
                          <a:pt x="453097" y="12819"/>
                        </a:cubicBezTo>
                        <a:cubicBezTo>
                          <a:pt x="460668" y="20189"/>
                          <a:pt x="464312" y="29551"/>
                          <a:pt x="464030" y="40904"/>
                        </a:cubicBezTo>
                        <a:cubicBezTo>
                          <a:pt x="463778" y="51530"/>
                          <a:pt x="460687" y="59953"/>
                          <a:pt x="454755" y="66175"/>
                        </a:cubicBezTo>
                        <a:cubicBezTo>
                          <a:pt x="448824" y="72396"/>
                          <a:pt x="441558" y="76471"/>
                          <a:pt x="432959" y="78401"/>
                        </a:cubicBezTo>
                        <a:lnTo>
                          <a:pt x="432959" y="78857"/>
                        </a:lnTo>
                        <a:cubicBezTo>
                          <a:pt x="444615" y="80253"/>
                          <a:pt x="453710" y="84193"/>
                          <a:pt x="460242" y="90678"/>
                        </a:cubicBezTo>
                        <a:cubicBezTo>
                          <a:pt x="466773" y="97163"/>
                          <a:pt x="470093" y="106022"/>
                          <a:pt x="470202" y="117257"/>
                        </a:cubicBezTo>
                        <a:cubicBezTo>
                          <a:pt x="469860" y="133160"/>
                          <a:pt x="464434" y="144742"/>
                          <a:pt x="453924" y="152003"/>
                        </a:cubicBezTo>
                        <a:cubicBezTo>
                          <a:pt x="443414" y="159264"/>
                          <a:pt x="429870" y="162841"/>
                          <a:pt x="413291" y="162735"/>
                        </a:cubicBezTo>
                        <a:cubicBezTo>
                          <a:pt x="406131" y="162725"/>
                          <a:pt x="398615" y="162630"/>
                          <a:pt x="390745" y="162450"/>
                        </a:cubicBezTo>
                        <a:cubicBezTo>
                          <a:pt x="382874" y="162269"/>
                          <a:pt x="376451" y="162060"/>
                          <a:pt x="371475" y="161823"/>
                        </a:cubicBezTo>
                        <a:lnTo>
                          <a:pt x="371475" y="2284"/>
                        </a:lnTo>
                        <a:cubicBezTo>
                          <a:pt x="376247" y="2146"/>
                          <a:pt x="382623" y="1966"/>
                          <a:pt x="390603" y="1742"/>
                        </a:cubicBezTo>
                        <a:cubicBezTo>
                          <a:pt x="398583" y="1519"/>
                          <a:pt x="406222" y="1395"/>
                          <a:pt x="413522" y="1372"/>
                        </a:cubicBezTo>
                        <a:close/>
                        <a:moveTo>
                          <a:pt x="780883" y="0"/>
                        </a:moveTo>
                        <a:cubicBezTo>
                          <a:pt x="789922" y="62"/>
                          <a:pt x="798201" y="1535"/>
                          <a:pt x="805723" y="4420"/>
                        </a:cubicBezTo>
                        <a:cubicBezTo>
                          <a:pt x="813244" y="7305"/>
                          <a:pt x="819289" y="11233"/>
                          <a:pt x="823859" y="16204"/>
                        </a:cubicBezTo>
                        <a:lnTo>
                          <a:pt x="817016" y="25578"/>
                        </a:lnTo>
                        <a:cubicBezTo>
                          <a:pt x="807869" y="16432"/>
                          <a:pt x="795977" y="11859"/>
                          <a:pt x="781340" y="11859"/>
                        </a:cubicBezTo>
                        <a:cubicBezTo>
                          <a:pt x="770716" y="11973"/>
                          <a:pt x="762406" y="14545"/>
                          <a:pt x="756413" y="19576"/>
                        </a:cubicBezTo>
                        <a:cubicBezTo>
                          <a:pt x="750419" y="24606"/>
                          <a:pt x="747370" y="31409"/>
                          <a:pt x="747265" y="39983"/>
                        </a:cubicBezTo>
                        <a:cubicBezTo>
                          <a:pt x="747486" y="48763"/>
                          <a:pt x="750354" y="55567"/>
                          <a:pt x="755871" y="60394"/>
                        </a:cubicBezTo>
                        <a:cubicBezTo>
                          <a:pt x="761388" y="65222"/>
                          <a:pt x="768229" y="69169"/>
                          <a:pt x="776394" y="72235"/>
                        </a:cubicBezTo>
                        <a:cubicBezTo>
                          <a:pt x="784559" y="75301"/>
                          <a:pt x="792724" y="78582"/>
                          <a:pt x="800889" y="82077"/>
                        </a:cubicBezTo>
                        <a:cubicBezTo>
                          <a:pt x="809054" y="85573"/>
                          <a:pt x="815895" y="90380"/>
                          <a:pt x="821412" y="96497"/>
                        </a:cubicBezTo>
                        <a:cubicBezTo>
                          <a:pt x="826929" y="102614"/>
                          <a:pt x="829797" y="111137"/>
                          <a:pt x="830018" y="122067"/>
                        </a:cubicBezTo>
                        <a:cubicBezTo>
                          <a:pt x="829667" y="135022"/>
                          <a:pt x="824718" y="145229"/>
                          <a:pt x="815170" y="152690"/>
                        </a:cubicBezTo>
                        <a:cubicBezTo>
                          <a:pt x="805622" y="160150"/>
                          <a:pt x="793584" y="163955"/>
                          <a:pt x="779053" y="164106"/>
                        </a:cubicBezTo>
                        <a:cubicBezTo>
                          <a:pt x="769201" y="164045"/>
                          <a:pt x="759639" y="162001"/>
                          <a:pt x="750366" y="157974"/>
                        </a:cubicBezTo>
                        <a:cubicBezTo>
                          <a:pt x="741093" y="153947"/>
                          <a:pt x="734278" y="148303"/>
                          <a:pt x="729920" y="141044"/>
                        </a:cubicBezTo>
                        <a:lnTo>
                          <a:pt x="737456" y="132356"/>
                        </a:lnTo>
                        <a:cubicBezTo>
                          <a:pt x="742371" y="138786"/>
                          <a:pt x="748634" y="143702"/>
                          <a:pt x="756245" y="147103"/>
                        </a:cubicBezTo>
                        <a:cubicBezTo>
                          <a:pt x="763856" y="150504"/>
                          <a:pt x="771382" y="152219"/>
                          <a:pt x="778825" y="152248"/>
                        </a:cubicBezTo>
                        <a:cubicBezTo>
                          <a:pt x="789011" y="152229"/>
                          <a:pt x="797797" y="149695"/>
                          <a:pt x="805182" y="144645"/>
                        </a:cubicBezTo>
                        <a:cubicBezTo>
                          <a:pt x="812567" y="139596"/>
                          <a:pt x="816435" y="132146"/>
                          <a:pt x="816788" y="122295"/>
                        </a:cubicBezTo>
                        <a:cubicBezTo>
                          <a:pt x="816567" y="113416"/>
                          <a:pt x="813698" y="106480"/>
                          <a:pt x="808182" y="101487"/>
                        </a:cubicBezTo>
                        <a:cubicBezTo>
                          <a:pt x="802665" y="96493"/>
                          <a:pt x="795824" y="92388"/>
                          <a:pt x="787659" y="89173"/>
                        </a:cubicBezTo>
                        <a:cubicBezTo>
                          <a:pt x="779494" y="85957"/>
                          <a:pt x="771329" y="82577"/>
                          <a:pt x="763164" y="79032"/>
                        </a:cubicBezTo>
                        <a:cubicBezTo>
                          <a:pt x="754999" y="75487"/>
                          <a:pt x="748158" y="70724"/>
                          <a:pt x="742641" y="64742"/>
                        </a:cubicBezTo>
                        <a:cubicBezTo>
                          <a:pt x="737124" y="58761"/>
                          <a:pt x="734255" y="50508"/>
                          <a:pt x="734035" y="39983"/>
                        </a:cubicBezTo>
                        <a:cubicBezTo>
                          <a:pt x="734129" y="28514"/>
                          <a:pt x="738220" y="19049"/>
                          <a:pt x="746310" y="11589"/>
                        </a:cubicBezTo>
                        <a:cubicBezTo>
                          <a:pt x="754400" y="4129"/>
                          <a:pt x="765924" y="266"/>
                          <a:pt x="780883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dirty="0">
                      <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ln>
                      <a:solidFill>
                        <a:schemeClr val="bg2">
                          <a:lumMod val="25000"/>
                        </a:schemeClr>
                      </a:solidFill>
                      <a:latin typeface="Circe Light" panose="020B0402020203020203" pitchFamily="34" charset="-52"/>
                    </a:endParaRPr>
                  </a:p>
                </p:txBody>
              </p:sp>
            </p:grpSp>
            <p:sp>
              <p:nvSpPr>
                <p:cNvPr id="475" name="TextBox 474">
                  <a:extLst>
                    <a:ext uri="{FF2B5EF4-FFF2-40B4-BE49-F238E27FC236}">
                      <a16:creationId xmlns:a16="http://schemas.microsoft.com/office/drawing/2014/main" id="{03A24AF8-4BE5-7B8A-CCEB-48F59670B83B}"/>
                    </a:ext>
                  </a:extLst>
                </p:cNvPr>
                <p:cNvSpPr txBox="1"/>
                <p:nvPr/>
              </p:nvSpPr>
              <p:spPr>
                <a:xfrm>
                  <a:off x="7002800" y="4684957"/>
                  <a:ext cx="674706" cy="1118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9581" h="164106">
                      <a:moveTo>
                        <a:pt x="381290" y="18059"/>
                      </a:moveTo>
                      <a:lnTo>
                        <a:pt x="347915" y="95783"/>
                      </a:lnTo>
                      <a:lnTo>
                        <a:pt x="414437" y="95783"/>
                      </a:lnTo>
                      <a:close/>
                      <a:moveTo>
                        <a:pt x="526981" y="13459"/>
                      </a:moveTo>
                      <a:cubicBezTo>
                        <a:pt x="524303" y="13464"/>
                        <a:pt x="520454" y="13511"/>
                        <a:pt x="515432" y="13602"/>
                      </a:cubicBezTo>
                      <a:cubicBezTo>
                        <a:pt x="510410" y="13693"/>
                        <a:pt x="505874" y="13798"/>
                        <a:pt x="501824" y="13917"/>
                      </a:cubicBezTo>
                      <a:lnTo>
                        <a:pt x="501824" y="83210"/>
                      </a:lnTo>
                      <a:lnTo>
                        <a:pt x="529497" y="83210"/>
                      </a:lnTo>
                      <a:cubicBezTo>
                        <a:pt x="536410" y="83169"/>
                        <a:pt x="542963" y="81696"/>
                        <a:pt x="549156" y="78791"/>
                      </a:cubicBezTo>
                      <a:cubicBezTo>
                        <a:pt x="555349" y="75886"/>
                        <a:pt x="560411" y="71796"/>
                        <a:pt x="564343" y="66520"/>
                      </a:cubicBezTo>
                      <a:cubicBezTo>
                        <a:pt x="568275" y="61244"/>
                        <a:pt x="570305" y="55029"/>
                        <a:pt x="570433" y="47875"/>
                      </a:cubicBezTo>
                      <a:cubicBezTo>
                        <a:pt x="570652" y="37909"/>
                        <a:pt x="567470" y="29735"/>
                        <a:pt x="560885" y="23353"/>
                      </a:cubicBezTo>
                      <a:cubicBezTo>
                        <a:pt x="554300" y="16972"/>
                        <a:pt x="542999" y="13674"/>
                        <a:pt x="526981" y="13459"/>
                      </a:cubicBezTo>
                      <a:close/>
                      <a:moveTo>
                        <a:pt x="234222" y="13459"/>
                      </a:moveTo>
                      <a:cubicBezTo>
                        <a:pt x="230439" y="13463"/>
                        <a:pt x="225884" y="13511"/>
                        <a:pt x="220557" y="13601"/>
                      </a:cubicBezTo>
                      <a:cubicBezTo>
                        <a:pt x="215230" y="13692"/>
                        <a:pt x="210561" y="13796"/>
                        <a:pt x="206550" y="13916"/>
                      </a:cubicBezTo>
                      <a:lnTo>
                        <a:pt x="206550" y="85724"/>
                      </a:lnTo>
                      <a:cubicBezTo>
                        <a:pt x="210966" y="86072"/>
                        <a:pt x="215283" y="86349"/>
                        <a:pt x="219499" y="86553"/>
                      </a:cubicBezTo>
                      <a:cubicBezTo>
                        <a:pt x="223716" y="86758"/>
                        <a:pt x="228090" y="86863"/>
                        <a:pt x="232621" y="86868"/>
                      </a:cubicBezTo>
                      <a:cubicBezTo>
                        <a:pt x="247167" y="86687"/>
                        <a:pt x="258153" y="83218"/>
                        <a:pt x="265581" y="76462"/>
                      </a:cubicBezTo>
                      <a:cubicBezTo>
                        <a:pt x="273009" y="69707"/>
                        <a:pt x="276735" y="60750"/>
                        <a:pt x="276758" y="49591"/>
                      </a:cubicBezTo>
                      <a:cubicBezTo>
                        <a:pt x="276873" y="38981"/>
                        <a:pt x="273557" y="30358"/>
                        <a:pt x="266810" y="23721"/>
                      </a:cubicBezTo>
                      <a:cubicBezTo>
                        <a:pt x="260064" y="17084"/>
                        <a:pt x="249201" y="13664"/>
                        <a:pt x="234222" y="13459"/>
                      </a:cubicBezTo>
                      <a:close/>
                      <a:moveTo>
                        <a:pt x="80224" y="11859"/>
                      </a:moveTo>
                      <a:cubicBezTo>
                        <a:pt x="67448" y="11976"/>
                        <a:pt x="56035" y="15044"/>
                        <a:pt x="45986" y="21064"/>
                      </a:cubicBezTo>
                      <a:cubicBezTo>
                        <a:pt x="35937" y="27084"/>
                        <a:pt x="27996" y="35352"/>
                        <a:pt x="22164" y="45868"/>
                      </a:cubicBezTo>
                      <a:cubicBezTo>
                        <a:pt x="16332" y="56384"/>
                        <a:pt x="13354" y="68446"/>
                        <a:pt x="13230" y="82053"/>
                      </a:cubicBezTo>
                      <a:cubicBezTo>
                        <a:pt x="13359" y="95517"/>
                        <a:pt x="16354" y="107511"/>
                        <a:pt x="22215" y="118035"/>
                      </a:cubicBezTo>
                      <a:cubicBezTo>
                        <a:pt x="28077" y="128560"/>
                        <a:pt x="36034" y="136862"/>
                        <a:pt x="46088" y="142941"/>
                      </a:cubicBezTo>
                      <a:cubicBezTo>
                        <a:pt x="56141" y="149020"/>
                        <a:pt x="67520" y="152122"/>
                        <a:pt x="80224" y="152248"/>
                      </a:cubicBezTo>
                      <a:cubicBezTo>
                        <a:pt x="93360" y="152118"/>
                        <a:pt x="104942" y="148998"/>
                        <a:pt x="114970" y="142890"/>
                      </a:cubicBezTo>
                      <a:cubicBezTo>
                        <a:pt x="124999" y="136782"/>
                        <a:pt x="132854" y="128463"/>
                        <a:pt x="138538" y="117934"/>
                      </a:cubicBezTo>
                      <a:cubicBezTo>
                        <a:pt x="144222" y="107405"/>
                        <a:pt x="147115" y="95445"/>
                        <a:pt x="147218" y="82053"/>
                      </a:cubicBezTo>
                      <a:cubicBezTo>
                        <a:pt x="147090" y="68446"/>
                        <a:pt x="144095" y="56384"/>
                        <a:pt x="138233" y="45868"/>
                      </a:cubicBezTo>
                      <a:cubicBezTo>
                        <a:pt x="132372" y="35352"/>
                        <a:pt x="124414" y="27084"/>
                        <a:pt x="114361" y="21064"/>
                      </a:cubicBezTo>
                      <a:cubicBezTo>
                        <a:pt x="104307" y="15044"/>
                        <a:pt x="92928" y="11976"/>
                        <a:pt x="80224" y="11859"/>
                      </a:cubicBezTo>
                      <a:close/>
                      <a:moveTo>
                        <a:pt x="898855" y="2057"/>
                      </a:moveTo>
                      <a:lnTo>
                        <a:pt x="987295" y="2057"/>
                      </a:lnTo>
                      <a:lnTo>
                        <a:pt x="987295" y="13916"/>
                      </a:lnTo>
                      <a:lnTo>
                        <a:pt x="911399" y="13916"/>
                      </a:lnTo>
                      <a:lnTo>
                        <a:pt x="911399" y="74981"/>
                      </a:lnTo>
                      <a:lnTo>
                        <a:pt x="980437" y="74981"/>
                      </a:lnTo>
                      <a:lnTo>
                        <a:pt x="980437" y="86839"/>
                      </a:lnTo>
                      <a:lnTo>
                        <a:pt x="911399" y="86839"/>
                      </a:lnTo>
                      <a:lnTo>
                        <a:pt x="911399" y="150190"/>
                      </a:lnTo>
                      <a:lnTo>
                        <a:pt x="989581" y="150190"/>
                      </a:lnTo>
                      <a:lnTo>
                        <a:pt x="989581" y="162049"/>
                      </a:lnTo>
                      <a:lnTo>
                        <a:pt x="898855" y="162049"/>
                      </a:lnTo>
                      <a:close/>
                      <a:moveTo>
                        <a:pt x="851278" y="2057"/>
                      </a:moveTo>
                      <a:lnTo>
                        <a:pt x="866594" y="2057"/>
                      </a:lnTo>
                      <a:lnTo>
                        <a:pt x="790927" y="77711"/>
                      </a:lnTo>
                      <a:lnTo>
                        <a:pt x="869794" y="162049"/>
                      </a:lnTo>
                      <a:lnTo>
                        <a:pt x="853564" y="162049"/>
                      </a:lnTo>
                      <a:lnTo>
                        <a:pt x="776068" y="78625"/>
                      </a:lnTo>
                      <a:close/>
                      <a:moveTo>
                        <a:pt x="755980" y="2057"/>
                      </a:moveTo>
                      <a:lnTo>
                        <a:pt x="768524" y="2057"/>
                      </a:lnTo>
                      <a:lnTo>
                        <a:pt x="768524" y="162049"/>
                      </a:lnTo>
                      <a:lnTo>
                        <a:pt x="755980" y="162049"/>
                      </a:lnTo>
                      <a:close/>
                      <a:moveTo>
                        <a:pt x="527667" y="1600"/>
                      </a:moveTo>
                      <a:cubicBezTo>
                        <a:pt x="542109" y="1717"/>
                        <a:pt x="553419" y="3897"/>
                        <a:pt x="561597" y="8142"/>
                      </a:cubicBezTo>
                      <a:cubicBezTo>
                        <a:pt x="569776" y="12386"/>
                        <a:pt x="575527" y="17994"/>
                        <a:pt x="578852" y="24967"/>
                      </a:cubicBezTo>
                      <a:cubicBezTo>
                        <a:pt x="582177" y="31939"/>
                        <a:pt x="583781" y="39575"/>
                        <a:pt x="583663" y="47875"/>
                      </a:cubicBezTo>
                      <a:cubicBezTo>
                        <a:pt x="583426" y="59491"/>
                        <a:pt x="579792" y="69236"/>
                        <a:pt x="572760" y="77112"/>
                      </a:cubicBezTo>
                      <a:cubicBezTo>
                        <a:pt x="565728" y="84988"/>
                        <a:pt x="556719" y="90137"/>
                        <a:pt x="545734" y="92560"/>
                      </a:cubicBezTo>
                      <a:lnTo>
                        <a:pt x="601723" y="162049"/>
                      </a:lnTo>
                      <a:lnTo>
                        <a:pt x="586178" y="162049"/>
                      </a:lnTo>
                      <a:lnTo>
                        <a:pt x="532927" y="95069"/>
                      </a:lnTo>
                      <a:lnTo>
                        <a:pt x="501824" y="95069"/>
                      </a:lnTo>
                      <a:lnTo>
                        <a:pt x="501824" y="162049"/>
                      </a:lnTo>
                      <a:lnTo>
                        <a:pt x="489280" y="162049"/>
                      </a:lnTo>
                      <a:lnTo>
                        <a:pt x="489280" y="2056"/>
                      </a:lnTo>
                      <a:cubicBezTo>
                        <a:pt x="492470" y="2051"/>
                        <a:pt x="496766" y="2011"/>
                        <a:pt x="502169" y="1938"/>
                      </a:cubicBezTo>
                      <a:cubicBezTo>
                        <a:pt x="507572" y="1865"/>
                        <a:pt x="512736" y="1792"/>
                        <a:pt x="517659" y="1718"/>
                      </a:cubicBezTo>
                      <a:cubicBezTo>
                        <a:pt x="522582" y="1645"/>
                        <a:pt x="525918" y="1606"/>
                        <a:pt x="527667" y="1600"/>
                      </a:cubicBezTo>
                      <a:close/>
                      <a:moveTo>
                        <a:pt x="233078" y="1600"/>
                      </a:moveTo>
                      <a:cubicBezTo>
                        <a:pt x="247747" y="1755"/>
                        <a:pt x="259238" y="4160"/>
                        <a:pt x="267550" y="8816"/>
                      </a:cubicBezTo>
                      <a:cubicBezTo>
                        <a:pt x="275862" y="13472"/>
                        <a:pt x="281710" y="19449"/>
                        <a:pt x="285093" y="26748"/>
                      </a:cubicBezTo>
                      <a:cubicBezTo>
                        <a:pt x="288476" y="34047"/>
                        <a:pt x="290107" y="41737"/>
                        <a:pt x="289989" y="49820"/>
                      </a:cubicBezTo>
                      <a:cubicBezTo>
                        <a:pt x="290023" y="58271"/>
                        <a:pt x="288052" y="66191"/>
                        <a:pt x="284077" y="73578"/>
                      </a:cubicBezTo>
                      <a:cubicBezTo>
                        <a:pt x="280101" y="80966"/>
                        <a:pt x="273915" y="86969"/>
                        <a:pt x="265518" y="91586"/>
                      </a:cubicBezTo>
                      <a:cubicBezTo>
                        <a:pt x="257121" y="96204"/>
                        <a:pt x="246308" y="98584"/>
                        <a:pt x="233078" y="98727"/>
                      </a:cubicBezTo>
                      <a:cubicBezTo>
                        <a:pt x="229243" y="98731"/>
                        <a:pt x="225021" y="98665"/>
                        <a:pt x="220414" y="98527"/>
                      </a:cubicBezTo>
                      <a:cubicBezTo>
                        <a:pt x="215807" y="98389"/>
                        <a:pt x="211185" y="98152"/>
                        <a:pt x="206550" y="97814"/>
                      </a:cubicBezTo>
                      <a:lnTo>
                        <a:pt x="206550" y="162049"/>
                      </a:lnTo>
                      <a:lnTo>
                        <a:pt x="194005" y="162049"/>
                      </a:lnTo>
                      <a:lnTo>
                        <a:pt x="194005" y="2056"/>
                      </a:lnTo>
                      <a:cubicBezTo>
                        <a:pt x="197118" y="2051"/>
                        <a:pt x="201135" y="2011"/>
                        <a:pt x="206056" y="1938"/>
                      </a:cubicBezTo>
                      <a:cubicBezTo>
                        <a:pt x="210976" y="1865"/>
                        <a:pt x="215911" y="1792"/>
                        <a:pt x="220859" y="1718"/>
                      </a:cubicBezTo>
                      <a:cubicBezTo>
                        <a:pt x="225808" y="1645"/>
                        <a:pt x="229881" y="1606"/>
                        <a:pt x="233078" y="1600"/>
                      </a:cubicBezTo>
                      <a:close/>
                      <a:moveTo>
                        <a:pt x="376490" y="686"/>
                      </a:moveTo>
                      <a:lnTo>
                        <a:pt x="386777" y="686"/>
                      </a:lnTo>
                      <a:lnTo>
                        <a:pt x="456500" y="162049"/>
                      </a:lnTo>
                      <a:lnTo>
                        <a:pt x="443012" y="162049"/>
                      </a:lnTo>
                      <a:lnTo>
                        <a:pt x="419695" y="107642"/>
                      </a:lnTo>
                      <a:lnTo>
                        <a:pt x="342886" y="107642"/>
                      </a:lnTo>
                      <a:lnTo>
                        <a:pt x="319568" y="162049"/>
                      </a:lnTo>
                      <a:lnTo>
                        <a:pt x="306767" y="162049"/>
                      </a:lnTo>
                      <a:close/>
                      <a:moveTo>
                        <a:pt x="670088" y="0"/>
                      </a:moveTo>
                      <a:cubicBezTo>
                        <a:pt x="679127" y="61"/>
                        <a:pt x="687406" y="1535"/>
                        <a:pt x="694928" y="4420"/>
                      </a:cubicBezTo>
                      <a:cubicBezTo>
                        <a:pt x="702449" y="7305"/>
                        <a:pt x="708494" y="11233"/>
                        <a:pt x="713064" y="16204"/>
                      </a:cubicBezTo>
                      <a:lnTo>
                        <a:pt x="706221" y="25578"/>
                      </a:lnTo>
                      <a:cubicBezTo>
                        <a:pt x="697074" y="16432"/>
                        <a:pt x="685182" y="11859"/>
                        <a:pt x="670545" y="11859"/>
                      </a:cubicBezTo>
                      <a:cubicBezTo>
                        <a:pt x="659921" y="11973"/>
                        <a:pt x="651611" y="14545"/>
                        <a:pt x="645618" y="19576"/>
                      </a:cubicBezTo>
                      <a:cubicBezTo>
                        <a:pt x="639624" y="24606"/>
                        <a:pt x="636575" y="31408"/>
                        <a:pt x="636470" y="39983"/>
                      </a:cubicBezTo>
                      <a:cubicBezTo>
                        <a:pt x="636691" y="48763"/>
                        <a:pt x="639559" y="55567"/>
                        <a:pt x="645076" y="60394"/>
                      </a:cubicBezTo>
                      <a:cubicBezTo>
                        <a:pt x="650593" y="65222"/>
                        <a:pt x="657434" y="69168"/>
                        <a:pt x="665599" y="72234"/>
                      </a:cubicBezTo>
                      <a:cubicBezTo>
                        <a:pt x="673764" y="75300"/>
                        <a:pt x="681929" y="78581"/>
                        <a:pt x="690094" y="82077"/>
                      </a:cubicBezTo>
                      <a:cubicBezTo>
                        <a:pt x="698259" y="85573"/>
                        <a:pt x="705100" y="90379"/>
                        <a:pt x="710617" y="96496"/>
                      </a:cubicBezTo>
                      <a:cubicBezTo>
                        <a:pt x="716134" y="102613"/>
                        <a:pt x="719002" y="111137"/>
                        <a:pt x="719223" y="122066"/>
                      </a:cubicBezTo>
                      <a:cubicBezTo>
                        <a:pt x="718872" y="135022"/>
                        <a:pt x="713923" y="145229"/>
                        <a:pt x="704375" y="152689"/>
                      </a:cubicBezTo>
                      <a:cubicBezTo>
                        <a:pt x="694827" y="160149"/>
                        <a:pt x="682789" y="163955"/>
                        <a:pt x="668258" y="164106"/>
                      </a:cubicBezTo>
                      <a:cubicBezTo>
                        <a:pt x="658406" y="164045"/>
                        <a:pt x="648844" y="162001"/>
                        <a:pt x="639571" y="157974"/>
                      </a:cubicBezTo>
                      <a:cubicBezTo>
                        <a:pt x="630298" y="153947"/>
                        <a:pt x="623483" y="148303"/>
                        <a:pt x="619125" y="141044"/>
                      </a:cubicBezTo>
                      <a:lnTo>
                        <a:pt x="626661" y="132355"/>
                      </a:lnTo>
                      <a:cubicBezTo>
                        <a:pt x="631576" y="138786"/>
                        <a:pt x="637839" y="143702"/>
                        <a:pt x="645450" y="147103"/>
                      </a:cubicBezTo>
                      <a:cubicBezTo>
                        <a:pt x="653061" y="150504"/>
                        <a:pt x="660587" y="152219"/>
                        <a:pt x="668030" y="152248"/>
                      </a:cubicBezTo>
                      <a:cubicBezTo>
                        <a:pt x="678216" y="152228"/>
                        <a:pt x="687002" y="149694"/>
                        <a:pt x="694387" y="144645"/>
                      </a:cubicBezTo>
                      <a:cubicBezTo>
                        <a:pt x="701772" y="139596"/>
                        <a:pt x="705640" y="132146"/>
                        <a:pt x="705993" y="122295"/>
                      </a:cubicBezTo>
                      <a:cubicBezTo>
                        <a:pt x="705772" y="113416"/>
                        <a:pt x="702903" y="106480"/>
                        <a:pt x="697387" y="101486"/>
                      </a:cubicBezTo>
                      <a:cubicBezTo>
                        <a:pt x="691870" y="96493"/>
                        <a:pt x="685029" y="92388"/>
                        <a:pt x="676864" y="89172"/>
                      </a:cubicBezTo>
                      <a:cubicBezTo>
                        <a:pt x="668699" y="85957"/>
                        <a:pt x="660534" y="82577"/>
                        <a:pt x="652369" y="79032"/>
                      </a:cubicBezTo>
                      <a:cubicBezTo>
                        <a:pt x="644204" y="75487"/>
                        <a:pt x="637363" y="70724"/>
                        <a:pt x="631846" y="64742"/>
                      </a:cubicBezTo>
                      <a:cubicBezTo>
                        <a:pt x="626329" y="58761"/>
                        <a:pt x="623460" y="50508"/>
                        <a:pt x="623240" y="39983"/>
                      </a:cubicBezTo>
                      <a:cubicBezTo>
                        <a:pt x="623334" y="28514"/>
                        <a:pt x="627425" y="19049"/>
                        <a:pt x="635515" y="11589"/>
                      </a:cubicBezTo>
                      <a:cubicBezTo>
                        <a:pt x="643605" y="4128"/>
                        <a:pt x="655129" y="265"/>
                        <a:pt x="670088" y="0"/>
                      </a:cubicBezTo>
                      <a:close/>
                      <a:moveTo>
                        <a:pt x="80224" y="0"/>
                      </a:moveTo>
                      <a:cubicBezTo>
                        <a:pt x="95539" y="128"/>
                        <a:pt x="109213" y="3679"/>
                        <a:pt x="121246" y="10654"/>
                      </a:cubicBezTo>
                      <a:cubicBezTo>
                        <a:pt x="133279" y="17628"/>
                        <a:pt x="142784" y="27258"/>
                        <a:pt x="149761" y="39542"/>
                      </a:cubicBezTo>
                      <a:cubicBezTo>
                        <a:pt x="156738" y="51826"/>
                        <a:pt x="160301" y="65996"/>
                        <a:pt x="160449" y="82053"/>
                      </a:cubicBezTo>
                      <a:cubicBezTo>
                        <a:pt x="160301" y="97894"/>
                        <a:pt x="156738" y="111963"/>
                        <a:pt x="149761" y="124260"/>
                      </a:cubicBezTo>
                      <a:cubicBezTo>
                        <a:pt x="142784" y="136557"/>
                        <a:pt x="133279" y="146237"/>
                        <a:pt x="121246" y="153300"/>
                      </a:cubicBezTo>
                      <a:cubicBezTo>
                        <a:pt x="109213" y="160363"/>
                        <a:pt x="95539" y="163965"/>
                        <a:pt x="80224" y="164106"/>
                      </a:cubicBezTo>
                      <a:cubicBezTo>
                        <a:pt x="64909" y="163978"/>
                        <a:pt x="51236" y="160427"/>
                        <a:pt x="39203" y="153453"/>
                      </a:cubicBezTo>
                      <a:cubicBezTo>
                        <a:pt x="27170" y="146478"/>
                        <a:pt x="17665" y="136849"/>
                        <a:pt x="10687" y="124565"/>
                      </a:cubicBezTo>
                      <a:cubicBezTo>
                        <a:pt x="3710" y="112281"/>
                        <a:pt x="148" y="98110"/>
                        <a:pt x="0" y="82053"/>
                      </a:cubicBezTo>
                      <a:cubicBezTo>
                        <a:pt x="135" y="66428"/>
                        <a:pt x="3647" y="52461"/>
                        <a:pt x="10535" y="40151"/>
                      </a:cubicBezTo>
                      <a:cubicBezTo>
                        <a:pt x="17423" y="27842"/>
                        <a:pt x="26878" y="18111"/>
                        <a:pt x="38898" y="10959"/>
                      </a:cubicBezTo>
                      <a:cubicBezTo>
                        <a:pt x="50918" y="3806"/>
                        <a:pt x="64693" y="153"/>
                        <a:pt x="80224" y="0"/>
                      </a:cubicBezTo>
                      <a:close/>
                    </a:path>
                  </a:pathLst>
                </a:custGeom>
                <a:solidFill>
                  <a:srgbClr val="4A452A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UA" dirty="0">
                    <a:latin typeface="Circe Light" panose="020B0402020203020203" pitchFamily="34" charset="-52"/>
                  </a:endParaRPr>
                </a:p>
              </p:txBody>
            </p:sp>
          </p:grpSp>
          <p:grpSp>
            <p:nvGrpSpPr>
              <p:cNvPr id="516" name="Групувати 515">
                <a:extLst>
                  <a:ext uri="{FF2B5EF4-FFF2-40B4-BE49-F238E27FC236}">
                    <a16:creationId xmlns:a16="http://schemas.microsoft.com/office/drawing/2014/main" id="{22A4C620-31A0-BD77-9319-E20EFFF65B30}"/>
                  </a:ext>
                </a:extLst>
              </p:cNvPr>
              <p:cNvGrpSpPr/>
              <p:nvPr/>
            </p:nvGrpSpPr>
            <p:grpSpPr>
              <a:xfrm>
                <a:off x="1269994" y="1542958"/>
                <a:ext cx="8342991" cy="4780674"/>
                <a:chOff x="1269994" y="1542958"/>
                <a:chExt cx="8342991" cy="4780674"/>
              </a:xfrm>
            </p:grpSpPr>
            <p:sp>
              <p:nvSpPr>
                <p:cNvPr id="503" name="TextBox 502">
                  <a:extLst>
                    <a:ext uri="{FF2B5EF4-FFF2-40B4-BE49-F238E27FC236}">
                      <a16:creationId xmlns:a16="http://schemas.microsoft.com/office/drawing/2014/main" id="{01FE4488-9DE2-B3B4-8EB3-8589F544F667}"/>
                    </a:ext>
                  </a:extLst>
                </p:cNvPr>
                <p:cNvSpPr txBox="1"/>
                <p:nvPr/>
              </p:nvSpPr>
              <p:spPr>
                <a:xfrm>
                  <a:off x="3057271" y="4423525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 300</a:t>
                  </a:r>
                </a:p>
              </p:txBody>
            </p:sp>
            <p:sp>
              <p:nvSpPr>
                <p:cNvPr id="504" name="TextBox 503">
                  <a:extLst>
                    <a:ext uri="{FF2B5EF4-FFF2-40B4-BE49-F238E27FC236}">
                      <a16:creationId xmlns:a16="http://schemas.microsoft.com/office/drawing/2014/main" id="{B8F72D0D-587B-3843-351A-FEA69D5E6B94}"/>
                    </a:ext>
                  </a:extLst>
                </p:cNvPr>
                <p:cNvSpPr txBox="1"/>
                <p:nvPr/>
              </p:nvSpPr>
              <p:spPr>
                <a:xfrm>
                  <a:off x="1269994" y="4387097"/>
                  <a:ext cx="913672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7 050</a:t>
                  </a:r>
                </a:p>
              </p:txBody>
            </p:sp>
            <p:sp>
              <p:nvSpPr>
                <p:cNvPr id="505" name="TextBox 504">
                  <a:extLst>
                    <a:ext uri="{FF2B5EF4-FFF2-40B4-BE49-F238E27FC236}">
                      <a16:creationId xmlns:a16="http://schemas.microsoft.com/office/drawing/2014/main" id="{AB3C0E32-9ACB-2FBF-5C42-47663045AB04}"/>
                    </a:ext>
                  </a:extLst>
                </p:cNvPr>
                <p:cNvSpPr txBox="1"/>
                <p:nvPr/>
              </p:nvSpPr>
              <p:spPr>
                <a:xfrm>
                  <a:off x="5200680" y="2653150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 500</a:t>
                  </a:r>
                </a:p>
              </p:txBody>
            </p:sp>
            <p:sp>
              <p:nvSpPr>
                <p:cNvPr id="506" name="TextBox 505">
                  <a:extLst>
                    <a:ext uri="{FF2B5EF4-FFF2-40B4-BE49-F238E27FC236}">
                      <a16:creationId xmlns:a16="http://schemas.microsoft.com/office/drawing/2014/main" id="{43D8D4B4-8D51-3037-53E7-44A24987541B}"/>
                    </a:ext>
                  </a:extLst>
                </p:cNvPr>
                <p:cNvSpPr txBox="1"/>
                <p:nvPr/>
              </p:nvSpPr>
              <p:spPr>
                <a:xfrm>
                  <a:off x="3838884" y="3700586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 150</a:t>
                  </a:r>
                </a:p>
              </p:txBody>
            </p:sp>
            <p:sp>
              <p:nvSpPr>
                <p:cNvPr id="507" name="TextBox 506">
                  <a:extLst>
                    <a:ext uri="{FF2B5EF4-FFF2-40B4-BE49-F238E27FC236}">
                      <a16:creationId xmlns:a16="http://schemas.microsoft.com/office/drawing/2014/main" id="{0C87874B-699B-D39C-5EDB-B266DF7CF311}"/>
                    </a:ext>
                  </a:extLst>
                </p:cNvPr>
                <p:cNvSpPr txBox="1"/>
                <p:nvPr/>
              </p:nvSpPr>
              <p:spPr>
                <a:xfrm>
                  <a:off x="6315072" y="6015855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 230</a:t>
                  </a:r>
                </a:p>
              </p:txBody>
            </p:sp>
            <p:sp>
              <p:nvSpPr>
                <p:cNvPr id="508" name="TextBox 507">
                  <a:extLst>
                    <a:ext uri="{FF2B5EF4-FFF2-40B4-BE49-F238E27FC236}">
                      <a16:creationId xmlns:a16="http://schemas.microsoft.com/office/drawing/2014/main" id="{4CE63BAA-39E0-6C84-D757-CAD6F6D98115}"/>
                    </a:ext>
                  </a:extLst>
                </p:cNvPr>
                <p:cNvSpPr txBox="1"/>
                <p:nvPr/>
              </p:nvSpPr>
              <p:spPr>
                <a:xfrm>
                  <a:off x="6943684" y="3921069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700</a:t>
                  </a:r>
                </a:p>
              </p:txBody>
            </p:sp>
            <p:sp>
              <p:nvSpPr>
                <p:cNvPr id="509" name="TextBox 508">
                  <a:extLst>
                    <a:ext uri="{FF2B5EF4-FFF2-40B4-BE49-F238E27FC236}">
                      <a16:creationId xmlns:a16="http://schemas.microsoft.com/office/drawing/2014/main" id="{55ED150F-563B-B576-5763-A6CD211C3CFC}"/>
                    </a:ext>
                  </a:extLst>
                </p:cNvPr>
                <p:cNvSpPr txBox="1"/>
                <p:nvPr/>
              </p:nvSpPr>
              <p:spPr>
                <a:xfrm>
                  <a:off x="8219273" y="2820316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420</a:t>
                  </a:r>
                </a:p>
              </p:txBody>
            </p:sp>
            <p:sp>
              <p:nvSpPr>
                <p:cNvPr id="510" name="TextBox 509">
                  <a:extLst>
                    <a:ext uri="{FF2B5EF4-FFF2-40B4-BE49-F238E27FC236}">
                      <a16:creationId xmlns:a16="http://schemas.microsoft.com/office/drawing/2014/main" id="{9E0D039C-56D7-7C22-EE19-4B53CA9744F5}"/>
                    </a:ext>
                  </a:extLst>
                </p:cNvPr>
                <p:cNvSpPr txBox="1"/>
                <p:nvPr/>
              </p:nvSpPr>
              <p:spPr>
                <a:xfrm>
                  <a:off x="8895935" y="3549866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400</a:t>
                  </a:r>
                </a:p>
              </p:txBody>
            </p:sp>
            <p:sp>
              <p:nvSpPr>
                <p:cNvPr id="511" name="TextBox 510">
                  <a:extLst>
                    <a:ext uri="{FF2B5EF4-FFF2-40B4-BE49-F238E27FC236}">
                      <a16:creationId xmlns:a16="http://schemas.microsoft.com/office/drawing/2014/main" id="{EEEB3358-67D6-D677-E987-0CD41A5EFF1D}"/>
                    </a:ext>
                  </a:extLst>
                </p:cNvPr>
                <p:cNvSpPr txBox="1"/>
                <p:nvPr/>
              </p:nvSpPr>
              <p:spPr>
                <a:xfrm>
                  <a:off x="6118252" y="3544377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 000</a:t>
                  </a:r>
                </a:p>
              </p:txBody>
            </p:sp>
            <p:sp>
              <p:nvSpPr>
                <p:cNvPr id="512" name="TextBox 511">
                  <a:extLst>
                    <a:ext uri="{FF2B5EF4-FFF2-40B4-BE49-F238E27FC236}">
                      <a16:creationId xmlns:a16="http://schemas.microsoft.com/office/drawing/2014/main" id="{FF82EFD8-8921-C99E-ED1E-9BE1AC246CC8}"/>
                    </a:ext>
                  </a:extLst>
                </p:cNvPr>
                <p:cNvSpPr txBox="1"/>
                <p:nvPr/>
              </p:nvSpPr>
              <p:spPr>
                <a:xfrm>
                  <a:off x="6112428" y="1772144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 300</a:t>
                  </a:r>
                </a:p>
              </p:txBody>
            </p:sp>
            <p:sp>
              <p:nvSpPr>
                <p:cNvPr id="513" name="TextBox 512">
                  <a:extLst>
                    <a:ext uri="{FF2B5EF4-FFF2-40B4-BE49-F238E27FC236}">
                      <a16:creationId xmlns:a16="http://schemas.microsoft.com/office/drawing/2014/main" id="{9D63F749-3588-70C4-5B89-FE7D28F4A81D}"/>
                    </a:ext>
                  </a:extLst>
                </p:cNvPr>
                <p:cNvSpPr txBox="1"/>
                <p:nvPr/>
              </p:nvSpPr>
              <p:spPr>
                <a:xfrm>
                  <a:off x="4501078" y="1542958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310</a:t>
                  </a:r>
                </a:p>
              </p:txBody>
            </p:sp>
            <p:sp>
              <p:nvSpPr>
                <p:cNvPr id="514" name="TextBox 513">
                  <a:extLst>
                    <a:ext uri="{FF2B5EF4-FFF2-40B4-BE49-F238E27FC236}">
                      <a16:creationId xmlns:a16="http://schemas.microsoft.com/office/drawing/2014/main" id="{F5B138F6-F019-29C1-EAA2-08084DD5E144}"/>
                    </a:ext>
                  </a:extLst>
                </p:cNvPr>
                <p:cNvSpPr txBox="1"/>
                <p:nvPr/>
              </p:nvSpPr>
              <p:spPr>
                <a:xfrm>
                  <a:off x="3886831" y="2300104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 920</a:t>
                  </a:r>
                </a:p>
              </p:txBody>
            </p:sp>
            <p:sp>
              <p:nvSpPr>
                <p:cNvPr id="515" name="TextBox 514">
                  <a:extLst>
                    <a:ext uri="{FF2B5EF4-FFF2-40B4-BE49-F238E27FC236}">
                      <a16:creationId xmlns:a16="http://schemas.microsoft.com/office/drawing/2014/main" id="{D502529E-F580-24CD-ED1D-D18A491B67F0}"/>
                    </a:ext>
                  </a:extLst>
                </p:cNvPr>
                <p:cNvSpPr txBox="1"/>
                <p:nvPr/>
              </p:nvSpPr>
              <p:spPr>
                <a:xfrm>
                  <a:off x="2839210" y="2844631"/>
                  <a:ext cx="717050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uk-UA" sz="1400" dirty="0">
                      <a:solidFill>
                        <a:srgbClr val="2F5479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 900</a:t>
                  </a:r>
                </a:p>
              </p:txBody>
            </p:sp>
          </p:grpSp>
        </p:grpSp>
        <p:grpSp>
          <p:nvGrpSpPr>
            <p:cNvPr id="518" name="Групувати 517">
              <a:extLst>
                <a:ext uri="{FF2B5EF4-FFF2-40B4-BE49-F238E27FC236}">
                  <a16:creationId xmlns:a16="http://schemas.microsoft.com/office/drawing/2014/main" id="{AD9BEA5E-FF92-4667-B6AF-D7CCD4E4D509}"/>
                </a:ext>
              </a:extLst>
            </p:cNvPr>
            <p:cNvGrpSpPr/>
            <p:nvPr/>
          </p:nvGrpSpPr>
          <p:grpSpPr>
            <a:xfrm>
              <a:off x="10555747" y="104129"/>
              <a:ext cx="1405132" cy="300056"/>
              <a:chOff x="8944864" y="1776832"/>
              <a:chExt cx="1022457" cy="221924"/>
            </a:xfrm>
          </p:grpSpPr>
          <p:sp>
            <p:nvSpPr>
              <p:cNvPr id="519" name="TextBox 518">
                <a:extLst>
                  <a:ext uri="{FF2B5EF4-FFF2-40B4-BE49-F238E27FC236}">
                    <a16:creationId xmlns:a16="http://schemas.microsoft.com/office/drawing/2014/main" id="{210CE187-A845-C613-AFCB-69E6B9C6F653}"/>
                  </a:ext>
                </a:extLst>
              </p:cNvPr>
              <p:cNvSpPr txBox="1"/>
              <p:nvPr/>
            </p:nvSpPr>
            <p:spPr>
              <a:xfrm>
                <a:off x="9569202" y="1795187"/>
                <a:ext cx="97196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97196" h="96262">
                    <a:moveTo>
                      <a:pt x="48531" y="0"/>
                    </a:moveTo>
                    <a:cubicBezTo>
                      <a:pt x="57866" y="55"/>
                      <a:pt x="66182" y="2061"/>
                      <a:pt x="73479" y="6016"/>
                    </a:cubicBezTo>
                    <a:cubicBezTo>
                      <a:pt x="80775" y="9972"/>
                      <a:pt x="86530" y="15542"/>
                      <a:pt x="90744" y="22729"/>
                    </a:cubicBezTo>
                    <a:cubicBezTo>
                      <a:pt x="94958" y="29915"/>
                      <a:pt x="97109" y="38382"/>
                      <a:pt x="97196" y="48130"/>
                    </a:cubicBezTo>
                    <a:cubicBezTo>
                      <a:pt x="97109" y="57543"/>
                      <a:pt x="94958" y="65852"/>
                      <a:pt x="90744" y="73058"/>
                    </a:cubicBezTo>
                    <a:cubicBezTo>
                      <a:pt x="86530" y="80264"/>
                      <a:pt x="80775" y="85914"/>
                      <a:pt x="73479" y="90008"/>
                    </a:cubicBezTo>
                    <a:cubicBezTo>
                      <a:pt x="66182" y="94102"/>
                      <a:pt x="57866" y="96186"/>
                      <a:pt x="48531" y="96262"/>
                    </a:cubicBezTo>
                    <a:cubicBezTo>
                      <a:pt x="39198" y="96206"/>
                      <a:pt x="30894" y="94200"/>
                      <a:pt x="23618" y="90245"/>
                    </a:cubicBezTo>
                    <a:cubicBezTo>
                      <a:pt x="16343" y="86290"/>
                      <a:pt x="10610" y="80719"/>
                      <a:pt x="6417" y="73532"/>
                    </a:cubicBezTo>
                    <a:cubicBezTo>
                      <a:pt x="2225" y="66346"/>
                      <a:pt x="86" y="57879"/>
                      <a:pt x="0" y="48130"/>
                    </a:cubicBezTo>
                    <a:cubicBezTo>
                      <a:pt x="68" y="39012"/>
                      <a:pt x="2138" y="30841"/>
                      <a:pt x="6210" y="23618"/>
                    </a:cubicBezTo>
                    <a:cubicBezTo>
                      <a:pt x="10281" y="16395"/>
                      <a:pt x="15946" y="10676"/>
                      <a:pt x="23203" y="6461"/>
                    </a:cubicBezTo>
                    <a:cubicBezTo>
                      <a:pt x="30461" y="2246"/>
                      <a:pt x="38904" y="92"/>
                      <a:pt x="48531" y="0"/>
                    </a:cubicBezTo>
                    <a:close/>
                    <a:moveTo>
                      <a:pt x="48531" y="15318"/>
                    </a:moveTo>
                    <a:cubicBezTo>
                      <a:pt x="39411" y="15477"/>
                      <a:pt x="31975" y="18528"/>
                      <a:pt x="26223" y="24472"/>
                    </a:cubicBezTo>
                    <a:cubicBezTo>
                      <a:pt x="20470" y="30415"/>
                      <a:pt x="17503" y="38302"/>
                      <a:pt x="17319" y="48130"/>
                    </a:cubicBezTo>
                    <a:cubicBezTo>
                      <a:pt x="17528" y="57667"/>
                      <a:pt x="20545" y="65470"/>
                      <a:pt x="26373" y="71539"/>
                    </a:cubicBezTo>
                    <a:cubicBezTo>
                      <a:pt x="32200" y="77608"/>
                      <a:pt x="39586" y="80743"/>
                      <a:pt x="48531" y="80943"/>
                    </a:cubicBezTo>
                    <a:cubicBezTo>
                      <a:pt x="58415" y="80726"/>
                      <a:pt x="66091" y="77558"/>
                      <a:pt x="71557" y="71439"/>
                    </a:cubicBezTo>
                    <a:cubicBezTo>
                      <a:pt x="77023" y="65320"/>
                      <a:pt x="79796" y="57551"/>
                      <a:pt x="79877" y="48130"/>
                    </a:cubicBezTo>
                    <a:cubicBezTo>
                      <a:pt x="79671" y="38302"/>
                      <a:pt x="76648" y="30415"/>
                      <a:pt x="70807" y="24472"/>
                    </a:cubicBezTo>
                    <a:cubicBezTo>
                      <a:pt x="64965" y="18528"/>
                      <a:pt x="57540" y="15477"/>
                      <a:pt x="48531" y="1531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520" name="TextBox 519">
                <a:extLst>
                  <a:ext uri="{FF2B5EF4-FFF2-40B4-BE49-F238E27FC236}">
                    <a16:creationId xmlns:a16="http://schemas.microsoft.com/office/drawing/2014/main" id="{55891583-D874-5DEA-AC1C-57A872C73BD3}"/>
                  </a:ext>
                </a:extLst>
              </p:cNvPr>
              <p:cNvSpPr txBox="1"/>
              <p:nvPr/>
            </p:nvSpPr>
            <p:spPr>
              <a:xfrm>
                <a:off x="9683502" y="1795187"/>
                <a:ext cx="83594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83594" h="96262">
                    <a:moveTo>
                      <a:pt x="46532" y="0"/>
                    </a:moveTo>
                    <a:cubicBezTo>
                      <a:pt x="53144" y="19"/>
                      <a:pt x="58862" y="846"/>
                      <a:pt x="63688" y="2481"/>
                    </a:cubicBezTo>
                    <a:cubicBezTo>
                      <a:pt x="68514" y="4115"/>
                      <a:pt x="72796" y="6441"/>
                      <a:pt x="76534" y="9457"/>
                    </a:cubicBezTo>
                    <a:lnTo>
                      <a:pt x="69608" y="22523"/>
                    </a:lnTo>
                    <a:cubicBezTo>
                      <a:pt x="67196" y="20297"/>
                      <a:pt x="64117" y="18546"/>
                      <a:pt x="60371" y="17270"/>
                    </a:cubicBezTo>
                    <a:cubicBezTo>
                      <a:pt x="56625" y="15994"/>
                      <a:pt x="52679" y="15343"/>
                      <a:pt x="48533" y="15318"/>
                    </a:cubicBezTo>
                    <a:cubicBezTo>
                      <a:pt x="39354" y="15385"/>
                      <a:pt x="31901" y="18253"/>
                      <a:pt x="26173" y="23923"/>
                    </a:cubicBezTo>
                    <a:cubicBezTo>
                      <a:pt x="20446" y="29593"/>
                      <a:pt x="17494" y="37664"/>
                      <a:pt x="17319" y="48135"/>
                    </a:cubicBezTo>
                    <a:cubicBezTo>
                      <a:pt x="17453" y="58192"/>
                      <a:pt x="20354" y="66143"/>
                      <a:pt x="26023" y="71988"/>
                    </a:cubicBezTo>
                    <a:cubicBezTo>
                      <a:pt x="31692" y="77832"/>
                      <a:pt x="39329" y="80817"/>
                      <a:pt x="48933" y="80943"/>
                    </a:cubicBezTo>
                    <a:cubicBezTo>
                      <a:pt x="52674" y="80885"/>
                      <a:pt x="56364" y="80234"/>
                      <a:pt x="60005" y="78991"/>
                    </a:cubicBezTo>
                    <a:cubicBezTo>
                      <a:pt x="63645" y="77748"/>
                      <a:pt x="66402" y="76264"/>
                      <a:pt x="68276" y="74537"/>
                    </a:cubicBezTo>
                    <a:lnTo>
                      <a:pt x="68276" y="59857"/>
                    </a:lnTo>
                    <a:lnTo>
                      <a:pt x="45732" y="59857"/>
                    </a:lnTo>
                    <a:lnTo>
                      <a:pt x="45732" y="44539"/>
                    </a:lnTo>
                    <a:lnTo>
                      <a:pt x="83594" y="44539"/>
                    </a:lnTo>
                    <a:lnTo>
                      <a:pt x="83594" y="83208"/>
                    </a:lnTo>
                    <a:cubicBezTo>
                      <a:pt x="79251" y="87365"/>
                      <a:pt x="73848" y="90573"/>
                      <a:pt x="67385" y="92832"/>
                    </a:cubicBezTo>
                    <a:cubicBezTo>
                      <a:pt x="60922" y="95091"/>
                      <a:pt x="54683" y="96234"/>
                      <a:pt x="48666" y="96262"/>
                    </a:cubicBezTo>
                    <a:cubicBezTo>
                      <a:pt x="33274" y="96073"/>
                      <a:pt x="21345" y="91686"/>
                      <a:pt x="12878" y="83100"/>
                    </a:cubicBezTo>
                    <a:cubicBezTo>
                      <a:pt x="4412" y="74514"/>
                      <a:pt x="119" y="62859"/>
                      <a:pt x="0" y="48135"/>
                    </a:cubicBezTo>
                    <a:cubicBezTo>
                      <a:pt x="46" y="39100"/>
                      <a:pt x="1953" y="30968"/>
                      <a:pt x="5721" y="23739"/>
                    </a:cubicBezTo>
                    <a:cubicBezTo>
                      <a:pt x="9488" y="16510"/>
                      <a:pt x="14842" y="10771"/>
                      <a:pt x="21781" y="6521"/>
                    </a:cubicBezTo>
                    <a:cubicBezTo>
                      <a:pt x="28721" y="2271"/>
                      <a:pt x="36971" y="97"/>
                      <a:pt x="46532" y="0"/>
                    </a:cubicBez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521" name="TextBox 520">
                <a:extLst>
                  <a:ext uri="{FF2B5EF4-FFF2-40B4-BE49-F238E27FC236}">
                    <a16:creationId xmlns:a16="http://schemas.microsoft.com/office/drawing/2014/main" id="{B772C15C-B276-9A01-AB9C-3318E8A71E84}"/>
                  </a:ext>
                </a:extLst>
              </p:cNvPr>
              <p:cNvSpPr txBox="1"/>
              <p:nvPr/>
            </p:nvSpPr>
            <p:spPr>
              <a:xfrm>
                <a:off x="92879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522" name="TextBox 521">
                <a:extLst>
                  <a:ext uri="{FF2B5EF4-FFF2-40B4-BE49-F238E27FC236}">
                    <a16:creationId xmlns:a16="http://schemas.microsoft.com/office/drawing/2014/main" id="{E0B6335C-B46B-07E5-25AE-6242326449D9}"/>
                  </a:ext>
                </a:extLst>
              </p:cNvPr>
              <p:cNvSpPr txBox="1"/>
              <p:nvPr/>
            </p:nvSpPr>
            <p:spPr>
              <a:xfrm>
                <a:off x="97832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523" name="TextBox 522">
                <a:extLst>
                  <a:ext uri="{FF2B5EF4-FFF2-40B4-BE49-F238E27FC236}">
                    <a16:creationId xmlns:a16="http://schemas.microsoft.com/office/drawing/2014/main" id="{0701F618-6DB3-11B6-A47B-85CF1553E26A}"/>
                  </a:ext>
                </a:extLst>
              </p:cNvPr>
              <p:cNvSpPr txBox="1"/>
              <p:nvPr/>
            </p:nvSpPr>
            <p:spPr>
              <a:xfrm>
                <a:off x="9185612" y="1796788"/>
                <a:ext cx="797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9726" h="93195">
                    <a:moveTo>
                      <a:pt x="0" y="0"/>
                    </a:moveTo>
                    <a:lnTo>
                      <a:pt x="13054" y="0"/>
                    </a:lnTo>
                    <a:lnTo>
                      <a:pt x="64408" y="64837"/>
                    </a:lnTo>
                    <a:lnTo>
                      <a:pt x="64408" y="0"/>
                    </a:lnTo>
                    <a:lnTo>
                      <a:pt x="79726" y="0"/>
                    </a:lnTo>
                    <a:lnTo>
                      <a:pt x="79726" y="93195"/>
                    </a:lnTo>
                    <a:lnTo>
                      <a:pt x="66672" y="93195"/>
                    </a:lnTo>
                    <a:lnTo>
                      <a:pt x="15318" y="28624"/>
                    </a:lnTo>
                    <a:lnTo>
                      <a:pt x="15318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524" name="TextBox 523">
                <a:extLst>
                  <a:ext uri="{FF2B5EF4-FFF2-40B4-BE49-F238E27FC236}">
                    <a16:creationId xmlns:a16="http://schemas.microsoft.com/office/drawing/2014/main" id="{0236964C-42D1-F759-B8EE-70BB1FDA9A74}"/>
                  </a:ext>
                </a:extLst>
              </p:cNvPr>
              <p:cNvSpPr txBox="1"/>
              <p:nvPr/>
            </p:nvSpPr>
            <p:spPr>
              <a:xfrm>
                <a:off x="9404688" y="1796788"/>
                <a:ext cx="5332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53323" h="93195">
                    <a:moveTo>
                      <a:pt x="0" y="0"/>
                    </a:moveTo>
                    <a:lnTo>
                      <a:pt x="53323" y="0"/>
                    </a:lnTo>
                    <a:lnTo>
                      <a:pt x="53323" y="15318"/>
                    </a:lnTo>
                    <a:lnTo>
                      <a:pt x="16385" y="15318"/>
                    </a:lnTo>
                    <a:lnTo>
                      <a:pt x="16385" y="41605"/>
                    </a:lnTo>
                    <a:lnTo>
                      <a:pt x="49322" y="41605"/>
                    </a:lnTo>
                    <a:lnTo>
                      <a:pt x="49322" y="56924"/>
                    </a:lnTo>
                    <a:lnTo>
                      <a:pt x="16385" y="56924"/>
                    </a:lnTo>
                    <a:lnTo>
                      <a:pt x="16385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525" name="TextBox 524">
                <a:extLst>
                  <a:ext uri="{FF2B5EF4-FFF2-40B4-BE49-F238E27FC236}">
                    <a16:creationId xmlns:a16="http://schemas.microsoft.com/office/drawing/2014/main" id="{825577F7-90A5-AD76-B45B-5D8D59CFD1B2}"/>
                  </a:ext>
                </a:extLst>
              </p:cNvPr>
              <p:cNvSpPr txBox="1"/>
              <p:nvPr/>
            </p:nvSpPr>
            <p:spPr>
              <a:xfrm>
                <a:off x="9478810" y="1796788"/>
                <a:ext cx="769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6926" h="93195">
                    <a:moveTo>
                      <a:pt x="0" y="0"/>
                    </a:moveTo>
                    <a:lnTo>
                      <a:pt x="76926" y="0"/>
                    </a:lnTo>
                    <a:lnTo>
                      <a:pt x="76926" y="15318"/>
                    </a:lnTo>
                    <a:lnTo>
                      <a:pt x="46656" y="15318"/>
                    </a:lnTo>
                    <a:lnTo>
                      <a:pt x="46656" y="93195"/>
                    </a:lnTo>
                    <a:lnTo>
                      <a:pt x="30270" y="93195"/>
                    </a:lnTo>
                    <a:lnTo>
                      <a:pt x="30270" y="15318"/>
                    </a:lnTo>
                    <a:lnTo>
                      <a:pt x="0" y="153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526" name="TextBox 525">
                <a:extLst>
                  <a:ext uri="{FF2B5EF4-FFF2-40B4-BE49-F238E27FC236}">
                    <a16:creationId xmlns:a16="http://schemas.microsoft.com/office/drawing/2014/main" id="{17C83985-25D1-0C6D-DB81-F5C09E06B633}"/>
                  </a:ext>
                </a:extLst>
              </p:cNvPr>
              <p:cNvSpPr txBox="1"/>
              <p:nvPr/>
            </p:nvSpPr>
            <p:spPr>
              <a:xfrm>
                <a:off x="9892378" y="1796788"/>
                <a:ext cx="7494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4943" h="93195">
                    <a:moveTo>
                      <a:pt x="2667" y="0"/>
                    </a:moveTo>
                    <a:lnTo>
                      <a:pt x="73609" y="0"/>
                    </a:lnTo>
                    <a:lnTo>
                      <a:pt x="73609" y="11322"/>
                    </a:lnTo>
                    <a:lnTo>
                      <a:pt x="21870" y="77876"/>
                    </a:lnTo>
                    <a:lnTo>
                      <a:pt x="74943" y="77876"/>
                    </a:lnTo>
                    <a:lnTo>
                      <a:pt x="74943" y="93195"/>
                    </a:lnTo>
                    <a:lnTo>
                      <a:pt x="0" y="93195"/>
                    </a:lnTo>
                    <a:lnTo>
                      <a:pt x="0" y="82006"/>
                    </a:lnTo>
                    <a:lnTo>
                      <a:pt x="51607" y="15318"/>
                    </a:lnTo>
                    <a:lnTo>
                      <a:pt x="2667" y="15318"/>
                    </a:lnTo>
                    <a:lnTo>
                      <a:pt x="2667" y="0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527" name="Freeform 218">
                <a:extLst>
                  <a:ext uri="{FF2B5EF4-FFF2-40B4-BE49-F238E27FC236}">
                    <a16:creationId xmlns:a16="http://schemas.microsoft.com/office/drawing/2014/main" id="{F8AC3AB3-1FB7-D40B-8793-22203AF7B95B}"/>
                  </a:ext>
                </a:extLst>
              </p:cNvPr>
              <p:cNvSpPr/>
              <p:nvPr/>
            </p:nvSpPr>
            <p:spPr>
              <a:xfrm>
                <a:off x="9064800" y="1991655"/>
                <a:ext cx="4609" cy="1336"/>
              </a:xfrm>
              <a:custGeom>
                <a:avLst/>
                <a:gdLst/>
                <a:ahLst/>
                <a:cxnLst/>
                <a:rect l="0" t="0" r="0" b="0"/>
                <a:pathLst>
                  <a:path w="13665" h="3962">
                    <a:moveTo>
                      <a:pt x="0" y="3962"/>
                    </a:moveTo>
                    <a:cubicBezTo>
                      <a:pt x="4610" y="2731"/>
                      <a:pt x="9169" y="1626"/>
                      <a:pt x="13665" y="0"/>
                    </a:cubicBezTo>
                    <a:cubicBezTo>
                      <a:pt x="8978" y="1384"/>
                      <a:pt x="4508" y="2731"/>
                      <a:pt x="0" y="3962"/>
                    </a:cubicBezTo>
                  </a:path>
                </a:pathLst>
              </a:custGeom>
              <a:solidFill>
                <a:srgbClr val="000000">
                  <a:alpha val="100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pic>
            <p:nvPicPr>
              <p:cNvPr id="528" name="Picture 219">
                <a:extLst>
                  <a:ext uri="{FF2B5EF4-FFF2-40B4-BE49-F238E27FC236}">
                    <a16:creationId xmlns:a16="http://schemas.microsoft.com/office/drawing/2014/main" id="{23781940-7965-4650-D6D9-F2520EA101EB}"/>
                  </a:ext>
                </a:extLst>
              </p:cNvPr>
              <p:cNvPicPr/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058175" y="1988501"/>
                <a:ext cx="15518" cy="10255"/>
              </a:xfrm>
              <a:prstGeom prst="rect">
                <a:avLst/>
              </a:prstGeom>
              <a:noFill/>
            </p:spPr>
          </p:pic>
          <p:grpSp>
            <p:nvGrpSpPr>
              <p:cNvPr id="529" name="Групувати 528">
                <a:extLst>
                  <a:ext uri="{FF2B5EF4-FFF2-40B4-BE49-F238E27FC236}">
                    <a16:creationId xmlns:a16="http://schemas.microsoft.com/office/drawing/2014/main" id="{3E4F3D06-EBFB-6C63-A1C5-9698A9C97A12}"/>
                  </a:ext>
                </a:extLst>
              </p:cNvPr>
              <p:cNvGrpSpPr/>
              <p:nvPr/>
            </p:nvGrpSpPr>
            <p:grpSpPr>
              <a:xfrm>
                <a:off x="8944864" y="1776832"/>
                <a:ext cx="207633" cy="206717"/>
                <a:chOff x="5192198" y="3302281"/>
                <a:chExt cx="207633" cy="206717"/>
              </a:xfrm>
            </p:grpSpPr>
            <p:sp>
              <p:nvSpPr>
                <p:cNvPr id="543" name="Freeform 220">
                  <a:extLst>
                    <a:ext uri="{FF2B5EF4-FFF2-40B4-BE49-F238E27FC236}">
                      <a16:creationId xmlns:a16="http://schemas.microsoft.com/office/drawing/2014/main" id="{9D427E5E-B7F4-BB41-EA70-D95819E99F50}"/>
                    </a:ext>
                  </a:extLst>
                </p:cNvPr>
                <p:cNvSpPr/>
                <p:nvPr/>
              </p:nvSpPr>
              <p:spPr>
                <a:xfrm>
                  <a:off x="5309209" y="3316368"/>
                  <a:ext cx="90622" cy="1786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8693" h="529665">
                      <a:moveTo>
                        <a:pt x="249186" y="162356"/>
                      </a:moveTo>
                      <a:cubicBezTo>
                        <a:pt x="249490" y="162482"/>
                        <a:pt x="249770" y="162521"/>
                        <a:pt x="250049" y="162724"/>
                      </a:cubicBezTo>
                      <a:cubicBezTo>
                        <a:pt x="233972" y="106400"/>
                        <a:pt x="199834" y="59042"/>
                        <a:pt x="150126" y="24841"/>
                      </a:cubicBezTo>
                      <a:cubicBezTo>
                        <a:pt x="127165" y="9055"/>
                        <a:pt x="100622" y="0"/>
                        <a:pt x="77356" y="0"/>
                      </a:cubicBezTo>
                      <a:cubicBezTo>
                        <a:pt x="63970" y="0"/>
                        <a:pt x="51701" y="2844"/>
                        <a:pt x="41008" y="8661"/>
                      </a:cubicBezTo>
                      <a:cubicBezTo>
                        <a:pt x="13894" y="24498"/>
                        <a:pt x="0" y="46990"/>
                        <a:pt x="0" y="75565"/>
                      </a:cubicBezTo>
                      <a:cubicBezTo>
                        <a:pt x="0" y="122174"/>
                        <a:pt x="27051" y="149669"/>
                        <a:pt x="67932" y="191324"/>
                      </a:cubicBezTo>
                      <a:cubicBezTo>
                        <a:pt x="89205" y="213003"/>
                        <a:pt x="113068" y="237336"/>
                        <a:pt x="136474" y="268591"/>
                      </a:cubicBezTo>
                      <a:cubicBezTo>
                        <a:pt x="174879" y="319785"/>
                        <a:pt x="184366" y="391375"/>
                        <a:pt x="161239" y="455687"/>
                      </a:cubicBezTo>
                      <a:cubicBezTo>
                        <a:pt x="151143" y="483754"/>
                        <a:pt x="135737" y="508431"/>
                        <a:pt x="115798" y="528992"/>
                      </a:cubicBezTo>
                      <a:cubicBezTo>
                        <a:pt x="115519" y="529068"/>
                        <a:pt x="115468" y="529462"/>
                        <a:pt x="115214" y="529665"/>
                      </a:cubicBezTo>
                      <a:cubicBezTo>
                        <a:pt x="163931" y="502233"/>
                        <a:pt x="200685" y="463269"/>
                        <a:pt x="223342" y="414768"/>
                      </a:cubicBezTo>
                      <a:cubicBezTo>
                        <a:pt x="268693" y="317359"/>
                        <a:pt x="235026" y="249795"/>
                        <a:pt x="214922" y="209384"/>
                      </a:cubicBezTo>
                      <a:cubicBezTo>
                        <a:pt x="204610" y="188670"/>
                        <a:pt x="197193" y="173531"/>
                        <a:pt x="204711" y="162191"/>
                      </a:cubicBezTo>
                      <a:cubicBezTo>
                        <a:pt x="213411" y="149098"/>
                        <a:pt x="229451" y="148463"/>
                        <a:pt x="249186" y="162356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  <p:sp>
              <p:nvSpPr>
                <p:cNvPr id="544" name="Freeform 221">
                  <a:extLst>
                    <a:ext uri="{FF2B5EF4-FFF2-40B4-BE49-F238E27FC236}">
                      <a16:creationId xmlns:a16="http://schemas.microsoft.com/office/drawing/2014/main" id="{B339E90B-603E-A3DF-E46A-123743495953}"/>
                    </a:ext>
                  </a:extLst>
                </p:cNvPr>
                <p:cNvSpPr/>
                <p:nvPr/>
              </p:nvSpPr>
              <p:spPr>
                <a:xfrm>
                  <a:off x="5192198" y="3326401"/>
                  <a:ext cx="131219" cy="1799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9064" h="533476">
                      <a:moveTo>
                        <a:pt x="374561" y="363639"/>
                      </a:moveTo>
                      <a:cubicBezTo>
                        <a:pt x="345733" y="318936"/>
                        <a:pt x="304800" y="303162"/>
                        <a:pt x="261519" y="286563"/>
                      </a:cubicBezTo>
                      <a:cubicBezTo>
                        <a:pt x="219050" y="270142"/>
                        <a:pt x="175095" y="253251"/>
                        <a:pt x="137757" y="209398"/>
                      </a:cubicBezTo>
                      <a:cubicBezTo>
                        <a:pt x="101156" y="166739"/>
                        <a:pt x="85764" y="111430"/>
                        <a:pt x="94044" y="53988"/>
                      </a:cubicBezTo>
                      <a:cubicBezTo>
                        <a:pt x="96635" y="36322"/>
                        <a:pt x="101651" y="19495"/>
                        <a:pt x="108243" y="3988"/>
                      </a:cubicBezTo>
                      <a:cubicBezTo>
                        <a:pt x="108509" y="3214"/>
                        <a:pt x="108801" y="2451"/>
                        <a:pt x="108827" y="2439"/>
                      </a:cubicBezTo>
                      <a:cubicBezTo>
                        <a:pt x="109182" y="1486"/>
                        <a:pt x="109386" y="788"/>
                        <a:pt x="109703" y="0"/>
                      </a:cubicBezTo>
                      <a:cubicBezTo>
                        <a:pt x="104902" y="3988"/>
                        <a:pt x="100559" y="8408"/>
                        <a:pt x="96063" y="12675"/>
                      </a:cubicBezTo>
                      <a:cubicBezTo>
                        <a:pt x="96139" y="12599"/>
                        <a:pt x="96241" y="12535"/>
                        <a:pt x="96330" y="12459"/>
                      </a:cubicBezTo>
                      <a:cubicBezTo>
                        <a:pt x="96241" y="12535"/>
                        <a:pt x="96139" y="12612"/>
                        <a:pt x="96063" y="12688"/>
                      </a:cubicBezTo>
                      <a:cubicBezTo>
                        <a:pt x="35345" y="69977"/>
                        <a:pt x="0" y="149556"/>
                        <a:pt x="0" y="234925"/>
                      </a:cubicBezTo>
                      <a:cubicBezTo>
                        <a:pt x="0" y="369468"/>
                        <a:pt x="90031" y="490258"/>
                        <a:pt x="218974" y="528586"/>
                      </a:cubicBezTo>
                      <a:cubicBezTo>
                        <a:pt x="231445" y="531837"/>
                        <a:pt x="244221" y="533476"/>
                        <a:pt x="256972" y="533476"/>
                      </a:cubicBezTo>
                      <a:cubicBezTo>
                        <a:pt x="300482" y="533476"/>
                        <a:pt x="339344" y="514349"/>
                        <a:pt x="363881" y="480910"/>
                      </a:cubicBezTo>
                      <a:cubicBezTo>
                        <a:pt x="376135" y="464070"/>
                        <a:pt x="383044" y="444995"/>
                        <a:pt x="385800" y="426034"/>
                      </a:cubicBezTo>
                      <a:cubicBezTo>
                        <a:pt x="389064" y="403453"/>
                        <a:pt x="385838" y="381190"/>
                        <a:pt x="374561" y="363639"/>
                      </a:cubicBezTo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 dirty="0"/>
                </a:p>
              </p:txBody>
            </p:sp>
            <p:sp>
              <p:nvSpPr>
                <p:cNvPr id="545" name="Freeform 222">
                  <a:extLst>
                    <a:ext uri="{FF2B5EF4-FFF2-40B4-BE49-F238E27FC236}">
                      <a16:creationId xmlns:a16="http://schemas.microsoft.com/office/drawing/2014/main" id="{70FFBFCF-C8F1-2059-183D-F29905482F35}"/>
                    </a:ext>
                  </a:extLst>
                </p:cNvPr>
                <p:cNvSpPr/>
                <p:nvPr/>
              </p:nvSpPr>
              <p:spPr>
                <a:xfrm>
                  <a:off x="5231948" y="3302281"/>
                  <a:ext cx="129163" cy="20671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2967" h="612914">
                      <a:moveTo>
                        <a:pt x="342366" y="327609"/>
                      </a:moveTo>
                      <a:cubicBezTo>
                        <a:pt x="320078" y="297904"/>
                        <a:pt x="296850" y="274142"/>
                        <a:pt x="276352" y="253340"/>
                      </a:cubicBezTo>
                      <a:cubicBezTo>
                        <a:pt x="233743" y="209868"/>
                        <a:pt x="200215" y="175692"/>
                        <a:pt x="200215" y="117323"/>
                      </a:cubicBezTo>
                      <a:cubicBezTo>
                        <a:pt x="200215" y="57811"/>
                        <a:pt x="243726" y="25121"/>
                        <a:pt x="284543" y="15316"/>
                      </a:cubicBezTo>
                      <a:cubicBezTo>
                        <a:pt x="282499" y="14656"/>
                        <a:pt x="280162" y="14313"/>
                        <a:pt x="278054" y="13742"/>
                      </a:cubicBezTo>
                      <a:cubicBezTo>
                        <a:pt x="249555" y="5157"/>
                        <a:pt x="218605" y="0"/>
                        <a:pt x="188531" y="0"/>
                      </a:cubicBezTo>
                      <a:cubicBezTo>
                        <a:pt x="138582" y="0"/>
                        <a:pt x="99174" y="10275"/>
                        <a:pt x="60719" y="33389"/>
                      </a:cubicBezTo>
                      <a:cubicBezTo>
                        <a:pt x="32842" y="50127"/>
                        <a:pt x="10960" y="87922"/>
                        <a:pt x="4864" y="129718"/>
                      </a:cubicBezTo>
                      <a:cubicBezTo>
                        <a:pt x="686" y="158141"/>
                        <a:pt x="0" y="213157"/>
                        <a:pt x="41846" y="262065"/>
                      </a:cubicBezTo>
                      <a:cubicBezTo>
                        <a:pt x="74536" y="300393"/>
                        <a:pt x="114948" y="316002"/>
                        <a:pt x="153987" y="331038"/>
                      </a:cubicBezTo>
                      <a:cubicBezTo>
                        <a:pt x="199809" y="348652"/>
                        <a:pt x="247002" y="366953"/>
                        <a:pt x="280975" y="419442"/>
                      </a:cubicBezTo>
                      <a:cubicBezTo>
                        <a:pt x="304025" y="455091"/>
                        <a:pt x="303886" y="505104"/>
                        <a:pt x="282499" y="547801"/>
                      </a:cubicBezTo>
                      <a:cubicBezTo>
                        <a:pt x="281102" y="550659"/>
                        <a:pt x="279552" y="553415"/>
                        <a:pt x="277952" y="556132"/>
                      </a:cubicBezTo>
                      <a:cubicBezTo>
                        <a:pt x="277520" y="556932"/>
                        <a:pt x="277038" y="557745"/>
                        <a:pt x="276581" y="558545"/>
                      </a:cubicBezTo>
                      <a:cubicBezTo>
                        <a:pt x="259715" y="585304"/>
                        <a:pt x="231902" y="606069"/>
                        <a:pt x="204165" y="612914"/>
                      </a:cubicBezTo>
                      <a:cubicBezTo>
                        <a:pt x="219011" y="610793"/>
                        <a:pt x="233401" y="607555"/>
                        <a:pt x="247307" y="602856"/>
                      </a:cubicBezTo>
                      <a:cubicBezTo>
                        <a:pt x="248679" y="602462"/>
                        <a:pt x="250038" y="602043"/>
                        <a:pt x="251435" y="601649"/>
                      </a:cubicBezTo>
                      <a:cubicBezTo>
                        <a:pt x="253213" y="601001"/>
                        <a:pt x="254864" y="600100"/>
                        <a:pt x="256603" y="599427"/>
                      </a:cubicBezTo>
                      <a:cubicBezTo>
                        <a:pt x="259804" y="598157"/>
                        <a:pt x="262979" y="596823"/>
                        <a:pt x="266103" y="595375"/>
                      </a:cubicBezTo>
                      <a:cubicBezTo>
                        <a:pt x="268084" y="594448"/>
                        <a:pt x="270091" y="593559"/>
                        <a:pt x="272110" y="592505"/>
                      </a:cubicBezTo>
                      <a:cubicBezTo>
                        <a:pt x="276936" y="590092"/>
                        <a:pt x="281686" y="587336"/>
                        <a:pt x="286334" y="584453"/>
                      </a:cubicBezTo>
                      <a:cubicBezTo>
                        <a:pt x="287007" y="584022"/>
                        <a:pt x="287642" y="583590"/>
                        <a:pt x="288252" y="583183"/>
                      </a:cubicBezTo>
                      <a:cubicBezTo>
                        <a:pt x="293408" y="579894"/>
                        <a:pt x="298386" y="576198"/>
                        <a:pt x="303301" y="572274"/>
                      </a:cubicBezTo>
                      <a:cubicBezTo>
                        <a:pt x="303695" y="571944"/>
                        <a:pt x="304101" y="571601"/>
                        <a:pt x="304495" y="571296"/>
                      </a:cubicBezTo>
                      <a:cubicBezTo>
                        <a:pt x="308991" y="567575"/>
                        <a:pt x="313398" y="563587"/>
                        <a:pt x="317716" y="559282"/>
                      </a:cubicBezTo>
                      <a:cubicBezTo>
                        <a:pt x="318795" y="558139"/>
                        <a:pt x="319900" y="556932"/>
                        <a:pt x="321018" y="555789"/>
                      </a:cubicBezTo>
                      <a:cubicBezTo>
                        <a:pt x="323939" y="552703"/>
                        <a:pt x="326796" y="549477"/>
                        <a:pt x="329565" y="546087"/>
                      </a:cubicBezTo>
                      <a:cubicBezTo>
                        <a:pt x="331787" y="543470"/>
                        <a:pt x="333832" y="540753"/>
                        <a:pt x="335877" y="538022"/>
                      </a:cubicBezTo>
                      <a:cubicBezTo>
                        <a:pt x="338036" y="535114"/>
                        <a:pt x="340182" y="532091"/>
                        <a:pt x="342265" y="529005"/>
                      </a:cubicBezTo>
                      <a:cubicBezTo>
                        <a:pt x="343255" y="527494"/>
                        <a:pt x="344283" y="526046"/>
                        <a:pt x="345210" y="524535"/>
                      </a:cubicBezTo>
                      <a:cubicBezTo>
                        <a:pt x="345502" y="524141"/>
                        <a:pt x="345782" y="523709"/>
                        <a:pt x="346087" y="523239"/>
                      </a:cubicBezTo>
                      <a:lnTo>
                        <a:pt x="346036" y="523062"/>
                      </a:lnTo>
                      <a:cubicBezTo>
                        <a:pt x="352792" y="511949"/>
                        <a:pt x="358609" y="500176"/>
                        <a:pt x="363092" y="487616"/>
                      </a:cubicBezTo>
                      <a:cubicBezTo>
                        <a:pt x="382967" y="432472"/>
                        <a:pt x="374992" y="371144"/>
                        <a:pt x="342366" y="327609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</p:grpSp>
          <p:grpSp>
            <p:nvGrpSpPr>
              <p:cNvPr id="530" name="Групувати 529">
                <a:extLst>
                  <a:ext uri="{FF2B5EF4-FFF2-40B4-BE49-F238E27FC236}">
                    <a16:creationId xmlns:a16="http://schemas.microsoft.com/office/drawing/2014/main" id="{5D906B96-39D8-602F-4750-1D4281D9FD8E}"/>
                  </a:ext>
                </a:extLst>
              </p:cNvPr>
              <p:cNvGrpSpPr/>
              <p:nvPr/>
            </p:nvGrpSpPr>
            <p:grpSpPr>
              <a:xfrm>
                <a:off x="9192478" y="1930875"/>
                <a:ext cx="575419" cy="50379"/>
                <a:chOff x="4220435" y="3738620"/>
                <a:chExt cx="575419" cy="50379"/>
              </a:xfrm>
            </p:grpSpPr>
            <p:sp>
              <p:nvSpPr>
                <p:cNvPr id="531" name="TextBox 530">
                  <a:extLst>
                    <a:ext uri="{FF2B5EF4-FFF2-40B4-BE49-F238E27FC236}">
                      <a16:creationId xmlns:a16="http://schemas.microsoft.com/office/drawing/2014/main" id="{1C204240-6215-095D-516B-E61E190BB598}"/>
                    </a:ext>
                  </a:extLst>
                </p:cNvPr>
                <p:cNvSpPr txBox="1"/>
                <p:nvPr/>
              </p:nvSpPr>
              <p:spPr>
                <a:xfrm>
                  <a:off x="4600817" y="3741001"/>
                  <a:ext cx="29929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929" h="47998">
                      <a:moveTo>
                        <a:pt x="15198" y="0"/>
                      </a:moveTo>
                      <a:cubicBezTo>
                        <a:pt x="17931" y="19"/>
                        <a:pt x="20418" y="463"/>
                        <a:pt x="22659" y="1331"/>
                      </a:cubicBezTo>
                      <a:cubicBezTo>
                        <a:pt x="24899" y="2200"/>
                        <a:pt x="26701" y="3376"/>
                        <a:pt x="28065" y="4860"/>
                      </a:cubicBezTo>
                      <a:lnTo>
                        <a:pt x="25002" y="9127"/>
                      </a:lnTo>
                      <a:cubicBezTo>
                        <a:pt x="23783" y="7889"/>
                        <a:pt x="22405" y="6947"/>
                        <a:pt x="20868" y="6301"/>
                      </a:cubicBezTo>
                      <a:cubicBezTo>
                        <a:pt x="19331" y="5655"/>
                        <a:pt x="17552" y="5330"/>
                        <a:pt x="15531" y="5326"/>
                      </a:cubicBezTo>
                      <a:cubicBezTo>
                        <a:pt x="12905" y="5353"/>
                        <a:pt x="10853" y="5981"/>
                        <a:pt x="9377" y="7210"/>
                      </a:cubicBezTo>
                      <a:cubicBezTo>
                        <a:pt x="7902" y="8438"/>
                        <a:pt x="7151" y="10099"/>
                        <a:pt x="7126" y="12195"/>
                      </a:cubicBezTo>
                      <a:cubicBezTo>
                        <a:pt x="7187" y="14454"/>
                        <a:pt x="7977" y="16223"/>
                        <a:pt x="9498" y="17502"/>
                      </a:cubicBezTo>
                      <a:cubicBezTo>
                        <a:pt x="11018" y="18780"/>
                        <a:pt x="12903" y="19858"/>
                        <a:pt x="15153" y="20734"/>
                      </a:cubicBezTo>
                      <a:cubicBezTo>
                        <a:pt x="17403" y="21611"/>
                        <a:pt x="19652" y="22575"/>
                        <a:pt x="21902" y="23627"/>
                      </a:cubicBezTo>
                      <a:cubicBezTo>
                        <a:pt x="24152" y="24680"/>
                        <a:pt x="26037" y="26110"/>
                        <a:pt x="27557" y="27916"/>
                      </a:cubicBezTo>
                      <a:cubicBezTo>
                        <a:pt x="29078" y="29723"/>
                        <a:pt x="29868" y="32197"/>
                        <a:pt x="29929" y="35336"/>
                      </a:cubicBezTo>
                      <a:cubicBezTo>
                        <a:pt x="29825" y="39219"/>
                        <a:pt x="28351" y="42288"/>
                        <a:pt x="25507" y="44543"/>
                      </a:cubicBezTo>
                      <a:cubicBezTo>
                        <a:pt x="22663" y="46798"/>
                        <a:pt x="19071" y="47949"/>
                        <a:pt x="14731" y="47998"/>
                      </a:cubicBezTo>
                      <a:cubicBezTo>
                        <a:pt x="11753" y="47981"/>
                        <a:pt x="8872" y="47365"/>
                        <a:pt x="6089" y="46150"/>
                      </a:cubicBezTo>
                      <a:cubicBezTo>
                        <a:pt x="3305" y="44935"/>
                        <a:pt x="1276" y="43220"/>
                        <a:pt x="0" y="41005"/>
                      </a:cubicBezTo>
                      <a:lnTo>
                        <a:pt x="3264" y="37137"/>
                      </a:lnTo>
                      <a:cubicBezTo>
                        <a:pt x="4693" y="38943"/>
                        <a:pt x="6465" y="40316"/>
                        <a:pt x="8579" y="41255"/>
                      </a:cubicBezTo>
                      <a:cubicBezTo>
                        <a:pt x="10693" y="42194"/>
                        <a:pt x="12766" y="42666"/>
                        <a:pt x="14798" y="42672"/>
                      </a:cubicBezTo>
                      <a:cubicBezTo>
                        <a:pt x="17309" y="42665"/>
                        <a:pt x="19441" y="42045"/>
                        <a:pt x="21193" y="40813"/>
                      </a:cubicBezTo>
                      <a:cubicBezTo>
                        <a:pt x="22946" y="39581"/>
                        <a:pt x="23860" y="37777"/>
                        <a:pt x="23936" y="35403"/>
                      </a:cubicBezTo>
                      <a:cubicBezTo>
                        <a:pt x="23876" y="33168"/>
                        <a:pt x="23085" y="31398"/>
                        <a:pt x="21565" y="30095"/>
                      </a:cubicBezTo>
                      <a:cubicBezTo>
                        <a:pt x="20045" y="28792"/>
                        <a:pt x="18160" y="27681"/>
                        <a:pt x="15910" y="26763"/>
                      </a:cubicBezTo>
                      <a:cubicBezTo>
                        <a:pt x="13660" y="25844"/>
                        <a:pt x="11410" y="24845"/>
                        <a:pt x="9160" y="23763"/>
                      </a:cubicBezTo>
                      <a:cubicBezTo>
                        <a:pt x="6910" y="22682"/>
                        <a:pt x="5025" y="21246"/>
                        <a:pt x="3505" y="19455"/>
                      </a:cubicBezTo>
                      <a:cubicBezTo>
                        <a:pt x="1985" y="17663"/>
                        <a:pt x="1194" y="15243"/>
                        <a:pt x="1134" y="12195"/>
                      </a:cubicBezTo>
                      <a:cubicBezTo>
                        <a:pt x="1165" y="8740"/>
                        <a:pt x="2400" y="5865"/>
                        <a:pt x="4839" y="3571"/>
                      </a:cubicBezTo>
                      <a:cubicBezTo>
                        <a:pt x="7278" y="1278"/>
                        <a:pt x="10731" y="87"/>
                        <a:pt x="15198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2" name="TextBox 531">
                  <a:extLst>
                    <a:ext uri="{FF2B5EF4-FFF2-40B4-BE49-F238E27FC236}">
                      <a16:creationId xmlns:a16="http://schemas.microsoft.com/office/drawing/2014/main" id="{B98D2F6A-3726-3B64-9A28-B74535B4304B}"/>
                    </a:ext>
                  </a:extLst>
                </p:cNvPr>
                <p:cNvSpPr txBox="1"/>
                <p:nvPr/>
              </p:nvSpPr>
              <p:spPr>
                <a:xfrm>
                  <a:off x="4646060" y="3741001"/>
                  <a:ext cx="41130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30" h="47998">
                      <a:moveTo>
                        <a:pt x="22933" y="0"/>
                      </a:moveTo>
                      <a:cubicBezTo>
                        <a:pt x="26078" y="1"/>
                        <a:pt x="28840" y="381"/>
                        <a:pt x="31219" y="1140"/>
                      </a:cubicBezTo>
                      <a:cubicBezTo>
                        <a:pt x="33597" y="1899"/>
                        <a:pt x="35725" y="3028"/>
                        <a:pt x="37602" y="4527"/>
                      </a:cubicBezTo>
                      <a:lnTo>
                        <a:pt x="35138" y="9061"/>
                      </a:lnTo>
                      <a:cubicBezTo>
                        <a:pt x="33740" y="7826"/>
                        <a:pt x="32033" y="6895"/>
                        <a:pt x="30019" y="6268"/>
                      </a:cubicBezTo>
                      <a:cubicBezTo>
                        <a:pt x="28004" y="5641"/>
                        <a:pt x="25864" y="5327"/>
                        <a:pt x="23600" y="5326"/>
                      </a:cubicBezTo>
                      <a:cubicBezTo>
                        <a:pt x="18314" y="5399"/>
                        <a:pt x="14079" y="7103"/>
                        <a:pt x="10895" y="10437"/>
                      </a:cubicBezTo>
                      <a:cubicBezTo>
                        <a:pt x="7710" y="13771"/>
                        <a:pt x="6076" y="18293"/>
                        <a:pt x="5993" y="24002"/>
                      </a:cubicBezTo>
                      <a:cubicBezTo>
                        <a:pt x="6072" y="29738"/>
                        <a:pt x="7714" y="34266"/>
                        <a:pt x="10920" y="37586"/>
                      </a:cubicBezTo>
                      <a:cubicBezTo>
                        <a:pt x="14125" y="40907"/>
                        <a:pt x="18418" y="42602"/>
                        <a:pt x="23800" y="42672"/>
                      </a:cubicBezTo>
                      <a:cubicBezTo>
                        <a:pt x="26071" y="42650"/>
                        <a:pt x="28314" y="42261"/>
                        <a:pt x="30527" y="41505"/>
                      </a:cubicBezTo>
                      <a:cubicBezTo>
                        <a:pt x="32741" y="40748"/>
                        <a:pt x="34500" y="39759"/>
                        <a:pt x="35805" y="38536"/>
                      </a:cubicBezTo>
                      <a:lnTo>
                        <a:pt x="35805" y="28929"/>
                      </a:lnTo>
                      <a:lnTo>
                        <a:pt x="23199" y="28929"/>
                      </a:lnTo>
                      <a:lnTo>
                        <a:pt x="23199" y="23603"/>
                      </a:lnTo>
                      <a:lnTo>
                        <a:pt x="41130" y="23603"/>
                      </a:lnTo>
                      <a:lnTo>
                        <a:pt x="41130" y="41538"/>
                      </a:lnTo>
                      <a:cubicBezTo>
                        <a:pt x="38960" y="43614"/>
                        <a:pt x="36258" y="45207"/>
                        <a:pt x="33026" y="46316"/>
                      </a:cubicBezTo>
                      <a:cubicBezTo>
                        <a:pt x="29795" y="47426"/>
                        <a:pt x="26675" y="47987"/>
                        <a:pt x="23666" y="47998"/>
                      </a:cubicBezTo>
                      <a:cubicBezTo>
                        <a:pt x="16319" y="47906"/>
                        <a:pt x="10558" y="45724"/>
                        <a:pt x="6381" y="41450"/>
                      </a:cubicBezTo>
                      <a:cubicBezTo>
                        <a:pt x="2204" y="37176"/>
                        <a:pt x="78" y="31361"/>
                        <a:pt x="0" y="24002"/>
                      </a:cubicBezTo>
                      <a:cubicBezTo>
                        <a:pt x="25" y="19485"/>
                        <a:pt x="974" y="15425"/>
                        <a:pt x="2848" y="11821"/>
                      </a:cubicBezTo>
                      <a:cubicBezTo>
                        <a:pt x="4722" y="8217"/>
                        <a:pt x="7370" y="5358"/>
                        <a:pt x="10792" y="3244"/>
                      </a:cubicBezTo>
                      <a:cubicBezTo>
                        <a:pt x="14215" y="1129"/>
                        <a:pt x="18261" y="48"/>
                        <a:pt x="22933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3" name="TextBox 532">
                  <a:extLst>
                    <a:ext uri="{FF2B5EF4-FFF2-40B4-BE49-F238E27FC236}">
                      <a16:creationId xmlns:a16="http://schemas.microsoft.com/office/drawing/2014/main" id="{349B15F2-CBCB-D9B9-AC5E-F790BFD181FB}"/>
                    </a:ext>
                  </a:extLst>
                </p:cNvPr>
                <p:cNvSpPr txBox="1"/>
                <p:nvPr/>
              </p:nvSpPr>
              <p:spPr>
                <a:xfrm>
                  <a:off x="4479416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70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70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7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4" name="TextBox 533">
                  <a:extLst>
                    <a:ext uri="{FF2B5EF4-FFF2-40B4-BE49-F238E27FC236}">
                      <a16:creationId xmlns:a16="http://schemas.microsoft.com/office/drawing/2014/main" id="{81E64A50-30AE-5CF1-10CE-60DBCF7AC869}"/>
                    </a:ext>
                  </a:extLst>
                </p:cNvPr>
                <p:cNvSpPr txBox="1"/>
                <p:nvPr/>
              </p:nvSpPr>
              <p:spPr>
                <a:xfrm>
                  <a:off x="4700872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69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69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8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5" name="TextBox 534">
                  <a:extLst>
                    <a:ext uri="{FF2B5EF4-FFF2-40B4-BE49-F238E27FC236}">
                      <a16:creationId xmlns:a16="http://schemas.microsoft.com/office/drawing/2014/main" id="{70778148-D324-8B5A-CEB3-EBB259100866}"/>
                    </a:ext>
                  </a:extLst>
                </p:cNvPr>
                <p:cNvSpPr txBox="1"/>
                <p:nvPr/>
              </p:nvSpPr>
              <p:spPr>
                <a:xfrm>
                  <a:off x="4330639" y="3738620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60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9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6" name="TextBox 535">
                  <a:extLst>
                    <a:ext uri="{FF2B5EF4-FFF2-40B4-BE49-F238E27FC236}">
                      <a16:creationId xmlns:a16="http://schemas.microsoft.com/office/drawing/2014/main" id="{C9067EEB-7CA8-7D1E-5749-A74B38C7C7FA}"/>
                    </a:ext>
                  </a:extLst>
                </p:cNvPr>
                <p:cNvSpPr txBox="1"/>
                <p:nvPr/>
              </p:nvSpPr>
              <p:spPr>
                <a:xfrm>
                  <a:off x="4428271" y="3741001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59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8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7" name="TextBox 536">
                  <a:extLst>
                    <a:ext uri="{FF2B5EF4-FFF2-40B4-BE49-F238E27FC236}">
                      <a16:creationId xmlns:a16="http://schemas.microsoft.com/office/drawing/2014/main" id="{8FA2DB28-79D5-06F0-A54B-B6701F19E5AD}"/>
                    </a:ext>
                  </a:extLst>
                </p:cNvPr>
                <p:cNvSpPr txBox="1"/>
                <p:nvPr/>
              </p:nvSpPr>
              <p:spPr>
                <a:xfrm>
                  <a:off x="4220435" y="3738620"/>
                  <a:ext cx="37396" cy="4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396" h="472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25670"/>
                      </a:lnTo>
                      <a:cubicBezTo>
                        <a:pt x="5682" y="30781"/>
                        <a:pt x="6869" y="34760"/>
                        <a:pt x="9219" y="37604"/>
                      </a:cubicBezTo>
                      <a:cubicBezTo>
                        <a:pt x="11568" y="40449"/>
                        <a:pt x="14939" y="41894"/>
                        <a:pt x="19331" y="41938"/>
                      </a:cubicBezTo>
                      <a:cubicBezTo>
                        <a:pt x="23204" y="41940"/>
                        <a:pt x="26230" y="40620"/>
                        <a:pt x="28410" y="37980"/>
                      </a:cubicBezTo>
                      <a:cubicBezTo>
                        <a:pt x="30591" y="35339"/>
                        <a:pt x="31699" y="31369"/>
                        <a:pt x="31737" y="26070"/>
                      </a:cubicBezTo>
                      <a:lnTo>
                        <a:pt x="31737" y="0"/>
                      </a:lnTo>
                      <a:lnTo>
                        <a:pt x="37396" y="0"/>
                      </a:lnTo>
                      <a:lnTo>
                        <a:pt x="37396" y="27203"/>
                      </a:lnTo>
                      <a:cubicBezTo>
                        <a:pt x="37349" y="31943"/>
                        <a:pt x="36495" y="35790"/>
                        <a:pt x="34832" y="38746"/>
                      </a:cubicBezTo>
                      <a:cubicBezTo>
                        <a:pt x="33169" y="41701"/>
                        <a:pt x="30976" y="43864"/>
                        <a:pt x="28254" y="45234"/>
                      </a:cubicBezTo>
                      <a:cubicBezTo>
                        <a:pt x="25531" y="46604"/>
                        <a:pt x="22557" y="47281"/>
                        <a:pt x="19331" y="47264"/>
                      </a:cubicBezTo>
                      <a:cubicBezTo>
                        <a:pt x="13624" y="47263"/>
                        <a:pt x="9001" y="45550"/>
                        <a:pt x="5464" y="42126"/>
                      </a:cubicBezTo>
                      <a:cubicBezTo>
                        <a:pt x="1926" y="38702"/>
                        <a:pt x="105" y="33572"/>
                        <a:pt x="0" y="267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8" name="TextBox 537">
                  <a:extLst>
                    <a:ext uri="{FF2B5EF4-FFF2-40B4-BE49-F238E27FC236}">
                      <a16:creationId xmlns:a16="http://schemas.microsoft.com/office/drawing/2014/main" id="{A7C35D63-F755-B6A1-AD86-358DDCFAF76A}"/>
                    </a:ext>
                  </a:extLst>
                </p:cNvPr>
                <p:cNvSpPr txBox="1"/>
                <p:nvPr/>
              </p:nvSpPr>
              <p:spPr>
                <a:xfrm>
                  <a:off x="4278251" y="3738620"/>
                  <a:ext cx="5659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9" h="466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39" name="TextBox 538">
                  <a:extLst>
                    <a:ext uri="{FF2B5EF4-FFF2-40B4-BE49-F238E27FC236}">
                      <a16:creationId xmlns:a16="http://schemas.microsoft.com/office/drawing/2014/main" id="{AA36341A-F047-C650-657F-379DCA53D9A3}"/>
                    </a:ext>
                  </a:extLst>
                </p:cNvPr>
                <p:cNvSpPr txBox="1"/>
                <p:nvPr/>
              </p:nvSpPr>
              <p:spPr>
                <a:xfrm>
                  <a:off x="4285044" y="3738620"/>
                  <a:ext cx="28403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403" h="46664">
                      <a:moveTo>
                        <a:pt x="20469" y="0"/>
                      </a:moveTo>
                      <a:lnTo>
                        <a:pt x="27337" y="0"/>
                      </a:lnTo>
                      <a:lnTo>
                        <a:pt x="6534" y="21932"/>
                      </a:lnTo>
                      <a:lnTo>
                        <a:pt x="28403" y="46664"/>
                      </a:lnTo>
                      <a:lnTo>
                        <a:pt x="21136" y="46664"/>
                      </a:lnTo>
                      <a:lnTo>
                        <a:pt x="0" y="22332"/>
                      </a:lnTo>
                      <a:lnTo>
                        <a:pt x="20469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40" name="TextBox 539">
                  <a:extLst>
                    <a:ext uri="{FF2B5EF4-FFF2-40B4-BE49-F238E27FC236}">
                      <a16:creationId xmlns:a16="http://schemas.microsoft.com/office/drawing/2014/main" id="{007E8AD0-C35D-2FE2-315B-5259709BF065}"/>
                    </a:ext>
                  </a:extLst>
                </p:cNvPr>
                <p:cNvSpPr txBox="1"/>
                <p:nvPr/>
              </p:nvSpPr>
              <p:spPr>
                <a:xfrm>
                  <a:off x="4374312" y="3741001"/>
                  <a:ext cx="38330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330" h="46664">
                      <a:moveTo>
                        <a:pt x="0" y="0"/>
                      </a:moveTo>
                      <a:lnTo>
                        <a:pt x="38330" y="0"/>
                      </a:lnTo>
                      <a:lnTo>
                        <a:pt x="38330" y="5325"/>
                      </a:lnTo>
                      <a:lnTo>
                        <a:pt x="21995" y="5325"/>
                      </a:lnTo>
                      <a:lnTo>
                        <a:pt x="21995" y="46664"/>
                      </a:lnTo>
                      <a:lnTo>
                        <a:pt x="16336" y="46664"/>
                      </a:lnTo>
                      <a:lnTo>
                        <a:pt x="16336" y="5325"/>
                      </a:lnTo>
                      <a:lnTo>
                        <a:pt x="0" y="53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41" name="TextBox 540">
                  <a:extLst>
                    <a:ext uri="{FF2B5EF4-FFF2-40B4-BE49-F238E27FC236}">
                      <a16:creationId xmlns:a16="http://schemas.microsoft.com/office/drawing/2014/main" id="{41DFEF2D-8EC3-37DE-C5CB-00893AFE6E0B}"/>
                    </a:ext>
                  </a:extLst>
                </p:cNvPr>
                <p:cNvSpPr txBox="1"/>
                <p:nvPr/>
              </p:nvSpPr>
              <p:spPr>
                <a:xfrm>
                  <a:off x="4542571" y="3741001"/>
                  <a:ext cx="38997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97" h="46664">
                      <a:moveTo>
                        <a:pt x="0" y="0"/>
                      </a:moveTo>
                      <a:lnTo>
                        <a:pt x="4527" y="0"/>
                      </a:lnTo>
                      <a:lnTo>
                        <a:pt x="33671" y="36798"/>
                      </a:lnTo>
                      <a:lnTo>
                        <a:pt x="33671" y="0"/>
                      </a:lnTo>
                      <a:lnTo>
                        <a:pt x="38997" y="0"/>
                      </a:lnTo>
                      <a:lnTo>
                        <a:pt x="38997" y="46664"/>
                      </a:lnTo>
                      <a:lnTo>
                        <a:pt x="34470" y="46664"/>
                      </a:lnTo>
                      <a:lnTo>
                        <a:pt x="5326" y="9999"/>
                      </a:lnTo>
                      <a:lnTo>
                        <a:pt x="5326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542" name="TextBox 541">
                  <a:extLst>
                    <a:ext uri="{FF2B5EF4-FFF2-40B4-BE49-F238E27FC236}">
                      <a16:creationId xmlns:a16="http://schemas.microsoft.com/office/drawing/2014/main" id="{360BC554-E520-FC5E-FBEB-A5CA34D3862F}"/>
                    </a:ext>
                  </a:extLst>
                </p:cNvPr>
                <p:cNvSpPr txBox="1"/>
                <p:nvPr/>
              </p:nvSpPr>
              <p:spPr>
                <a:xfrm>
                  <a:off x="4758121" y="3741001"/>
                  <a:ext cx="37733" cy="477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733" h="47727">
                      <a:moveTo>
                        <a:pt x="2767" y="0"/>
                      </a:moveTo>
                      <a:lnTo>
                        <a:pt x="36951" y="0"/>
                      </a:lnTo>
                      <a:lnTo>
                        <a:pt x="36951" y="5632"/>
                      </a:lnTo>
                      <a:lnTo>
                        <a:pt x="10158" y="38742"/>
                      </a:lnTo>
                      <a:lnTo>
                        <a:pt x="7260" y="42095"/>
                      </a:lnTo>
                      <a:lnTo>
                        <a:pt x="37733" y="42095"/>
                      </a:lnTo>
                      <a:lnTo>
                        <a:pt x="37733" y="47727"/>
                      </a:lnTo>
                      <a:lnTo>
                        <a:pt x="0" y="47727"/>
                      </a:lnTo>
                      <a:lnTo>
                        <a:pt x="0" y="41867"/>
                      </a:lnTo>
                      <a:lnTo>
                        <a:pt x="24450" y="11297"/>
                      </a:lnTo>
                      <a:cubicBezTo>
                        <a:pt x="26186" y="9126"/>
                        <a:pt x="27836" y="7238"/>
                        <a:pt x="29398" y="5632"/>
                      </a:cubicBezTo>
                      <a:lnTo>
                        <a:pt x="2767" y="5632"/>
                      </a:lnTo>
                      <a:lnTo>
                        <a:pt x="2767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06686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C96CF66-BFA8-CD51-8765-4A601EF1B3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559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Групувати 15">
            <a:extLst>
              <a:ext uri="{FF2B5EF4-FFF2-40B4-BE49-F238E27FC236}">
                <a16:creationId xmlns:a16="http://schemas.microsoft.com/office/drawing/2014/main" id="{1A0FA959-C981-CB03-3789-C69F4F2FA185}"/>
              </a:ext>
            </a:extLst>
          </p:cNvPr>
          <p:cNvGrpSpPr/>
          <p:nvPr/>
        </p:nvGrpSpPr>
        <p:grpSpPr>
          <a:xfrm>
            <a:off x="-17764" y="107367"/>
            <a:ext cx="12517821" cy="6724843"/>
            <a:chOff x="-8528" y="104129"/>
            <a:chExt cx="12517821" cy="6724843"/>
          </a:xfrm>
        </p:grpSpPr>
        <p:grpSp>
          <p:nvGrpSpPr>
            <p:cNvPr id="3412" name="Групувати 3411">
              <a:extLst>
                <a:ext uri="{FF2B5EF4-FFF2-40B4-BE49-F238E27FC236}">
                  <a16:creationId xmlns:a16="http://schemas.microsoft.com/office/drawing/2014/main" id="{ED1FB6D2-ABF0-E1C5-DFB1-DE040B98B57B}"/>
                </a:ext>
              </a:extLst>
            </p:cNvPr>
            <p:cNvGrpSpPr/>
            <p:nvPr/>
          </p:nvGrpSpPr>
          <p:grpSpPr>
            <a:xfrm>
              <a:off x="6852139" y="6452314"/>
              <a:ext cx="2567112" cy="376658"/>
              <a:chOff x="6924709" y="6481342"/>
              <a:chExt cx="2567112" cy="376658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BFE2C90-6BAC-AC85-5E87-2C012CD81E1C}"/>
                  </a:ext>
                </a:extLst>
              </p:cNvPr>
              <p:cNvSpPr txBox="1"/>
              <p:nvPr/>
            </p:nvSpPr>
            <p:spPr>
              <a:xfrm>
                <a:off x="7267659" y="6536862"/>
                <a:ext cx="222416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uk-UA"/>
                </a:defPPr>
                <a:lvl1pPr>
                  <a:defRPr sz="1600" b="0" i="0" u="none" strike="noStrike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cs typeface="Calibri Light" panose="020F0302020204030204" pitchFamily="34" charset="0"/>
                  </a:defRPr>
                </a:lvl1pPr>
              </a:lstStyle>
              <a:p>
                <a:r>
                  <a:rPr lang="en-US" sz="1400" dirty="0"/>
                  <a:t>UA storage facilities</a:t>
                </a:r>
              </a:p>
            </p:txBody>
          </p:sp>
          <p:grpSp>
            <p:nvGrpSpPr>
              <p:cNvPr id="3128" name="Групувати 3127">
                <a:extLst>
                  <a:ext uri="{FF2B5EF4-FFF2-40B4-BE49-F238E27FC236}">
                    <a16:creationId xmlns:a16="http://schemas.microsoft.com/office/drawing/2014/main" id="{22233F62-E64C-F1F7-0C9E-6E767DA6458D}"/>
                  </a:ext>
                </a:extLst>
              </p:cNvPr>
              <p:cNvGrpSpPr/>
              <p:nvPr/>
            </p:nvGrpSpPr>
            <p:grpSpPr>
              <a:xfrm flipH="1">
                <a:off x="6924709" y="6481342"/>
                <a:ext cx="343972" cy="376658"/>
                <a:chOff x="5748464" y="6547810"/>
                <a:chExt cx="1334457" cy="1461271"/>
              </a:xfrm>
            </p:grpSpPr>
            <p:grpSp>
              <p:nvGrpSpPr>
                <p:cNvPr id="3129" name="Групувати 3128">
                  <a:extLst>
                    <a:ext uri="{FF2B5EF4-FFF2-40B4-BE49-F238E27FC236}">
                      <a16:creationId xmlns:a16="http://schemas.microsoft.com/office/drawing/2014/main" id="{12DE4EAA-6490-D1F6-80ED-D81A4D75CE7E}"/>
                    </a:ext>
                  </a:extLst>
                </p:cNvPr>
                <p:cNvGrpSpPr/>
                <p:nvPr/>
              </p:nvGrpSpPr>
              <p:grpSpPr>
                <a:xfrm>
                  <a:off x="5750989" y="6547810"/>
                  <a:ext cx="1331932" cy="1461034"/>
                  <a:chOff x="6421452" y="5208355"/>
                  <a:chExt cx="1331932" cy="1461034"/>
                </a:xfrm>
              </p:grpSpPr>
              <p:sp>
                <p:nvSpPr>
                  <p:cNvPr id="3265" name="Полілінія: фігура 3264">
                    <a:extLst>
                      <a:ext uri="{FF2B5EF4-FFF2-40B4-BE49-F238E27FC236}">
                        <a16:creationId xmlns:a16="http://schemas.microsoft.com/office/drawing/2014/main" id="{FFAC7A6F-E195-4592-9F97-F37A0B5C0AE3}"/>
                      </a:ext>
                    </a:extLst>
                  </p:cNvPr>
                  <p:cNvSpPr/>
                  <p:nvPr/>
                </p:nvSpPr>
                <p:spPr>
                  <a:xfrm>
                    <a:off x="6421452" y="5214422"/>
                    <a:ext cx="690893" cy="1454967"/>
                  </a:xfrm>
                  <a:custGeom>
                    <a:avLst/>
                    <a:gdLst>
                      <a:gd name="connsiteX0" fmla="*/ 661383 w 690893"/>
                      <a:gd name="connsiteY0" fmla="*/ 12129 h 1454967"/>
                      <a:gd name="connsiteX1" fmla="*/ 661383 w 690893"/>
                      <a:gd name="connsiteY1" fmla="*/ 1452580 h 1454967"/>
                      <a:gd name="connsiteX2" fmla="*/ 657176 w 690893"/>
                      <a:gd name="connsiteY2" fmla="*/ 1454967 h 1454967"/>
                      <a:gd name="connsiteX3" fmla="*/ 0 w 690893"/>
                      <a:gd name="connsiteY3" fmla="*/ 1080947 h 1454967"/>
                      <a:gd name="connsiteX4" fmla="*/ 0 w 690893"/>
                      <a:gd name="connsiteY4" fmla="*/ 838488 h 1454967"/>
                      <a:gd name="connsiteX5" fmla="*/ 0 w 690893"/>
                      <a:gd name="connsiteY5" fmla="*/ 621465 h 1454967"/>
                      <a:gd name="connsiteX6" fmla="*/ 0 w 690893"/>
                      <a:gd name="connsiteY6" fmla="*/ 379006 h 1454967"/>
                      <a:gd name="connsiteX7" fmla="*/ 22753 w 690893"/>
                      <a:gd name="connsiteY7" fmla="*/ 366386 h 1454967"/>
                      <a:gd name="connsiteX8" fmla="*/ 683258 w 690893"/>
                      <a:gd name="connsiteY8" fmla="*/ 0 h 1454967"/>
                      <a:gd name="connsiteX9" fmla="*/ 690893 w 690893"/>
                      <a:gd name="connsiteY9" fmla="*/ 4452 h 1454967"/>
                      <a:gd name="connsiteX10" fmla="*/ 690893 w 690893"/>
                      <a:gd name="connsiteY10" fmla="*/ 1435832 h 1454967"/>
                      <a:gd name="connsiteX11" fmla="*/ 661390 w 690893"/>
                      <a:gd name="connsiteY11" fmla="*/ 1452581 h 1454967"/>
                      <a:gd name="connsiteX12" fmla="*/ 661390 w 690893"/>
                      <a:gd name="connsiteY12" fmla="*/ 12130 h 14549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90893" h="1454967">
                        <a:moveTo>
                          <a:pt x="661383" y="12129"/>
                        </a:moveTo>
                        <a:lnTo>
                          <a:pt x="661383" y="1452580"/>
                        </a:lnTo>
                        <a:lnTo>
                          <a:pt x="657176" y="1454967"/>
                        </a:lnTo>
                        <a:lnTo>
                          <a:pt x="0" y="1080947"/>
                        </a:lnTo>
                        <a:lnTo>
                          <a:pt x="0" y="838488"/>
                        </a:lnTo>
                        <a:lnTo>
                          <a:pt x="0" y="621465"/>
                        </a:lnTo>
                        <a:lnTo>
                          <a:pt x="0" y="379006"/>
                        </a:lnTo>
                        <a:lnTo>
                          <a:pt x="22753" y="366386"/>
                        </a:lnTo>
                        <a:close/>
                        <a:moveTo>
                          <a:pt x="683258" y="0"/>
                        </a:moveTo>
                        <a:lnTo>
                          <a:pt x="690893" y="4452"/>
                        </a:lnTo>
                        <a:lnTo>
                          <a:pt x="690893" y="1435832"/>
                        </a:lnTo>
                        <a:lnTo>
                          <a:pt x="661390" y="1452581"/>
                        </a:lnTo>
                        <a:lnTo>
                          <a:pt x="661390" y="12130"/>
                        </a:lnTo>
                        <a:close/>
                      </a:path>
                    </a:pathLst>
                  </a:custGeom>
                  <a:solidFill>
                    <a:srgbClr val="D3D1D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/>
                  </a:p>
                </p:txBody>
              </p:sp>
              <p:sp>
                <p:nvSpPr>
                  <p:cNvPr id="3266" name="Полілінія: фігура 3265">
                    <a:extLst>
                      <a:ext uri="{FF2B5EF4-FFF2-40B4-BE49-F238E27FC236}">
                        <a16:creationId xmlns:a16="http://schemas.microsoft.com/office/drawing/2014/main" id="{BCA458D5-CBDA-25CD-ACD9-6DE3AB63456F}"/>
                      </a:ext>
                    </a:extLst>
                  </p:cNvPr>
                  <p:cNvSpPr/>
                  <p:nvPr/>
                </p:nvSpPr>
                <p:spPr>
                  <a:xfrm>
                    <a:off x="7112346" y="5208355"/>
                    <a:ext cx="641038" cy="1441898"/>
                  </a:xfrm>
                  <a:custGeom>
                    <a:avLst/>
                    <a:gdLst>
                      <a:gd name="connsiteX0" fmla="*/ 0 w 633895"/>
                      <a:gd name="connsiteY0" fmla="*/ 0 h 1431380"/>
                      <a:gd name="connsiteX1" fmla="*/ 611721 w 633895"/>
                      <a:gd name="connsiteY1" fmla="*/ 356641 h 1431380"/>
                      <a:gd name="connsiteX2" fmla="*/ 633895 w 633895"/>
                      <a:gd name="connsiteY2" fmla="*/ 369568 h 1431380"/>
                      <a:gd name="connsiteX3" fmla="*/ 633895 w 633895"/>
                      <a:gd name="connsiteY3" fmla="*/ 612028 h 1431380"/>
                      <a:gd name="connsiteX4" fmla="*/ 633895 w 633895"/>
                      <a:gd name="connsiteY4" fmla="*/ 829051 h 1431380"/>
                      <a:gd name="connsiteX5" fmla="*/ 633895 w 633895"/>
                      <a:gd name="connsiteY5" fmla="*/ 1071510 h 1431380"/>
                      <a:gd name="connsiteX6" fmla="*/ 0 w 633895"/>
                      <a:gd name="connsiteY6" fmla="*/ 1431380 h 1431380"/>
                      <a:gd name="connsiteX7" fmla="*/ 0 w 633895"/>
                      <a:gd name="connsiteY7" fmla="*/ 0 h 1431380"/>
                      <a:gd name="connsiteX0" fmla="*/ 0 w 641038"/>
                      <a:gd name="connsiteY0" fmla="*/ 0 h 1431380"/>
                      <a:gd name="connsiteX1" fmla="*/ 611721 w 641038"/>
                      <a:gd name="connsiteY1" fmla="*/ 356641 h 1431380"/>
                      <a:gd name="connsiteX2" fmla="*/ 641038 w 641038"/>
                      <a:gd name="connsiteY2" fmla="*/ 379024 h 1431380"/>
                      <a:gd name="connsiteX3" fmla="*/ 633895 w 641038"/>
                      <a:gd name="connsiteY3" fmla="*/ 612028 h 1431380"/>
                      <a:gd name="connsiteX4" fmla="*/ 633895 w 641038"/>
                      <a:gd name="connsiteY4" fmla="*/ 829051 h 1431380"/>
                      <a:gd name="connsiteX5" fmla="*/ 633895 w 641038"/>
                      <a:gd name="connsiteY5" fmla="*/ 1071510 h 1431380"/>
                      <a:gd name="connsiteX6" fmla="*/ 0 w 641038"/>
                      <a:gd name="connsiteY6" fmla="*/ 1431380 h 1431380"/>
                      <a:gd name="connsiteX7" fmla="*/ 0 w 641038"/>
                      <a:gd name="connsiteY7" fmla="*/ 0 h 1431380"/>
                      <a:gd name="connsiteX0" fmla="*/ 0 w 641038"/>
                      <a:gd name="connsiteY0" fmla="*/ 0 h 1431380"/>
                      <a:gd name="connsiteX1" fmla="*/ 611721 w 641038"/>
                      <a:gd name="connsiteY1" fmla="*/ 356641 h 1431380"/>
                      <a:gd name="connsiteX2" fmla="*/ 641038 w 641038"/>
                      <a:gd name="connsiteY2" fmla="*/ 379024 h 1431380"/>
                      <a:gd name="connsiteX3" fmla="*/ 633895 w 641038"/>
                      <a:gd name="connsiteY3" fmla="*/ 829051 h 1431380"/>
                      <a:gd name="connsiteX4" fmla="*/ 633895 w 641038"/>
                      <a:gd name="connsiteY4" fmla="*/ 1071510 h 1431380"/>
                      <a:gd name="connsiteX5" fmla="*/ 0 w 641038"/>
                      <a:gd name="connsiteY5" fmla="*/ 1431380 h 1431380"/>
                      <a:gd name="connsiteX6" fmla="*/ 0 w 641038"/>
                      <a:gd name="connsiteY6" fmla="*/ 0 h 1431380"/>
                      <a:gd name="connsiteX0" fmla="*/ 0 w 641038"/>
                      <a:gd name="connsiteY0" fmla="*/ 0 h 1431380"/>
                      <a:gd name="connsiteX1" fmla="*/ 611721 w 641038"/>
                      <a:gd name="connsiteY1" fmla="*/ 356641 h 1431380"/>
                      <a:gd name="connsiteX2" fmla="*/ 641038 w 641038"/>
                      <a:gd name="connsiteY2" fmla="*/ 379024 h 1431380"/>
                      <a:gd name="connsiteX3" fmla="*/ 633895 w 641038"/>
                      <a:gd name="connsiteY3" fmla="*/ 1071510 h 1431380"/>
                      <a:gd name="connsiteX4" fmla="*/ 0 w 641038"/>
                      <a:gd name="connsiteY4" fmla="*/ 1431380 h 1431380"/>
                      <a:gd name="connsiteX5" fmla="*/ 0 w 641038"/>
                      <a:gd name="connsiteY5" fmla="*/ 0 h 1431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41038" h="1431380">
                        <a:moveTo>
                          <a:pt x="0" y="0"/>
                        </a:moveTo>
                        <a:lnTo>
                          <a:pt x="611721" y="356641"/>
                        </a:lnTo>
                        <a:lnTo>
                          <a:pt x="641038" y="379024"/>
                        </a:lnTo>
                        <a:lnTo>
                          <a:pt x="633895" y="1071510"/>
                        </a:lnTo>
                        <a:lnTo>
                          <a:pt x="0" y="143138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7E6E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dirty="0"/>
                  </a:p>
                </p:txBody>
              </p:sp>
            </p:grpSp>
            <p:sp>
              <p:nvSpPr>
                <p:cNvPr id="3130" name="Полілінія: фігура 3129">
                  <a:extLst>
                    <a:ext uri="{FF2B5EF4-FFF2-40B4-BE49-F238E27FC236}">
                      <a16:creationId xmlns:a16="http://schemas.microsoft.com/office/drawing/2014/main" id="{20CD8E6A-95BB-90A0-88A8-79FC62BF5B27}"/>
                    </a:ext>
                  </a:extLst>
                </p:cNvPr>
                <p:cNvSpPr/>
                <p:nvPr/>
              </p:nvSpPr>
              <p:spPr>
                <a:xfrm>
                  <a:off x="6407080" y="6988774"/>
                  <a:ext cx="17466" cy="10371"/>
                </a:xfrm>
                <a:custGeom>
                  <a:avLst/>
                  <a:gdLst>
                    <a:gd name="connsiteX0" fmla="*/ 16890 w 17466"/>
                    <a:gd name="connsiteY0" fmla="*/ 0 h 10371"/>
                    <a:gd name="connsiteX1" fmla="*/ 17466 w 17466"/>
                    <a:gd name="connsiteY1" fmla="*/ 340 h 10371"/>
                    <a:gd name="connsiteX2" fmla="*/ 0 w 17466"/>
                    <a:gd name="connsiteY2" fmla="*/ 10371 h 10371"/>
                    <a:gd name="connsiteX3" fmla="*/ 0 w 17466"/>
                    <a:gd name="connsiteY3" fmla="*/ 9701 h 10371"/>
                    <a:gd name="connsiteX4" fmla="*/ 16890 w 17466"/>
                    <a:gd name="connsiteY4" fmla="*/ 0 h 103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466" h="10371">
                      <a:moveTo>
                        <a:pt x="16890" y="0"/>
                      </a:moveTo>
                      <a:lnTo>
                        <a:pt x="17466" y="340"/>
                      </a:lnTo>
                      <a:lnTo>
                        <a:pt x="0" y="10371"/>
                      </a:lnTo>
                      <a:lnTo>
                        <a:pt x="0" y="9701"/>
                      </a:lnTo>
                      <a:lnTo>
                        <a:pt x="1689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grpSp>
              <p:nvGrpSpPr>
                <p:cNvPr id="3131" name="Групувати 3130">
                  <a:extLst>
                    <a:ext uri="{FF2B5EF4-FFF2-40B4-BE49-F238E27FC236}">
                      <a16:creationId xmlns:a16="http://schemas.microsoft.com/office/drawing/2014/main" id="{832DD5ED-4CB2-39E5-23B6-95926BF93EB1}"/>
                    </a:ext>
                  </a:extLst>
                </p:cNvPr>
                <p:cNvGrpSpPr/>
                <p:nvPr/>
              </p:nvGrpSpPr>
              <p:grpSpPr>
                <a:xfrm>
                  <a:off x="5748464" y="6693732"/>
                  <a:ext cx="1330292" cy="1315349"/>
                  <a:chOff x="6407815" y="5355577"/>
                  <a:chExt cx="1330292" cy="1315349"/>
                </a:xfrm>
              </p:grpSpPr>
              <p:sp>
                <p:nvSpPr>
                  <p:cNvPr id="3134" name="Полілінія: фігура 3133">
                    <a:extLst>
                      <a:ext uri="{FF2B5EF4-FFF2-40B4-BE49-F238E27FC236}">
                        <a16:creationId xmlns:a16="http://schemas.microsoft.com/office/drawing/2014/main" id="{FE8549A6-D993-FFCC-2FB5-09887D062529}"/>
                      </a:ext>
                    </a:extLst>
                  </p:cNvPr>
                  <p:cNvSpPr/>
                  <p:nvPr/>
                </p:nvSpPr>
                <p:spPr>
                  <a:xfrm>
                    <a:off x="6412475" y="5355577"/>
                    <a:ext cx="1325632" cy="764210"/>
                  </a:xfrm>
                  <a:custGeom>
                    <a:avLst/>
                    <a:gdLst>
                      <a:gd name="connsiteX0" fmla="*/ 680770 w 1325634"/>
                      <a:gd name="connsiteY0" fmla="*/ 0 h 757066"/>
                      <a:gd name="connsiteX1" fmla="*/ 1325627 w 1325634"/>
                      <a:gd name="connsiteY1" fmla="*/ 380700 h 757066"/>
                      <a:gd name="connsiteX2" fmla="*/ 1325634 w 1325634"/>
                      <a:gd name="connsiteY2" fmla="*/ 381367 h 757066"/>
                      <a:gd name="connsiteX3" fmla="*/ 670979 w 1325634"/>
                      <a:gd name="connsiteY3" fmla="*/ 757066 h 757066"/>
                      <a:gd name="connsiteX4" fmla="*/ 0 w 1325634"/>
                      <a:gd name="connsiteY4" fmla="*/ 390981 h 757066"/>
                      <a:gd name="connsiteX5" fmla="*/ 680770 w 1325634"/>
                      <a:gd name="connsiteY5" fmla="*/ 0 h 757066"/>
                      <a:gd name="connsiteX0" fmla="*/ 692676 w 1325634"/>
                      <a:gd name="connsiteY0" fmla="*/ 0 h 757066"/>
                      <a:gd name="connsiteX1" fmla="*/ 1325627 w 1325634"/>
                      <a:gd name="connsiteY1" fmla="*/ 380700 h 757066"/>
                      <a:gd name="connsiteX2" fmla="*/ 1325634 w 1325634"/>
                      <a:gd name="connsiteY2" fmla="*/ 381367 h 757066"/>
                      <a:gd name="connsiteX3" fmla="*/ 670979 w 1325634"/>
                      <a:gd name="connsiteY3" fmla="*/ 757066 h 757066"/>
                      <a:gd name="connsiteX4" fmla="*/ 0 w 1325634"/>
                      <a:gd name="connsiteY4" fmla="*/ 390981 h 757066"/>
                      <a:gd name="connsiteX5" fmla="*/ 692676 w 1325634"/>
                      <a:gd name="connsiteY5" fmla="*/ 0 h 757066"/>
                      <a:gd name="connsiteX0" fmla="*/ 683151 w 1325634"/>
                      <a:gd name="connsiteY0" fmla="*/ 0 h 757066"/>
                      <a:gd name="connsiteX1" fmla="*/ 1325627 w 1325634"/>
                      <a:gd name="connsiteY1" fmla="*/ 380700 h 757066"/>
                      <a:gd name="connsiteX2" fmla="*/ 1325634 w 1325634"/>
                      <a:gd name="connsiteY2" fmla="*/ 381367 h 757066"/>
                      <a:gd name="connsiteX3" fmla="*/ 670979 w 1325634"/>
                      <a:gd name="connsiteY3" fmla="*/ 757066 h 757066"/>
                      <a:gd name="connsiteX4" fmla="*/ 0 w 1325634"/>
                      <a:gd name="connsiteY4" fmla="*/ 390981 h 757066"/>
                      <a:gd name="connsiteX5" fmla="*/ 683151 w 1325634"/>
                      <a:gd name="connsiteY5" fmla="*/ 0 h 757066"/>
                      <a:gd name="connsiteX0" fmla="*/ 687914 w 1325634"/>
                      <a:gd name="connsiteY0" fmla="*/ 0 h 764210"/>
                      <a:gd name="connsiteX1" fmla="*/ 1325627 w 1325634"/>
                      <a:gd name="connsiteY1" fmla="*/ 387844 h 764210"/>
                      <a:gd name="connsiteX2" fmla="*/ 1325634 w 1325634"/>
                      <a:gd name="connsiteY2" fmla="*/ 388511 h 764210"/>
                      <a:gd name="connsiteX3" fmla="*/ 670979 w 1325634"/>
                      <a:gd name="connsiteY3" fmla="*/ 764210 h 764210"/>
                      <a:gd name="connsiteX4" fmla="*/ 0 w 1325634"/>
                      <a:gd name="connsiteY4" fmla="*/ 398125 h 764210"/>
                      <a:gd name="connsiteX5" fmla="*/ 687914 w 1325634"/>
                      <a:gd name="connsiteY5" fmla="*/ 0 h 7642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325634" h="764210">
                        <a:moveTo>
                          <a:pt x="687914" y="0"/>
                        </a:moveTo>
                        <a:lnTo>
                          <a:pt x="1325627" y="387844"/>
                        </a:lnTo>
                        <a:cubicBezTo>
                          <a:pt x="1325629" y="388066"/>
                          <a:pt x="1325632" y="388289"/>
                          <a:pt x="1325634" y="388511"/>
                        </a:cubicBezTo>
                        <a:lnTo>
                          <a:pt x="670979" y="764210"/>
                        </a:lnTo>
                        <a:lnTo>
                          <a:pt x="0" y="398125"/>
                        </a:lnTo>
                        <a:lnTo>
                          <a:pt x="687914" y="0"/>
                        </a:lnTo>
                        <a:close/>
                      </a:path>
                    </a:pathLst>
                  </a:custGeom>
                  <a:solidFill>
                    <a:srgbClr val="B7D3ED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dirty="0"/>
                  </a:p>
                </p:txBody>
              </p:sp>
              <p:sp>
                <p:nvSpPr>
                  <p:cNvPr id="3135" name="Полілінія: фігура 3134">
                    <a:extLst>
                      <a:ext uri="{FF2B5EF4-FFF2-40B4-BE49-F238E27FC236}">
                        <a16:creationId xmlns:a16="http://schemas.microsoft.com/office/drawing/2014/main" id="{8C8198E3-F1B5-4016-C48E-AE6614E76359}"/>
                      </a:ext>
                    </a:extLst>
                  </p:cNvPr>
                  <p:cNvSpPr/>
                  <p:nvPr/>
                </p:nvSpPr>
                <p:spPr>
                  <a:xfrm>
                    <a:off x="6407815" y="5747592"/>
                    <a:ext cx="672814" cy="919411"/>
                  </a:xfrm>
                  <a:custGeom>
                    <a:avLst/>
                    <a:gdLst>
                      <a:gd name="connsiteX0" fmla="*/ 664472 w 664472"/>
                      <a:gd name="connsiteY0" fmla="*/ 0 h 982583"/>
                      <a:gd name="connsiteX1" fmla="*/ 664472 w 664472"/>
                      <a:gd name="connsiteY1" fmla="*/ 670 h 982583"/>
                      <a:gd name="connsiteX2" fmla="*/ 1168 w 664472"/>
                      <a:gd name="connsiteY2" fmla="*/ 381620 h 982583"/>
                      <a:gd name="connsiteX3" fmla="*/ 664472 w 664472"/>
                      <a:gd name="connsiteY3" fmla="*/ 743518 h 982583"/>
                      <a:gd name="connsiteX4" fmla="*/ 664472 w 664472"/>
                      <a:gd name="connsiteY4" fmla="*/ 982197 h 982583"/>
                      <a:gd name="connsiteX5" fmla="*/ 663790 w 664472"/>
                      <a:gd name="connsiteY5" fmla="*/ 982583 h 982583"/>
                      <a:gd name="connsiteX6" fmla="*/ 4717 w 664472"/>
                      <a:gd name="connsiteY6" fmla="*/ 616498 h 982583"/>
                      <a:gd name="connsiteX7" fmla="*/ 0 w 664472"/>
                      <a:gd name="connsiteY7" fmla="*/ 381620 h 982583"/>
                      <a:gd name="connsiteX8" fmla="*/ 664472 w 664472"/>
                      <a:gd name="connsiteY8" fmla="*/ 0 h 982583"/>
                      <a:gd name="connsiteX0" fmla="*/ 0 w 664472"/>
                      <a:gd name="connsiteY0" fmla="*/ 380950 h 981913"/>
                      <a:gd name="connsiteX1" fmla="*/ 664472 w 664472"/>
                      <a:gd name="connsiteY1" fmla="*/ 0 h 981913"/>
                      <a:gd name="connsiteX2" fmla="*/ 1168 w 664472"/>
                      <a:gd name="connsiteY2" fmla="*/ 380950 h 981913"/>
                      <a:gd name="connsiteX3" fmla="*/ 664472 w 664472"/>
                      <a:gd name="connsiteY3" fmla="*/ 742848 h 981913"/>
                      <a:gd name="connsiteX4" fmla="*/ 664472 w 664472"/>
                      <a:gd name="connsiteY4" fmla="*/ 981527 h 981913"/>
                      <a:gd name="connsiteX5" fmla="*/ 663790 w 664472"/>
                      <a:gd name="connsiteY5" fmla="*/ 981913 h 981913"/>
                      <a:gd name="connsiteX6" fmla="*/ 4717 w 664472"/>
                      <a:gd name="connsiteY6" fmla="*/ 615828 h 981913"/>
                      <a:gd name="connsiteX7" fmla="*/ 0 w 664472"/>
                      <a:gd name="connsiteY7" fmla="*/ 380950 h 981913"/>
                      <a:gd name="connsiteX0" fmla="*/ 0 w 664472"/>
                      <a:gd name="connsiteY0" fmla="*/ 0 h 600963"/>
                      <a:gd name="connsiteX1" fmla="*/ 1168 w 664472"/>
                      <a:gd name="connsiteY1" fmla="*/ 0 h 600963"/>
                      <a:gd name="connsiteX2" fmla="*/ 664472 w 664472"/>
                      <a:gd name="connsiteY2" fmla="*/ 361898 h 600963"/>
                      <a:gd name="connsiteX3" fmla="*/ 664472 w 664472"/>
                      <a:gd name="connsiteY3" fmla="*/ 600577 h 600963"/>
                      <a:gd name="connsiteX4" fmla="*/ 663790 w 664472"/>
                      <a:gd name="connsiteY4" fmla="*/ 600963 h 600963"/>
                      <a:gd name="connsiteX5" fmla="*/ 4717 w 664472"/>
                      <a:gd name="connsiteY5" fmla="*/ 234878 h 600963"/>
                      <a:gd name="connsiteX6" fmla="*/ 0 w 664472"/>
                      <a:gd name="connsiteY6" fmla="*/ 0 h 600963"/>
                      <a:gd name="connsiteX0" fmla="*/ 5014 w 669486"/>
                      <a:gd name="connsiteY0" fmla="*/ 0 h 600963"/>
                      <a:gd name="connsiteX1" fmla="*/ 6182 w 669486"/>
                      <a:gd name="connsiteY1" fmla="*/ 0 h 600963"/>
                      <a:gd name="connsiteX2" fmla="*/ 669486 w 669486"/>
                      <a:gd name="connsiteY2" fmla="*/ 361898 h 600963"/>
                      <a:gd name="connsiteX3" fmla="*/ 669486 w 669486"/>
                      <a:gd name="connsiteY3" fmla="*/ 600577 h 600963"/>
                      <a:gd name="connsiteX4" fmla="*/ 668804 w 669486"/>
                      <a:gd name="connsiteY4" fmla="*/ 600963 h 600963"/>
                      <a:gd name="connsiteX5" fmla="*/ 206 w 669486"/>
                      <a:gd name="connsiteY5" fmla="*/ 234878 h 600963"/>
                      <a:gd name="connsiteX6" fmla="*/ 5014 w 669486"/>
                      <a:gd name="connsiteY6" fmla="*/ 0 h 600963"/>
                      <a:gd name="connsiteX0" fmla="*/ 5014 w 669486"/>
                      <a:gd name="connsiteY0" fmla="*/ 0 h 736694"/>
                      <a:gd name="connsiteX1" fmla="*/ 6182 w 669486"/>
                      <a:gd name="connsiteY1" fmla="*/ 135731 h 736694"/>
                      <a:gd name="connsiteX2" fmla="*/ 669486 w 669486"/>
                      <a:gd name="connsiteY2" fmla="*/ 497629 h 736694"/>
                      <a:gd name="connsiteX3" fmla="*/ 669486 w 669486"/>
                      <a:gd name="connsiteY3" fmla="*/ 736308 h 736694"/>
                      <a:gd name="connsiteX4" fmla="*/ 668804 w 669486"/>
                      <a:gd name="connsiteY4" fmla="*/ 736694 h 736694"/>
                      <a:gd name="connsiteX5" fmla="*/ 206 w 669486"/>
                      <a:gd name="connsiteY5" fmla="*/ 370609 h 736694"/>
                      <a:gd name="connsiteX6" fmla="*/ 5014 w 669486"/>
                      <a:gd name="connsiteY6" fmla="*/ 0 h 736694"/>
                      <a:gd name="connsiteX0" fmla="*/ 5014 w 669486"/>
                      <a:gd name="connsiteY0" fmla="*/ 0 h 736694"/>
                      <a:gd name="connsiteX1" fmla="*/ 669486 w 669486"/>
                      <a:gd name="connsiteY1" fmla="*/ 497629 h 736694"/>
                      <a:gd name="connsiteX2" fmla="*/ 669486 w 669486"/>
                      <a:gd name="connsiteY2" fmla="*/ 736308 h 736694"/>
                      <a:gd name="connsiteX3" fmla="*/ 668804 w 669486"/>
                      <a:gd name="connsiteY3" fmla="*/ 736694 h 736694"/>
                      <a:gd name="connsiteX4" fmla="*/ 206 w 669486"/>
                      <a:gd name="connsiteY4" fmla="*/ 370609 h 736694"/>
                      <a:gd name="connsiteX5" fmla="*/ 5014 w 669486"/>
                      <a:gd name="connsiteY5" fmla="*/ 0 h 736694"/>
                      <a:gd name="connsiteX0" fmla="*/ 494 w 669728"/>
                      <a:gd name="connsiteY0" fmla="*/ 0 h 767650"/>
                      <a:gd name="connsiteX1" fmla="*/ 669728 w 669728"/>
                      <a:gd name="connsiteY1" fmla="*/ 528585 h 767650"/>
                      <a:gd name="connsiteX2" fmla="*/ 669728 w 669728"/>
                      <a:gd name="connsiteY2" fmla="*/ 767264 h 767650"/>
                      <a:gd name="connsiteX3" fmla="*/ 669046 w 669728"/>
                      <a:gd name="connsiteY3" fmla="*/ 767650 h 767650"/>
                      <a:gd name="connsiteX4" fmla="*/ 448 w 669728"/>
                      <a:gd name="connsiteY4" fmla="*/ 401565 h 767650"/>
                      <a:gd name="connsiteX5" fmla="*/ 494 w 669728"/>
                      <a:gd name="connsiteY5" fmla="*/ 0 h 767650"/>
                      <a:gd name="connsiteX0" fmla="*/ 494 w 672110"/>
                      <a:gd name="connsiteY0" fmla="*/ 0 h 767650"/>
                      <a:gd name="connsiteX1" fmla="*/ 672110 w 672110"/>
                      <a:gd name="connsiteY1" fmla="*/ 373804 h 767650"/>
                      <a:gd name="connsiteX2" fmla="*/ 669728 w 672110"/>
                      <a:gd name="connsiteY2" fmla="*/ 767264 h 767650"/>
                      <a:gd name="connsiteX3" fmla="*/ 669046 w 672110"/>
                      <a:gd name="connsiteY3" fmla="*/ 767650 h 767650"/>
                      <a:gd name="connsiteX4" fmla="*/ 448 w 672110"/>
                      <a:gd name="connsiteY4" fmla="*/ 401565 h 767650"/>
                      <a:gd name="connsiteX5" fmla="*/ 494 w 672110"/>
                      <a:gd name="connsiteY5" fmla="*/ 0 h 767650"/>
                      <a:gd name="connsiteX0" fmla="*/ 494 w 672111"/>
                      <a:gd name="connsiteY0" fmla="*/ 75 h 767725"/>
                      <a:gd name="connsiteX1" fmla="*/ 672110 w 672111"/>
                      <a:gd name="connsiteY1" fmla="*/ 373879 h 767725"/>
                      <a:gd name="connsiteX2" fmla="*/ 669728 w 672111"/>
                      <a:gd name="connsiteY2" fmla="*/ 767339 h 767725"/>
                      <a:gd name="connsiteX3" fmla="*/ 669046 w 672111"/>
                      <a:gd name="connsiteY3" fmla="*/ 767725 h 767725"/>
                      <a:gd name="connsiteX4" fmla="*/ 448 w 672111"/>
                      <a:gd name="connsiteY4" fmla="*/ 401640 h 767725"/>
                      <a:gd name="connsiteX5" fmla="*/ 494 w 672111"/>
                      <a:gd name="connsiteY5" fmla="*/ 75 h 767725"/>
                      <a:gd name="connsiteX0" fmla="*/ 494 w 672111"/>
                      <a:gd name="connsiteY0" fmla="*/ 75 h 767725"/>
                      <a:gd name="connsiteX1" fmla="*/ 672110 w 672111"/>
                      <a:gd name="connsiteY1" fmla="*/ 373879 h 767725"/>
                      <a:gd name="connsiteX2" fmla="*/ 669728 w 672111"/>
                      <a:gd name="connsiteY2" fmla="*/ 767339 h 767725"/>
                      <a:gd name="connsiteX3" fmla="*/ 669046 w 672111"/>
                      <a:gd name="connsiteY3" fmla="*/ 767725 h 767725"/>
                      <a:gd name="connsiteX4" fmla="*/ 448 w 672111"/>
                      <a:gd name="connsiteY4" fmla="*/ 401640 h 767725"/>
                      <a:gd name="connsiteX5" fmla="*/ 494 w 672111"/>
                      <a:gd name="connsiteY5" fmla="*/ 75 h 767725"/>
                      <a:gd name="connsiteX0" fmla="*/ 494 w 672110"/>
                      <a:gd name="connsiteY0" fmla="*/ 50 h 767700"/>
                      <a:gd name="connsiteX1" fmla="*/ 672110 w 672110"/>
                      <a:gd name="connsiteY1" fmla="*/ 373854 h 767700"/>
                      <a:gd name="connsiteX2" fmla="*/ 669728 w 672110"/>
                      <a:gd name="connsiteY2" fmla="*/ 767314 h 767700"/>
                      <a:gd name="connsiteX3" fmla="*/ 669046 w 672110"/>
                      <a:gd name="connsiteY3" fmla="*/ 767700 h 767700"/>
                      <a:gd name="connsiteX4" fmla="*/ 448 w 672110"/>
                      <a:gd name="connsiteY4" fmla="*/ 401615 h 767700"/>
                      <a:gd name="connsiteX5" fmla="*/ 494 w 672110"/>
                      <a:gd name="connsiteY5" fmla="*/ 50 h 767700"/>
                      <a:gd name="connsiteX0" fmla="*/ 494 w 672110"/>
                      <a:gd name="connsiteY0" fmla="*/ 0 h 767650"/>
                      <a:gd name="connsiteX1" fmla="*/ 672110 w 672110"/>
                      <a:gd name="connsiteY1" fmla="*/ 373804 h 767650"/>
                      <a:gd name="connsiteX2" fmla="*/ 669728 w 672110"/>
                      <a:gd name="connsiteY2" fmla="*/ 767264 h 767650"/>
                      <a:gd name="connsiteX3" fmla="*/ 669046 w 672110"/>
                      <a:gd name="connsiteY3" fmla="*/ 767650 h 767650"/>
                      <a:gd name="connsiteX4" fmla="*/ 448 w 672110"/>
                      <a:gd name="connsiteY4" fmla="*/ 401565 h 767650"/>
                      <a:gd name="connsiteX5" fmla="*/ 494 w 672110"/>
                      <a:gd name="connsiteY5" fmla="*/ 0 h 767650"/>
                      <a:gd name="connsiteX0" fmla="*/ 494 w 672110"/>
                      <a:gd name="connsiteY0" fmla="*/ 0 h 767650"/>
                      <a:gd name="connsiteX1" fmla="*/ 672110 w 672110"/>
                      <a:gd name="connsiteY1" fmla="*/ 361898 h 767650"/>
                      <a:gd name="connsiteX2" fmla="*/ 669728 w 672110"/>
                      <a:gd name="connsiteY2" fmla="*/ 767264 h 767650"/>
                      <a:gd name="connsiteX3" fmla="*/ 669046 w 672110"/>
                      <a:gd name="connsiteY3" fmla="*/ 767650 h 767650"/>
                      <a:gd name="connsiteX4" fmla="*/ 448 w 672110"/>
                      <a:gd name="connsiteY4" fmla="*/ 401565 h 767650"/>
                      <a:gd name="connsiteX5" fmla="*/ 494 w 672110"/>
                      <a:gd name="connsiteY5" fmla="*/ 0 h 767650"/>
                      <a:gd name="connsiteX0" fmla="*/ 2710 w 671945"/>
                      <a:gd name="connsiteY0" fmla="*/ 0 h 767650"/>
                      <a:gd name="connsiteX1" fmla="*/ 671945 w 671945"/>
                      <a:gd name="connsiteY1" fmla="*/ 361898 h 767650"/>
                      <a:gd name="connsiteX2" fmla="*/ 669563 w 671945"/>
                      <a:gd name="connsiteY2" fmla="*/ 767264 h 767650"/>
                      <a:gd name="connsiteX3" fmla="*/ 668881 w 671945"/>
                      <a:gd name="connsiteY3" fmla="*/ 767650 h 767650"/>
                      <a:gd name="connsiteX4" fmla="*/ 283 w 671945"/>
                      <a:gd name="connsiteY4" fmla="*/ 401565 h 767650"/>
                      <a:gd name="connsiteX5" fmla="*/ 2710 w 671945"/>
                      <a:gd name="connsiteY5" fmla="*/ 0 h 767650"/>
                      <a:gd name="connsiteX0" fmla="*/ 7353 w 671826"/>
                      <a:gd name="connsiteY0" fmla="*/ 0 h 979581"/>
                      <a:gd name="connsiteX1" fmla="*/ 671826 w 671826"/>
                      <a:gd name="connsiteY1" fmla="*/ 573829 h 979581"/>
                      <a:gd name="connsiteX2" fmla="*/ 669444 w 671826"/>
                      <a:gd name="connsiteY2" fmla="*/ 979195 h 979581"/>
                      <a:gd name="connsiteX3" fmla="*/ 668762 w 671826"/>
                      <a:gd name="connsiteY3" fmla="*/ 979581 h 979581"/>
                      <a:gd name="connsiteX4" fmla="*/ 164 w 671826"/>
                      <a:gd name="connsiteY4" fmla="*/ 613496 h 979581"/>
                      <a:gd name="connsiteX5" fmla="*/ 7353 w 671826"/>
                      <a:gd name="connsiteY5" fmla="*/ 0 h 979581"/>
                      <a:gd name="connsiteX0" fmla="*/ 7353 w 676589"/>
                      <a:gd name="connsiteY0" fmla="*/ 0 h 979581"/>
                      <a:gd name="connsiteX1" fmla="*/ 676589 w 676589"/>
                      <a:gd name="connsiteY1" fmla="*/ 352373 h 979581"/>
                      <a:gd name="connsiteX2" fmla="*/ 669444 w 676589"/>
                      <a:gd name="connsiteY2" fmla="*/ 979195 h 979581"/>
                      <a:gd name="connsiteX3" fmla="*/ 668762 w 676589"/>
                      <a:gd name="connsiteY3" fmla="*/ 979581 h 979581"/>
                      <a:gd name="connsiteX4" fmla="*/ 164 w 676589"/>
                      <a:gd name="connsiteY4" fmla="*/ 613496 h 979581"/>
                      <a:gd name="connsiteX5" fmla="*/ 7353 w 676589"/>
                      <a:gd name="connsiteY5" fmla="*/ 0 h 979581"/>
                      <a:gd name="connsiteX0" fmla="*/ 493 w 676873"/>
                      <a:gd name="connsiteY0" fmla="*/ 0 h 984344"/>
                      <a:gd name="connsiteX1" fmla="*/ 676873 w 676873"/>
                      <a:gd name="connsiteY1" fmla="*/ 357136 h 984344"/>
                      <a:gd name="connsiteX2" fmla="*/ 669728 w 676873"/>
                      <a:gd name="connsiteY2" fmla="*/ 983958 h 984344"/>
                      <a:gd name="connsiteX3" fmla="*/ 669046 w 676873"/>
                      <a:gd name="connsiteY3" fmla="*/ 984344 h 984344"/>
                      <a:gd name="connsiteX4" fmla="*/ 448 w 676873"/>
                      <a:gd name="connsiteY4" fmla="*/ 618259 h 984344"/>
                      <a:gd name="connsiteX5" fmla="*/ 493 w 676873"/>
                      <a:gd name="connsiteY5" fmla="*/ 0 h 984344"/>
                      <a:gd name="connsiteX0" fmla="*/ 493 w 676873"/>
                      <a:gd name="connsiteY0" fmla="*/ 0 h 907236"/>
                      <a:gd name="connsiteX1" fmla="*/ 676873 w 676873"/>
                      <a:gd name="connsiteY1" fmla="*/ 280028 h 907236"/>
                      <a:gd name="connsiteX2" fmla="*/ 669728 w 676873"/>
                      <a:gd name="connsiteY2" fmla="*/ 906850 h 907236"/>
                      <a:gd name="connsiteX3" fmla="*/ 669046 w 676873"/>
                      <a:gd name="connsiteY3" fmla="*/ 907236 h 907236"/>
                      <a:gd name="connsiteX4" fmla="*/ 448 w 676873"/>
                      <a:gd name="connsiteY4" fmla="*/ 541151 h 907236"/>
                      <a:gd name="connsiteX5" fmla="*/ 493 w 676873"/>
                      <a:gd name="connsiteY5" fmla="*/ 0 h 907236"/>
                      <a:gd name="connsiteX0" fmla="*/ 493 w 672813"/>
                      <a:gd name="connsiteY0" fmla="*/ 0 h 907236"/>
                      <a:gd name="connsiteX1" fmla="*/ 672813 w 672813"/>
                      <a:gd name="connsiteY1" fmla="*/ 332787 h 907236"/>
                      <a:gd name="connsiteX2" fmla="*/ 669728 w 672813"/>
                      <a:gd name="connsiteY2" fmla="*/ 906850 h 907236"/>
                      <a:gd name="connsiteX3" fmla="*/ 669046 w 672813"/>
                      <a:gd name="connsiteY3" fmla="*/ 907236 h 907236"/>
                      <a:gd name="connsiteX4" fmla="*/ 448 w 672813"/>
                      <a:gd name="connsiteY4" fmla="*/ 541151 h 907236"/>
                      <a:gd name="connsiteX5" fmla="*/ 493 w 672813"/>
                      <a:gd name="connsiteY5" fmla="*/ 0 h 907236"/>
                      <a:gd name="connsiteX0" fmla="*/ 493 w 672813"/>
                      <a:gd name="connsiteY0" fmla="*/ 0 h 907236"/>
                      <a:gd name="connsiteX1" fmla="*/ 672813 w 672813"/>
                      <a:gd name="connsiteY1" fmla="*/ 332787 h 907236"/>
                      <a:gd name="connsiteX2" fmla="*/ 669728 w 672813"/>
                      <a:gd name="connsiteY2" fmla="*/ 906850 h 907236"/>
                      <a:gd name="connsiteX3" fmla="*/ 669046 w 672813"/>
                      <a:gd name="connsiteY3" fmla="*/ 907236 h 907236"/>
                      <a:gd name="connsiteX4" fmla="*/ 448 w 672813"/>
                      <a:gd name="connsiteY4" fmla="*/ 541151 h 907236"/>
                      <a:gd name="connsiteX5" fmla="*/ 493 w 672813"/>
                      <a:gd name="connsiteY5" fmla="*/ 0 h 907236"/>
                      <a:gd name="connsiteX0" fmla="*/ 0 w 676378"/>
                      <a:gd name="connsiteY0" fmla="*/ 0 h 915352"/>
                      <a:gd name="connsiteX1" fmla="*/ 676378 w 676378"/>
                      <a:gd name="connsiteY1" fmla="*/ 340903 h 915352"/>
                      <a:gd name="connsiteX2" fmla="*/ 673293 w 676378"/>
                      <a:gd name="connsiteY2" fmla="*/ 914966 h 915352"/>
                      <a:gd name="connsiteX3" fmla="*/ 672611 w 676378"/>
                      <a:gd name="connsiteY3" fmla="*/ 915352 h 915352"/>
                      <a:gd name="connsiteX4" fmla="*/ 4013 w 676378"/>
                      <a:gd name="connsiteY4" fmla="*/ 549267 h 915352"/>
                      <a:gd name="connsiteX5" fmla="*/ 0 w 676378"/>
                      <a:gd name="connsiteY5" fmla="*/ 0 h 915352"/>
                      <a:gd name="connsiteX0" fmla="*/ 0 w 676378"/>
                      <a:gd name="connsiteY0" fmla="*/ 0 h 915352"/>
                      <a:gd name="connsiteX1" fmla="*/ 676378 w 676378"/>
                      <a:gd name="connsiteY1" fmla="*/ 340903 h 915352"/>
                      <a:gd name="connsiteX2" fmla="*/ 673293 w 676378"/>
                      <a:gd name="connsiteY2" fmla="*/ 914966 h 915352"/>
                      <a:gd name="connsiteX3" fmla="*/ 672611 w 676378"/>
                      <a:gd name="connsiteY3" fmla="*/ 915352 h 915352"/>
                      <a:gd name="connsiteX4" fmla="*/ 4013 w 676378"/>
                      <a:gd name="connsiteY4" fmla="*/ 549267 h 915352"/>
                      <a:gd name="connsiteX5" fmla="*/ 0 w 676378"/>
                      <a:gd name="connsiteY5" fmla="*/ 0 h 915352"/>
                      <a:gd name="connsiteX0" fmla="*/ 494 w 672814"/>
                      <a:gd name="connsiteY0" fmla="*/ 0 h 919410"/>
                      <a:gd name="connsiteX1" fmla="*/ 672814 w 672814"/>
                      <a:gd name="connsiteY1" fmla="*/ 344961 h 919410"/>
                      <a:gd name="connsiteX2" fmla="*/ 669729 w 672814"/>
                      <a:gd name="connsiteY2" fmla="*/ 919024 h 919410"/>
                      <a:gd name="connsiteX3" fmla="*/ 669047 w 672814"/>
                      <a:gd name="connsiteY3" fmla="*/ 919410 h 919410"/>
                      <a:gd name="connsiteX4" fmla="*/ 449 w 672814"/>
                      <a:gd name="connsiteY4" fmla="*/ 553325 h 919410"/>
                      <a:gd name="connsiteX5" fmla="*/ 494 w 672814"/>
                      <a:gd name="connsiteY5" fmla="*/ 0 h 919410"/>
                      <a:gd name="connsiteX0" fmla="*/ 494 w 672814"/>
                      <a:gd name="connsiteY0" fmla="*/ 0 h 919410"/>
                      <a:gd name="connsiteX1" fmla="*/ 672814 w 672814"/>
                      <a:gd name="connsiteY1" fmla="*/ 344961 h 919410"/>
                      <a:gd name="connsiteX2" fmla="*/ 669729 w 672814"/>
                      <a:gd name="connsiteY2" fmla="*/ 919024 h 919410"/>
                      <a:gd name="connsiteX3" fmla="*/ 669047 w 672814"/>
                      <a:gd name="connsiteY3" fmla="*/ 919410 h 919410"/>
                      <a:gd name="connsiteX4" fmla="*/ 449 w 672814"/>
                      <a:gd name="connsiteY4" fmla="*/ 553325 h 919410"/>
                      <a:gd name="connsiteX5" fmla="*/ 494 w 672814"/>
                      <a:gd name="connsiteY5" fmla="*/ 0 h 919410"/>
                      <a:gd name="connsiteX0" fmla="*/ 494 w 672814"/>
                      <a:gd name="connsiteY0" fmla="*/ 0 h 919410"/>
                      <a:gd name="connsiteX1" fmla="*/ 672814 w 672814"/>
                      <a:gd name="connsiteY1" fmla="*/ 373369 h 919410"/>
                      <a:gd name="connsiteX2" fmla="*/ 669729 w 672814"/>
                      <a:gd name="connsiteY2" fmla="*/ 919024 h 919410"/>
                      <a:gd name="connsiteX3" fmla="*/ 669047 w 672814"/>
                      <a:gd name="connsiteY3" fmla="*/ 919410 h 919410"/>
                      <a:gd name="connsiteX4" fmla="*/ 449 w 672814"/>
                      <a:gd name="connsiteY4" fmla="*/ 553325 h 919410"/>
                      <a:gd name="connsiteX5" fmla="*/ 494 w 672814"/>
                      <a:gd name="connsiteY5" fmla="*/ 0 h 9194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72814" h="919410">
                        <a:moveTo>
                          <a:pt x="494" y="0"/>
                        </a:moveTo>
                        <a:lnTo>
                          <a:pt x="672814" y="373369"/>
                        </a:lnTo>
                        <a:cubicBezTo>
                          <a:pt x="670432" y="582310"/>
                          <a:pt x="672111" y="710083"/>
                          <a:pt x="669729" y="919024"/>
                        </a:cubicBezTo>
                        <a:lnTo>
                          <a:pt x="669047" y="919410"/>
                        </a:lnTo>
                        <a:lnTo>
                          <a:pt x="449" y="553325"/>
                        </a:lnTo>
                        <a:cubicBezTo>
                          <a:pt x="-1123" y="475032"/>
                          <a:pt x="2066" y="78293"/>
                          <a:pt x="494" y="0"/>
                        </a:cubicBezTo>
                        <a:close/>
                      </a:path>
                    </a:pathLst>
                  </a:custGeom>
                  <a:solidFill>
                    <a:srgbClr val="ABC6E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dirty="0"/>
                  </a:p>
                </p:txBody>
              </p:sp>
              <p:sp>
                <p:nvSpPr>
                  <p:cNvPr id="3264" name="Полілінія: фігура 3263">
                    <a:extLst>
                      <a:ext uri="{FF2B5EF4-FFF2-40B4-BE49-F238E27FC236}">
                        <a16:creationId xmlns:a16="http://schemas.microsoft.com/office/drawing/2014/main" id="{DEB4C465-FE5B-1E32-6B00-D0990CED1DF7}"/>
                      </a:ext>
                    </a:extLst>
                  </p:cNvPr>
                  <p:cNvSpPr/>
                  <p:nvPr/>
                </p:nvSpPr>
                <p:spPr>
                  <a:xfrm>
                    <a:off x="7070422" y="5742285"/>
                    <a:ext cx="667233" cy="928641"/>
                  </a:xfrm>
                  <a:custGeom>
                    <a:avLst/>
                    <a:gdLst>
                      <a:gd name="connsiteX0" fmla="*/ 662330 w 664659"/>
                      <a:gd name="connsiteY0" fmla="*/ 0 h 610191"/>
                      <a:gd name="connsiteX1" fmla="*/ 664659 w 664659"/>
                      <a:gd name="connsiteY1" fmla="*/ 234211 h 610191"/>
                      <a:gd name="connsiteX2" fmla="*/ 0 w 664659"/>
                      <a:gd name="connsiteY2" fmla="*/ 610191 h 610191"/>
                      <a:gd name="connsiteX3" fmla="*/ 0 w 664659"/>
                      <a:gd name="connsiteY3" fmla="*/ 371512 h 610191"/>
                      <a:gd name="connsiteX4" fmla="*/ 7675 w 664659"/>
                      <a:gd name="connsiteY4" fmla="*/ 375699 h 610191"/>
                      <a:gd name="connsiteX5" fmla="*/ 662330 w 664659"/>
                      <a:gd name="connsiteY5" fmla="*/ 0 h 610191"/>
                      <a:gd name="connsiteX0" fmla="*/ 662330 w 664659"/>
                      <a:gd name="connsiteY0" fmla="*/ 0 h 610191"/>
                      <a:gd name="connsiteX1" fmla="*/ 664659 w 664659"/>
                      <a:gd name="connsiteY1" fmla="*/ 234211 h 610191"/>
                      <a:gd name="connsiteX2" fmla="*/ 0 w 664659"/>
                      <a:gd name="connsiteY2" fmla="*/ 610191 h 610191"/>
                      <a:gd name="connsiteX3" fmla="*/ 0 w 664659"/>
                      <a:gd name="connsiteY3" fmla="*/ 371512 h 610191"/>
                      <a:gd name="connsiteX4" fmla="*/ 662330 w 664659"/>
                      <a:gd name="connsiteY4" fmla="*/ 0 h 610191"/>
                      <a:gd name="connsiteX0" fmla="*/ 662330 w 664659"/>
                      <a:gd name="connsiteY0" fmla="*/ 0 h 610191"/>
                      <a:gd name="connsiteX1" fmla="*/ 664659 w 664659"/>
                      <a:gd name="connsiteY1" fmla="*/ 234211 h 610191"/>
                      <a:gd name="connsiteX2" fmla="*/ 0 w 664659"/>
                      <a:gd name="connsiteY2" fmla="*/ 610191 h 610191"/>
                      <a:gd name="connsiteX3" fmla="*/ 9525 w 664659"/>
                      <a:gd name="connsiteY3" fmla="*/ 209587 h 610191"/>
                      <a:gd name="connsiteX4" fmla="*/ 662330 w 664659"/>
                      <a:gd name="connsiteY4" fmla="*/ 0 h 610191"/>
                      <a:gd name="connsiteX0" fmla="*/ 671855 w 671903"/>
                      <a:gd name="connsiteY0" fmla="*/ 0 h 769735"/>
                      <a:gd name="connsiteX1" fmla="*/ 664659 w 671903"/>
                      <a:gd name="connsiteY1" fmla="*/ 393755 h 769735"/>
                      <a:gd name="connsiteX2" fmla="*/ 0 w 671903"/>
                      <a:gd name="connsiteY2" fmla="*/ 769735 h 769735"/>
                      <a:gd name="connsiteX3" fmla="*/ 9525 w 671903"/>
                      <a:gd name="connsiteY3" fmla="*/ 369131 h 769735"/>
                      <a:gd name="connsiteX4" fmla="*/ 671855 w 671903"/>
                      <a:gd name="connsiteY4" fmla="*/ 0 h 769735"/>
                      <a:gd name="connsiteX0" fmla="*/ 669474 w 669522"/>
                      <a:gd name="connsiteY0" fmla="*/ 0 h 776879"/>
                      <a:gd name="connsiteX1" fmla="*/ 662278 w 669522"/>
                      <a:gd name="connsiteY1" fmla="*/ 393755 h 776879"/>
                      <a:gd name="connsiteX2" fmla="*/ 0 w 669522"/>
                      <a:gd name="connsiteY2" fmla="*/ 776879 h 776879"/>
                      <a:gd name="connsiteX3" fmla="*/ 7144 w 669522"/>
                      <a:gd name="connsiteY3" fmla="*/ 369131 h 776879"/>
                      <a:gd name="connsiteX4" fmla="*/ 669474 w 669522"/>
                      <a:gd name="connsiteY4" fmla="*/ 0 h 776879"/>
                      <a:gd name="connsiteX0" fmla="*/ 669474 w 669522"/>
                      <a:gd name="connsiteY0" fmla="*/ 0 h 776879"/>
                      <a:gd name="connsiteX1" fmla="*/ 662278 w 669522"/>
                      <a:gd name="connsiteY1" fmla="*/ 393755 h 776879"/>
                      <a:gd name="connsiteX2" fmla="*/ 0 w 669522"/>
                      <a:gd name="connsiteY2" fmla="*/ 776879 h 776879"/>
                      <a:gd name="connsiteX3" fmla="*/ 11889 w 669522"/>
                      <a:gd name="connsiteY3" fmla="*/ 152438 h 776879"/>
                      <a:gd name="connsiteX4" fmla="*/ 669474 w 669522"/>
                      <a:gd name="connsiteY4" fmla="*/ 0 h 776879"/>
                      <a:gd name="connsiteX0" fmla="*/ 669474 w 669522"/>
                      <a:gd name="connsiteY0" fmla="*/ 0 h 993573"/>
                      <a:gd name="connsiteX1" fmla="*/ 662278 w 669522"/>
                      <a:gd name="connsiteY1" fmla="*/ 610449 h 993573"/>
                      <a:gd name="connsiteX2" fmla="*/ 0 w 669522"/>
                      <a:gd name="connsiteY2" fmla="*/ 993573 h 993573"/>
                      <a:gd name="connsiteX3" fmla="*/ 11889 w 669522"/>
                      <a:gd name="connsiteY3" fmla="*/ 369132 h 993573"/>
                      <a:gd name="connsiteX4" fmla="*/ 669474 w 669522"/>
                      <a:gd name="connsiteY4" fmla="*/ 0 h 993573"/>
                      <a:gd name="connsiteX0" fmla="*/ 664728 w 664828"/>
                      <a:gd name="connsiteY0" fmla="*/ 0 h 993573"/>
                      <a:gd name="connsiteX1" fmla="*/ 662278 w 664828"/>
                      <a:gd name="connsiteY1" fmla="*/ 610449 h 993573"/>
                      <a:gd name="connsiteX2" fmla="*/ 0 w 664828"/>
                      <a:gd name="connsiteY2" fmla="*/ 993573 h 993573"/>
                      <a:gd name="connsiteX3" fmla="*/ 11889 w 664828"/>
                      <a:gd name="connsiteY3" fmla="*/ 369132 h 993573"/>
                      <a:gd name="connsiteX4" fmla="*/ 664728 w 664828"/>
                      <a:gd name="connsiteY4" fmla="*/ 0 h 993573"/>
                      <a:gd name="connsiteX0" fmla="*/ 664728 w 664828"/>
                      <a:gd name="connsiteY0" fmla="*/ 0 h 993573"/>
                      <a:gd name="connsiteX1" fmla="*/ 662278 w 664828"/>
                      <a:gd name="connsiteY1" fmla="*/ 610449 h 993573"/>
                      <a:gd name="connsiteX2" fmla="*/ 0 w 664828"/>
                      <a:gd name="connsiteY2" fmla="*/ 993573 h 993573"/>
                      <a:gd name="connsiteX3" fmla="*/ 15932 w 664828"/>
                      <a:gd name="connsiteY3" fmla="*/ 401600 h 993573"/>
                      <a:gd name="connsiteX4" fmla="*/ 664728 w 664828"/>
                      <a:gd name="connsiteY4" fmla="*/ 0 h 993573"/>
                      <a:gd name="connsiteX0" fmla="*/ 664728 w 664828"/>
                      <a:gd name="connsiteY0" fmla="*/ 0 h 916465"/>
                      <a:gd name="connsiteX1" fmla="*/ 662278 w 664828"/>
                      <a:gd name="connsiteY1" fmla="*/ 533341 h 916465"/>
                      <a:gd name="connsiteX2" fmla="*/ 0 w 664828"/>
                      <a:gd name="connsiteY2" fmla="*/ 916465 h 916465"/>
                      <a:gd name="connsiteX3" fmla="*/ 15932 w 664828"/>
                      <a:gd name="connsiteY3" fmla="*/ 324492 h 916465"/>
                      <a:gd name="connsiteX4" fmla="*/ 664728 w 664828"/>
                      <a:gd name="connsiteY4" fmla="*/ 0 h 916465"/>
                      <a:gd name="connsiteX0" fmla="*/ 664728 w 664828"/>
                      <a:gd name="connsiteY0" fmla="*/ 0 h 928641"/>
                      <a:gd name="connsiteX1" fmla="*/ 662278 w 664828"/>
                      <a:gd name="connsiteY1" fmla="*/ 545517 h 928641"/>
                      <a:gd name="connsiteX2" fmla="*/ 0 w 664828"/>
                      <a:gd name="connsiteY2" fmla="*/ 928641 h 928641"/>
                      <a:gd name="connsiteX3" fmla="*/ 15932 w 664828"/>
                      <a:gd name="connsiteY3" fmla="*/ 336668 h 928641"/>
                      <a:gd name="connsiteX4" fmla="*/ 664728 w 664828"/>
                      <a:gd name="connsiteY4" fmla="*/ 0 h 928641"/>
                      <a:gd name="connsiteX0" fmla="*/ 664728 w 664828"/>
                      <a:gd name="connsiteY0" fmla="*/ 0 h 928641"/>
                      <a:gd name="connsiteX1" fmla="*/ 662278 w 664828"/>
                      <a:gd name="connsiteY1" fmla="*/ 545517 h 928641"/>
                      <a:gd name="connsiteX2" fmla="*/ 0 w 664828"/>
                      <a:gd name="connsiteY2" fmla="*/ 928641 h 928641"/>
                      <a:gd name="connsiteX3" fmla="*/ 11887 w 664828"/>
                      <a:gd name="connsiteY3" fmla="*/ 369134 h 928641"/>
                      <a:gd name="connsiteX4" fmla="*/ 664728 w 664828"/>
                      <a:gd name="connsiteY4" fmla="*/ 0 h 928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4828" h="928641">
                        <a:moveTo>
                          <a:pt x="664728" y="0"/>
                        </a:moveTo>
                        <a:cubicBezTo>
                          <a:pt x="665504" y="78070"/>
                          <a:pt x="661502" y="467447"/>
                          <a:pt x="662278" y="545517"/>
                        </a:cubicBezTo>
                        <a:lnTo>
                          <a:pt x="0" y="928641"/>
                        </a:lnTo>
                        <a:lnTo>
                          <a:pt x="11887" y="369134"/>
                        </a:lnTo>
                        <a:lnTo>
                          <a:pt x="664728" y="0"/>
                        </a:lnTo>
                        <a:close/>
                      </a:path>
                    </a:pathLst>
                  </a:custGeom>
                  <a:solidFill>
                    <a:srgbClr val="98B1DB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/>
                  </a:p>
                </p:txBody>
              </p:sp>
            </p:grpSp>
            <p:cxnSp>
              <p:nvCxnSpPr>
                <p:cNvPr id="3132" name="Пряма сполучна лінія 3131">
                  <a:extLst>
                    <a:ext uri="{FF2B5EF4-FFF2-40B4-BE49-F238E27FC236}">
                      <a16:creationId xmlns:a16="http://schemas.microsoft.com/office/drawing/2014/main" id="{5F31772E-C124-C1FB-C467-97F1AE9E9FF6}"/>
                    </a:ext>
                  </a:extLst>
                </p:cNvPr>
                <p:cNvCxnSpPr>
                  <a:cxnSpLocks/>
                  <a:stCxn id="3133" idx="2"/>
                  <a:endCxn id="3264" idx="2"/>
                </p:cNvCxnSpPr>
                <p:nvPr/>
              </p:nvCxnSpPr>
              <p:spPr>
                <a:xfrm flipH="1">
                  <a:off x="6411071" y="7303103"/>
                  <a:ext cx="10901" cy="705978"/>
                </a:xfrm>
                <a:prstGeom prst="line">
                  <a:avLst/>
                </a:prstGeom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133" name="Полілінія: фігура 3132">
                  <a:extLst>
                    <a:ext uri="{FF2B5EF4-FFF2-40B4-BE49-F238E27FC236}">
                      <a16:creationId xmlns:a16="http://schemas.microsoft.com/office/drawing/2014/main" id="{619C7E57-EE93-7733-EF8D-0E0C311E00EB}"/>
                    </a:ext>
                  </a:extLst>
                </p:cNvPr>
                <p:cNvSpPr/>
                <p:nvPr/>
              </p:nvSpPr>
              <p:spPr>
                <a:xfrm>
                  <a:off x="5750993" y="6550458"/>
                  <a:ext cx="1326795" cy="752644"/>
                </a:xfrm>
                <a:custGeom>
                  <a:avLst/>
                  <a:gdLst>
                    <a:gd name="connsiteX0" fmla="*/ 301555 w 584326"/>
                    <a:gd name="connsiteY0" fmla="*/ 0 h 347372"/>
                    <a:gd name="connsiteX1" fmla="*/ 584326 w 584326"/>
                    <a:gd name="connsiteY1" fmla="*/ 172421 h 347372"/>
                    <a:gd name="connsiteX2" fmla="*/ 289671 w 584326"/>
                    <a:gd name="connsiteY2" fmla="*/ 347372 h 347372"/>
                    <a:gd name="connsiteX3" fmla="*/ 0 w 584326"/>
                    <a:gd name="connsiteY3" fmla="*/ 174949 h 347372"/>
                    <a:gd name="connsiteX4" fmla="*/ 301555 w 584326"/>
                    <a:gd name="connsiteY4" fmla="*/ 0 h 347372"/>
                    <a:gd name="connsiteX0" fmla="*/ 301555 w 584326"/>
                    <a:gd name="connsiteY0" fmla="*/ 0 h 361660"/>
                    <a:gd name="connsiteX1" fmla="*/ 584326 w 584326"/>
                    <a:gd name="connsiteY1" fmla="*/ 172421 h 361660"/>
                    <a:gd name="connsiteX2" fmla="*/ 296815 w 584326"/>
                    <a:gd name="connsiteY2" fmla="*/ 361660 h 361660"/>
                    <a:gd name="connsiteX3" fmla="*/ 0 w 584326"/>
                    <a:gd name="connsiteY3" fmla="*/ 174949 h 361660"/>
                    <a:gd name="connsiteX4" fmla="*/ 301555 w 584326"/>
                    <a:gd name="connsiteY4" fmla="*/ 0 h 361660"/>
                    <a:gd name="connsiteX0" fmla="*/ 301555 w 596232"/>
                    <a:gd name="connsiteY0" fmla="*/ 0 h 361660"/>
                    <a:gd name="connsiteX1" fmla="*/ 596232 w 596232"/>
                    <a:gd name="connsiteY1" fmla="*/ 181946 h 361660"/>
                    <a:gd name="connsiteX2" fmla="*/ 296815 w 596232"/>
                    <a:gd name="connsiteY2" fmla="*/ 361660 h 361660"/>
                    <a:gd name="connsiteX3" fmla="*/ 0 w 596232"/>
                    <a:gd name="connsiteY3" fmla="*/ 174949 h 361660"/>
                    <a:gd name="connsiteX4" fmla="*/ 301555 w 596232"/>
                    <a:gd name="connsiteY4" fmla="*/ 0 h 361660"/>
                    <a:gd name="connsiteX0" fmla="*/ 311080 w 605757"/>
                    <a:gd name="connsiteY0" fmla="*/ 0 h 361660"/>
                    <a:gd name="connsiteX1" fmla="*/ 605757 w 605757"/>
                    <a:gd name="connsiteY1" fmla="*/ 181946 h 361660"/>
                    <a:gd name="connsiteX2" fmla="*/ 306340 w 605757"/>
                    <a:gd name="connsiteY2" fmla="*/ 361660 h 361660"/>
                    <a:gd name="connsiteX3" fmla="*/ 0 w 605757"/>
                    <a:gd name="connsiteY3" fmla="*/ 186855 h 361660"/>
                    <a:gd name="connsiteX4" fmla="*/ 311080 w 605757"/>
                    <a:gd name="connsiteY4" fmla="*/ 0 h 361660"/>
                    <a:gd name="connsiteX0" fmla="*/ 316516 w 605757"/>
                    <a:gd name="connsiteY0" fmla="*/ 0 h 362797"/>
                    <a:gd name="connsiteX1" fmla="*/ 605757 w 605757"/>
                    <a:gd name="connsiteY1" fmla="*/ 183083 h 362797"/>
                    <a:gd name="connsiteX2" fmla="*/ 306340 w 605757"/>
                    <a:gd name="connsiteY2" fmla="*/ 362797 h 362797"/>
                    <a:gd name="connsiteX3" fmla="*/ 0 w 605757"/>
                    <a:gd name="connsiteY3" fmla="*/ 187992 h 362797"/>
                    <a:gd name="connsiteX4" fmla="*/ 316516 w 605757"/>
                    <a:gd name="connsiteY4" fmla="*/ 0 h 362797"/>
                    <a:gd name="connsiteX0" fmla="*/ 316516 w 605757"/>
                    <a:gd name="connsiteY0" fmla="*/ 0 h 359386"/>
                    <a:gd name="connsiteX1" fmla="*/ 605757 w 605757"/>
                    <a:gd name="connsiteY1" fmla="*/ 179672 h 359386"/>
                    <a:gd name="connsiteX2" fmla="*/ 306340 w 605757"/>
                    <a:gd name="connsiteY2" fmla="*/ 359386 h 359386"/>
                    <a:gd name="connsiteX3" fmla="*/ 0 w 605757"/>
                    <a:gd name="connsiteY3" fmla="*/ 184581 h 359386"/>
                    <a:gd name="connsiteX4" fmla="*/ 316516 w 605757"/>
                    <a:gd name="connsiteY4" fmla="*/ 0 h 359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5757" h="359386">
                      <a:moveTo>
                        <a:pt x="316516" y="0"/>
                      </a:moveTo>
                      <a:lnTo>
                        <a:pt x="605757" y="179672"/>
                      </a:lnTo>
                      <a:lnTo>
                        <a:pt x="306340" y="359386"/>
                      </a:lnTo>
                      <a:lnTo>
                        <a:pt x="0" y="184581"/>
                      </a:lnTo>
                      <a:lnTo>
                        <a:pt x="316516" y="0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 dirty="0"/>
                </a:p>
              </p:txBody>
            </p:sp>
          </p:grpSp>
        </p:grpSp>
        <p:sp>
          <p:nvSpPr>
            <p:cNvPr id="3413" name="TextBox 3412">
              <a:extLst>
                <a:ext uri="{FF2B5EF4-FFF2-40B4-BE49-F238E27FC236}">
                  <a16:creationId xmlns:a16="http://schemas.microsoft.com/office/drawing/2014/main" id="{90D17F16-D7EF-4EA3-C0DD-A8C5CF1E8900}"/>
                </a:ext>
              </a:extLst>
            </p:cNvPr>
            <p:cNvSpPr txBox="1"/>
            <p:nvPr/>
          </p:nvSpPr>
          <p:spPr>
            <a:xfrm>
              <a:off x="1924660" y="1189472"/>
              <a:ext cx="2861791" cy="8719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uk-UA"/>
              </a:defPPr>
              <a:lvl1pPr marL="155539" indent="-155539">
                <a:buClr>
                  <a:schemeClr val="tx1">
                    <a:lumMod val="50000"/>
                    <a:lumOff val="50000"/>
                  </a:schemeClr>
                </a:buClr>
                <a:buSzPct val="120000"/>
                <a:buFont typeface="Calibri Light" panose="020F0302020204030204" pitchFamily="34" charset="0"/>
                <a:buChar char="›"/>
                <a:defRPr sz="1633">
                  <a:latin typeface="Calibri Light" panose="020F0302020204030204" pitchFamily="34" charset="0"/>
                  <a:cs typeface="Calibri Light" panose="020F0302020204030204" pitchFamily="34" charset="0"/>
                </a:defRPr>
              </a:lvl1pPr>
            </a:lstStyle>
            <a:p>
              <a:r>
                <a:rPr lang="en-US" dirty="0"/>
                <a:t>Firm – 60%</a:t>
              </a:r>
            </a:p>
            <a:p>
              <a:r>
                <a:rPr lang="en-US" dirty="0"/>
                <a:t>Conditionally firm – 30%</a:t>
              </a:r>
            </a:p>
            <a:p>
              <a:r>
                <a:rPr lang="en-US" dirty="0"/>
                <a:t>Interruptible – 10%</a:t>
              </a:r>
            </a:p>
          </p:txBody>
        </p:sp>
        <p:grpSp>
          <p:nvGrpSpPr>
            <p:cNvPr id="11" name="Групувати 10">
              <a:extLst>
                <a:ext uri="{FF2B5EF4-FFF2-40B4-BE49-F238E27FC236}">
                  <a16:creationId xmlns:a16="http://schemas.microsoft.com/office/drawing/2014/main" id="{561091CC-76C8-876A-95BF-A0AD06F8A2C1}"/>
                </a:ext>
              </a:extLst>
            </p:cNvPr>
            <p:cNvGrpSpPr/>
            <p:nvPr/>
          </p:nvGrpSpPr>
          <p:grpSpPr>
            <a:xfrm>
              <a:off x="-8528" y="104129"/>
              <a:ext cx="12517821" cy="6690645"/>
              <a:chOff x="-8528" y="104129"/>
              <a:chExt cx="12517821" cy="6690645"/>
            </a:xfrm>
          </p:grpSpPr>
          <p:grpSp>
            <p:nvGrpSpPr>
              <p:cNvPr id="3097" name="Групувати 3096">
                <a:extLst>
                  <a:ext uri="{FF2B5EF4-FFF2-40B4-BE49-F238E27FC236}">
                    <a16:creationId xmlns:a16="http://schemas.microsoft.com/office/drawing/2014/main" id="{E5864CF7-8C44-FEB5-ADBF-88EC18859AF0}"/>
                  </a:ext>
                </a:extLst>
              </p:cNvPr>
              <p:cNvGrpSpPr/>
              <p:nvPr/>
            </p:nvGrpSpPr>
            <p:grpSpPr>
              <a:xfrm>
                <a:off x="295800" y="821313"/>
                <a:ext cx="3847229" cy="1437968"/>
                <a:chOff x="469969" y="806799"/>
                <a:chExt cx="3847229" cy="1437968"/>
              </a:xfrm>
            </p:grpSpPr>
            <p:grpSp>
              <p:nvGrpSpPr>
                <p:cNvPr id="3075" name="Групувати 3074">
                  <a:extLst>
                    <a:ext uri="{FF2B5EF4-FFF2-40B4-BE49-F238E27FC236}">
                      <a16:creationId xmlns:a16="http://schemas.microsoft.com/office/drawing/2014/main" id="{EEDEB803-144B-E067-3B96-8D0BB9390ABC}"/>
                    </a:ext>
                  </a:extLst>
                </p:cNvPr>
                <p:cNvGrpSpPr/>
                <p:nvPr/>
              </p:nvGrpSpPr>
              <p:grpSpPr>
                <a:xfrm>
                  <a:off x="547866" y="806799"/>
                  <a:ext cx="3769332" cy="259472"/>
                  <a:chOff x="5536600" y="1098051"/>
                  <a:chExt cx="7501566" cy="516388"/>
                </a:xfrm>
              </p:grpSpPr>
              <p:sp>
                <p:nvSpPr>
                  <p:cNvPr id="3074" name="Полілінія: фігура 3073">
                    <a:extLst>
                      <a:ext uri="{FF2B5EF4-FFF2-40B4-BE49-F238E27FC236}">
                        <a16:creationId xmlns:a16="http://schemas.microsoft.com/office/drawing/2014/main" id="{C415D60F-B930-2E55-1374-56B725FA2ED1}"/>
                      </a:ext>
                    </a:extLst>
                  </p:cNvPr>
                  <p:cNvSpPr/>
                  <p:nvPr/>
                </p:nvSpPr>
                <p:spPr>
                  <a:xfrm>
                    <a:off x="5536600" y="1098051"/>
                    <a:ext cx="260125" cy="4056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0125" h="405676">
                        <a:moveTo>
                          <a:pt x="131465" y="0"/>
                        </a:moveTo>
                        <a:cubicBezTo>
                          <a:pt x="155833" y="140"/>
                          <a:pt x="177660" y="3929"/>
                          <a:pt x="196947" y="11368"/>
                        </a:cubicBezTo>
                        <a:cubicBezTo>
                          <a:pt x="216235" y="18806"/>
                          <a:pt x="231867" y="29050"/>
                          <a:pt x="243843" y="42102"/>
                        </a:cubicBezTo>
                        <a:lnTo>
                          <a:pt x="206788" y="93786"/>
                        </a:lnTo>
                        <a:cubicBezTo>
                          <a:pt x="197501" y="84452"/>
                          <a:pt x="187435" y="77262"/>
                          <a:pt x="176590" y="72215"/>
                        </a:cubicBezTo>
                        <a:cubicBezTo>
                          <a:pt x="165745" y="67168"/>
                          <a:pt x="152578" y="64615"/>
                          <a:pt x="137089" y="64557"/>
                        </a:cubicBezTo>
                        <a:cubicBezTo>
                          <a:pt x="119785" y="64744"/>
                          <a:pt x="106312" y="68726"/>
                          <a:pt x="96670" y="76501"/>
                        </a:cubicBezTo>
                        <a:cubicBezTo>
                          <a:pt x="87028" y="84277"/>
                          <a:pt x="82131" y="94723"/>
                          <a:pt x="81978" y="107839"/>
                        </a:cubicBezTo>
                        <a:cubicBezTo>
                          <a:pt x="82906" y="127528"/>
                          <a:pt x="92185" y="142570"/>
                          <a:pt x="109814" y="152966"/>
                        </a:cubicBezTo>
                        <a:cubicBezTo>
                          <a:pt x="127443" y="163363"/>
                          <a:pt x="147855" y="173241"/>
                          <a:pt x="171051" y="182601"/>
                        </a:cubicBezTo>
                        <a:cubicBezTo>
                          <a:pt x="194248" y="191961"/>
                          <a:pt x="214660" y="204930"/>
                          <a:pt x="232289" y="221510"/>
                        </a:cubicBezTo>
                        <a:cubicBezTo>
                          <a:pt x="249918" y="238090"/>
                          <a:pt x="259197" y="262407"/>
                          <a:pt x="260125" y="294463"/>
                        </a:cubicBezTo>
                        <a:cubicBezTo>
                          <a:pt x="259249" y="328104"/>
                          <a:pt x="246543" y="354928"/>
                          <a:pt x="222005" y="374933"/>
                        </a:cubicBezTo>
                        <a:cubicBezTo>
                          <a:pt x="197468" y="394938"/>
                          <a:pt x="166350" y="405186"/>
                          <a:pt x="128654" y="405676"/>
                        </a:cubicBezTo>
                        <a:cubicBezTo>
                          <a:pt x="111488" y="405651"/>
                          <a:pt x="94287" y="403267"/>
                          <a:pt x="77052" y="398523"/>
                        </a:cubicBezTo>
                        <a:cubicBezTo>
                          <a:pt x="59816" y="393780"/>
                          <a:pt x="44332" y="386821"/>
                          <a:pt x="30597" y="377649"/>
                        </a:cubicBezTo>
                        <a:cubicBezTo>
                          <a:pt x="16863" y="368476"/>
                          <a:pt x="6664" y="357235"/>
                          <a:pt x="0" y="343925"/>
                        </a:cubicBezTo>
                        <a:lnTo>
                          <a:pt x="39309" y="296711"/>
                        </a:lnTo>
                        <a:cubicBezTo>
                          <a:pt x="51252" y="311596"/>
                          <a:pt x="65411" y="322721"/>
                          <a:pt x="81788" y="330087"/>
                        </a:cubicBezTo>
                        <a:cubicBezTo>
                          <a:pt x="98165" y="337453"/>
                          <a:pt x="114162" y="341131"/>
                          <a:pt x="129778" y="341119"/>
                        </a:cubicBezTo>
                        <a:cubicBezTo>
                          <a:pt x="146438" y="341060"/>
                          <a:pt x="160075" y="337102"/>
                          <a:pt x="170689" y="329244"/>
                        </a:cubicBezTo>
                        <a:cubicBezTo>
                          <a:pt x="181304" y="321386"/>
                          <a:pt x="186787" y="309980"/>
                          <a:pt x="187138" y="295025"/>
                        </a:cubicBezTo>
                        <a:cubicBezTo>
                          <a:pt x="186210" y="276267"/>
                          <a:pt x="176932" y="261646"/>
                          <a:pt x="159303" y="251162"/>
                        </a:cubicBezTo>
                        <a:cubicBezTo>
                          <a:pt x="141674" y="240678"/>
                          <a:pt x="121261" y="230519"/>
                          <a:pt x="98065" y="220684"/>
                        </a:cubicBezTo>
                        <a:cubicBezTo>
                          <a:pt x="74869" y="210850"/>
                          <a:pt x="54456" y="197529"/>
                          <a:pt x="36827" y="180721"/>
                        </a:cubicBezTo>
                        <a:cubicBezTo>
                          <a:pt x="19198" y="163913"/>
                          <a:pt x="9920" y="139806"/>
                          <a:pt x="8992" y="108401"/>
                        </a:cubicBezTo>
                        <a:cubicBezTo>
                          <a:pt x="9318" y="78071"/>
                          <a:pt x="20175" y="52629"/>
                          <a:pt x="41565" y="32075"/>
                        </a:cubicBezTo>
                        <a:cubicBezTo>
                          <a:pt x="62955" y="11521"/>
                          <a:pt x="92922" y="829"/>
                          <a:pt x="131465" y="0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73" name="Полілінія: фігура 3072">
                    <a:extLst>
                      <a:ext uri="{FF2B5EF4-FFF2-40B4-BE49-F238E27FC236}">
                        <a16:creationId xmlns:a16="http://schemas.microsoft.com/office/drawing/2014/main" id="{D9F8C6BB-DE72-7234-3CEA-5B0E0500A3EC}"/>
                      </a:ext>
                    </a:extLst>
                  </p:cNvPr>
                  <p:cNvSpPr/>
                  <p:nvPr/>
                </p:nvSpPr>
                <p:spPr>
                  <a:xfrm>
                    <a:off x="9828292" y="1098052"/>
                    <a:ext cx="767620" cy="5163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67620" h="516385">
                        <a:moveTo>
                          <a:pt x="185452" y="0"/>
                        </a:moveTo>
                        <a:lnTo>
                          <a:pt x="221696" y="13437"/>
                        </a:lnTo>
                        <a:lnTo>
                          <a:pt x="219694" y="6744"/>
                        </a:lnTo>
                        <a:lnTo>
                          <a:pt x="297246" y="6744"/>
                        </a:lnTo>
                        <a:lnTo>
                          <a:pt x="376485" y="286718"/>
                        </a:lnTo>
                        <a:lnTo>
                          <a:pt x="464154" y="6744"/>
                        </a:lnTo>
                        <a:lnTo>
                          <a:pt x="532714" y="6744"/>
                        </a:lnTo>
                        <a:lnTo>
                          <a:pt x="622630" y="287279"/>
                        </a:lnTo>
                        <a:lnTo>
                          <a:pt x="701306" y="6744"/>
                        </a:lnTo>
                        <a:lnTo>
                          <a:pt x="767620" y="6744"/>
                        </a:lnTo>
                        <a:lnTo>
                          <a:pt x="655224" y="399494"/>
                        </a:lnTo>
                        <a:lnTo>
                          <a:pt x="590597" y="399494"/>
                        </a:lnTo>
                        <a:lnTo>
                          <a:pt x="495624" y="115590"/>
                        </a:lnTo>
                        <a:lnTo>
                          <a:pt x="402336" y="399494"/>
                        </a:lnTo>
                        <a:lnTo>
                          <a:pt x="337147" y="399494"/>
                        </a:lnTo>
                        <a:lnTo>
                          <a:pt x="228675" y="36776"/>
                        </a:lnTo>
                        <a:lnTo>
                          <a:pt x="50016" y="516385"/>
                        </a:lnTo>
                        <a:lnTo>
                          <a:pt x="0" y="497842"/>
                        </a:lnTo>
                        <a:lnTo>
                          <a:pt x="185452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72" name="Полілінія: фігура 3071">
                    <a:extLst>
                      <a:ext uri="{FF2B5EF4-FFF2-40B4-BE49-F238E27FC236}">
                        <a16:creationId xmlns:a16="http://schemas.microsoft.com/office/drawing/2014/main" id="{77FD2C7D-206C-7063-E82E-B3E7B4E1A774}"/>
                      </a:ext>
                    </a:extLst>
                  </p:cNvPr>
                  <p:cNvSpPr/>
                  <p:nvPr/>
                </p:nvSpPr>
                <p:spPr>
                  <a:xfrm>
                    <a:off x="7717378" y="1104795"/>
                    <a:ext cx="69052" cy="3927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9052" h="392750">
                        <a:moveTo>
                          <a:pt x="0" y="0"/>
                        </a:moveTo>
                        <a:lnTo>
                          <a:pt x="69052" y="0"/>
                        </a:lnTo>
                        <a:lnTo>
                          <a:pt x="69052" y="392750"/>
                        </a:lnTo>
                        <a:lnTo>
                          <a:pt x="0" y="39275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2" name="Полілінія: фігура 431">
                    <a:extLst>
                      <a:ext uri="{FF2B5EF4-FFF2-40B4-BE49-F238E27FC236}">
                        <a16:creationId xmlns:a16="http://schemas.microsoft.com/office/drawing/2014/main" id="{E1E914EB-6867-9CC5-CB68-391A48D23B85}"/>
                      </a:ext>
                    </a:extLst>
                  </p:cNvPr>
                  <p:cNvSpPr/>
                  <p:nvPr/>
                </p:nvSpPr>
                <p:spPr>
                  <a:xfrm>
                    <a:off x="11005102" y="1104795"/>
                    <a:ext cx="241018" cy="3927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1018" h="392750">
                        <a:moveTo>
                          <a:pt x="0" y="0"/>
                        </a:moveTo>
                        <a:lnTo>
                          <a:pt x="64557" y="0"/>
                        </a:lnTo>
                        <a:lnTo>
                          <a:pt x="64557" y="162941"/>
                        </a:lnTo>
                        <a:cubicBezTo>
                          <a:pt x="72887" y="154918"/>
                          <a:pt x="83360" y="148370"/>
                          <a:pt x="95978" y="143294"/>
                        </a:cubicBezTo>
                        <a:cubicBezTo>
                          <a:pt x="108594" y="138219"/>
                          <a:pt x="122302" y="135599"/>
                          <a:pt x="137098" y="135436"/>
                        </a:cubicBezTo>
                        <a:cubicBezTo>
                          <a:pt x="168472" y="135095"/>
                          <a:pt x="193520" y="143635"/>
                          <a:pt x="212239" y="161053"/>
                        </a:cubicBezTo>
                        <a:cubicBezTo>
                          <a:pt x="230958" y="178472"/>
                          <a:pt x="240550" y="206813"/>
                          <a:pt x="241018" y="246074"/>
                        </a:cubicBezTo>
                        <a:lnTo>
                          <a:pt x="241018" y="392750"/>
                        </a:lnTo>
                        <a:lnTo>
                          <a:pt x="176460" y="392750"/>
                        </a:lnTo>
                        <a:lnTo>
                          <a:pt x="176460" y="254504"/>
                        </a:lnTo>
                        <a:cubicBezTo>
                          <a:pt x="176331" y="235596"/>
                          <a:pt x="171388" y="221149"/>
                          <a:pt x="161629" y="211162"/>
                        </a:cubicBezTo>
                        <a:cubicBezTo>
                          <a:pt x="151870" y="201175"/>
                          <a:pt x="138070" y="196141"/>
                          <a:pt x="120228" y="196059"/>
                        </a:cubicBezTo>
                        <a:cubicBezTo>
                          <a:pt x="109720" y="196106"/>
                          <a:pt x="99667" y="198119"/>
                          <a:pt x="90072" y="202100"/>
                        </a:cubicBezTo>
                        <a:cubicBezTo>
                          <a:pt x="80478" y="206081"/>
                          <a:pt x="71973" y="211747"/>
                          <a:pt x="64557" y="219100"/>
                        </a:cubicBezTo>
                        <a:lnTo>
                          <a:pt x="64557" y="392750"/>
                        </a:lnTo>
                        <a:lnTo>
                          <a:pt x="0" y="39275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3" name="Полілінія: фігура 432">
                    <a:extLst>
                      <a:ext uri="{FF2B5EF4-FFF2-40B4-BE49-F238E27FC236}">
                        <a16:creationId xmlns:a16="http://schemas.microsoft.com/office/drawing/2014/main" id="{EC4B14D4-8174-24C9-0B78-1A4F265BCBEF}"/>
                      </a:ext>
                    </a:extLst>
                  </p:cNvPr>
                  <p:cNvSpPr/>
                  <p:nvPr/>
                </p:nvSpPr>
                <p:spPr>
                  <a:xfrm>
                    <a:off x="11294167" y="1104795"/>
                    <a:ext cx="256190" cy="39724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6190" h="397246">
                        <a:moveTo>
                          <a:pt x="191633" y="0"/>
                        </a:moveTo>
                        <a:lnTo>
                          <a:pt x="256190" y="0"/>
                        </a:lnTo>
                        <a:lnTo>
                          <a:pt x="256190" y="392750"/>
                        </a:lnTo>
                        <a:lnTo>
                          <a:pt x="191633" y="392750"/>
                        </a:lnTo>
                        <a:lnTo>
                          <a:pt x="191633" y="366373"/>
                        </a:lnTo>
                        <a:cubicBezTo>
                          <a:pt x="183269" y="375518"/>
                          <a:pt x="173149" y="382909"/>
                          <a:pt x="161270" y="388545"/>
                        </a:cubicBezTo>
                        <a:cubicBezTo>
                          <a:pt x="149391" y="394182"/>
                          <a:pt x="135334" y="397082"/>
                          <a:pt x="119097" y="397246"/>
                        </a:cubicBezTo>
                        <a:cubicBezTo>
                          <a:pt x="82415" y="396723"/>
                          <a:pt x="53503" y="384999"/>
                          <a:pt x="32361" y="362075"/>
                        </a:cubicBezTo>
                        <a:cubicBezTo>
                          <a:pt x="11218" y="339150"/>
                          <a:pt x="431" y="308164"/>
                          <a:pt x="0" y="269115"/>
                        </a:cubicBezTo>
                        <a:cubicBezTo>
                          <a:pt x="687" y="228565"/>
                          <a:pt x="13627" y="196030"/>
                          <a:pt x="38821" y="171510"/>
                        </a:cubicBezTo>
                        <a:cubicBezTo>
                          <a:pt x="64013" y="146989"/>
                          <a:pt x="97333" y="134403"/>
                          <a:pt x="138778" y="133750"/>
                        </a:cubicBezTo>
                        <a:cubicBezTo>
                          <a:pt x="149942" y="133738"/>
                          <a:pt x="159805" y="134744"/>
                          <a:pt x="168369" y="136767"/>
                        </a:cubicBezTo>
                        <a:cubicBezTo>
                          <a:pt x="176932" y="138790"/>
                          <a:pt x="184687" y="141901"/>
                          <a:pt x="191633" y="146099"/>
                        </a:cubicBezTo>
                        <a:lnTo>
                          <a:pt x="191633" y="0"/>
                        </a:lnTo>
                        <a:close/>
                        <a:moveTo>
                          <a:pt x="141589" y="194373"/>
                        </a:moveTo>
                        <a:cubicBezTo>
                          <a:pt x="121839" y="194478"/>
                          <a:pt x="104969" y="200733"/>
                          <a:pt x="90982" y="213138"/>
                        </a:cubicBezTo>
                        <a:cubicBezTo>
                          <a:pt x="76995" y="225543"/>
                          <a:pt x="69685" y="243465"/>
                          <a:pt x="69053" y="266904"/>
                        </a:cubicBezTo>
                        <a:cubicBezTo>
                          <a:pt x="69556" y="289511"/>
                          <a:pt x="75859" y="306847"/>
                          <a:pt x="87961" y="318912"/>
                        </a:cubicBezTo>
                        <a:cubicBezTo>
                          <a:pt x="100061" y="330976"/>
                          <a:pt x="114939" y="337068"/>
                          <a:pt x="132593" y="337185"/>
                        </a:cubicBezTo>
                        <a:cubicBezTo>
                          <a:pt x="144471" y="337021"/>
                          <a:pt x="155436" y="334537"/>
                          <a:pt x="165487" y="329735"/>
                        </a:cubicBezTo>
                        <a:cubicBezTo>
                          <a:pt x="175538" y="324932"/>
                          <a:pt x="184254" y="318794"/>
                          <a:pt x="191633" y="311321"/>
                        </a:cubicBezTo>
                        <a:lnTo>
                          <a:pt x="191633" y="209554"/>
                        </a:lnTo>
                        <a:cubicBezTo>
                          <a:pt x="183504" y="204494"/>
                          <a:pt x="175304" y="200699"/>
                          <a:pt x="167033" y="198168"/>
                        </a:cubicBezTo>
                        <a:cubicBezTo>
                          <a:pt x="158763" y="195638"/>
                          <a:pt x="150281" y="194373"/>
                          <a:pt x="141589" y="194373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4" name="Полілінія: фігура 433">
                    <a:extLst>
                      <a:ext uri="{FF2B5EF4-FFF2-40B4-BE49-F238E27FC236}">
                        <a16:creationId xmlns:a16="http://schemas.microsoft.com/office/drawing/2014/main" id="{D0914A39-12D2-3F9D-1F18-A79C8B11B253}"/>
                      </a:ext>
                    </a:extLst>
                  </p:cNvPr>
                  <p:cNvSpPr/>
                  <p:nvPr/>
                </p:nvSpPr>
                <p:spPr>
                  <a:xfrm>
                    <a:off x="12748178" y="1104796"/>
                    <a:ext cx="126374" cy="3983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6374" h="398371">
                        <a:moveTo>
                          <a:pt x="0" y="0"/>
                        </a:moveTo>
                        <a:lnTo>
                          <a:pt x="64556" y="0"/>
                        </a:lnTo>
                        <a:lnTo>
                          <a:pt x="64556" y="296791"/>
                        </a:lnTo>
                        <a:cubicBezTo>
                          <a:pt x="64522" y="311015"/>
                          <a:pt x="66278" y="321418"/>
                          <a:pt x="69825" y="327999"/>
                        </a:cubicBezTo>
                        <a:cubicBezTo>
                          <a:pt x="73372" y="334579"/>
                          <a:pt x="78922" y="337828"/>
                          <a:pt x="86474" y="337747"/>
                        </a:cubicBezTo>
                        <a:cubicBezTo>
                          <a:pt x="91508" y="337677"/>
                          <a:pt x="96190" y="336695"/>
                          <a:pt x="100522" y="334801"/>
                        </a:cubicBezTo>
                        <a:cubicBezTo>
                          <a:pt x="104854" y="332908"/>
                          <a:pt x="108976" y="330523"/>
                          <a:pt x="112886" y="327648"/>
                        </a:cubicBezTo>
                        <a:lnTo>
                          <a:pt x="126374" y="377039"/>
                        </a:lnTo>
                        <a:cubicBezTo>
                          <a:pt x="119091" y="383085"/>
                          <a:pt x="109912" y="388114"/>
                          <a:pt x="98837" y="392125"/>
                        </a:cubicBezTo>
                        <a:cubicBezTo>
                          <a:pt x="87762" y="396136"/>
                          <a:pt x="74651" y="398218"/>
                          <a:pt x="59504" y="398370"/>
                        </a:cubicBezTo>
                        <a:cubicBezTo>
                          <a:pt x="40078" y="398463"/>
                          <a:pt x="25319" y="392382"/>
                          <a:pt x="15226" y="380128"/>
                        </a:cubicBezTo>
                        <a:cubicBezTo>
                          <a:pt x="5134" y="367873"/>
                          <a:pt x="58" y="348883"/>
                          <a:pt x="0" y="32316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5" name="Полілінія: фігура 434">
                    <a:extLst>
                      <a:ext uri="{FF2B5EF4-FFF2-40B4-BE49-F238E27FC236}">
                        <a16:creationId xmlns:a16="http://schemas.microsoft.com/office/drawing/2014/main" id="{90613BF5-2D4B-8CEE-9A85-A6CA8362FEA7}"/>
                      </a:ext>
                    </a:extLst>
                  </p:cNvPr>
                  <p:cNvSpPr/>
                  <p:nvPr/>
                </p:nvSpPr>
                <p:spPr>
                  <a:xfrm>
                    <a:off x="8192446" y="1116034"/>
                    <a:ext cx="77483" cy="780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7483" h="78044">
                        <a:moveTo>
                          <a:pt x="40426" y="0"/>
                        </a:moveTo>
                        <a:cubicBezTo>
                          <a:pt x="50077" y="129"/>
                          <a:pt x="58568" y="3521"/>
                          <a:pt x="65903" y="10177"/>
                        </a:cubicBezTo>
                        <a:cubicBezTo>
                          <a:pt x="73237" y="16833"/>
                          <a:pt x="77097" y="25980"/>
                          <a:pt x="77483" y="37619"/>
                        </a:cubicBezTo>
                        <a:cubicBezTo>
                          <a:pt x="77097" y="50603"/>
                          <a:pt x="73237" y="60569"/>
                          <a:pt x="65903" y="67517"/>
                        </a:cubicBezTo>
                        <a:cubicBezTo>
                          <a:pt x="58568" y="74465"/>
                          <a:pt x="50077" y="77974"/>
                          <a:pt x="40426" y="78044"/>
                        </a:cubicBezTo>
                        <a:cubicBezTo>
                          <a:pt x="29162" y="77974"/>
                          <a:pt x="19687" y="74465"/>
                          <a:pt x="12002" y="67517"/>
                        </a:cubicBezTo>
                        <a:cubicBezTo>
                          <a:pt x="4317" y="60569"/>
                          <a:pt x="317" y="50603"/>
                          <a:pt x="0" y="37619"/>
                        </a:cubicBezTo>
                        <a:cubicBezTo>
                          <a:pt x="317" y="25980"/>
                          <a:pt x="4317" y="16833"/>
                          <a:pt x="12002" y="10177"/>
                        </a:cubicBezTo>
                        <a:cubicBezTo>
                          <a:pt x="19687" y="3521"/>
                          <a:pt x="29162" y="129"/>
                          <a:pt x="40426" y="0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6" name="Полілінія: фігура 435">
                    <a:extLst>
                      <a:ext uri="{FF2B5EF4-FFF2-40B4-BE49-F238E27FC236}">
                        <a16:creationId xmlns:a16="http://schemas.microsoft.com/office/drawing/2014/main" id="{241C9EC4-6BC5-EC64-E748-500F220AD946}"/>
                      </a:ext>
                    </a:extLst>
                  </p:cNvPr>
                  <p:cNvSpPr/>
                  <p:nvPr/>
                </p:nvSpPr>
                <p:spPr>
                  <a:xfrm>
                    <a:off x="9112437" y="1116034"/>
                    <a:ext cx="77483" cy="780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7483" h="78044">
                        <a:moveTo>
                          <a:pt x="40426" y="0"/>
                        </a:moveTo>
                        <a:cubicBezTo>
                          <a:pt x="50077" y="129"/>
                          <a:pt x="58569" y="3521"/>
                          <a:pt x="65903" y="10177"/>
                        </a:cubicBezTo>
                        <a:cubicBezTo>
                          <a:pt x="73237" y="16833"/>
                          <a:pt x="77097" y="25980"/>
                          <a:pt x="77483" y="37619"/>
                        </a:cubicBezTo>
                        <a:cubicBezTo>
                          <a:pt x="77097" y="50603"/>
                          <a:pt x="73237" y="60569"/>
                          <a:pt x="65903" y="67517"/>
                        </a:cubicBezTo>
                        <a:cubicBezTo>
                          <a:pt x="58569" y="74465"/>
                          <a:pt x="50077" y="77974"/>
                          <a:pt x="40426" y="78044"/>
                        </a:cubicBezTo>
                        <a:cubicBezTo>
                          <a:pt x="29162" y="77974"/>
                          <a:pt x="19687" y="74465"/>
                          <a:pt x="12002" y="67517"/>
                        </a:cubicBezTo>
                        <a:cubicBezTo>
                          <a:pt x="4317" y="60569"/>
                          <a:pt x="316" y="50603"/>
                          <a:pt x="0" y="37619"/>
                        </a:cubicBezTo>
                        <a:cubicBezTo>
                          <a:pt x="316" y="25980"/>
                          <a:pt x="4317" y="16833"/>
                          <a:pt x="12002" y="10177"/>
                        </a:cubicBezTo>
                        <a:cubicBezTo>
                          <a:pt x="19687" y="3521"/>
                          <a:pt x="29162" y="129"/>
                          <a:pt x="40426" y="0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7" name="Полілінія: фігура 436">
                    <a:extLst>
                      <a:ext uri="{FF2B5EF4-FFF2-40B4-BE49-F238E27FC236}">
                        <a16:creationId xmlns:a16="http://schemas.microsoft.com/office/drawing/2014/main" id="{6E384C72-009D-ABB0-9A90-29624E82A2B3}"/>
                      </a:ext>
                    </a:extLst>
                  </p:cNvPr>
                  <p:cNvSpPr/>
                  <p:nvPr/>
                </p:nvSpPr>
                <p:spPr>
                  <a:xfrm>
                    <a:off x="10655488" y="1116034"/>
                    <a:ext cx="77482" cy="780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7482" h="78044">
                        <a:moveTo>
                          <a:pt x="40425" y="0"/>
                        </a:moveTo>
                        <a:cubicBezTo>
                          <a:pt x="50075" y="129"/>
                          <a:pt x="58568" y="3521"/>
                          <a:pt x="65901" y="10177"/>
                        </a:cubicBezTo>
                        <a:cubicBezTo>
                          <a:pt x="73236" y="16833"/>
                          <a:pt x="77095" y="25980"/>
                          <a:pt x="77482" y="37619"/>
                        </a:cubicBezTo>
                        <a:cubicBezTo>
                          <a:pt x="77095" y="50603"/>
                          <a:pt x="73236" y="60569"/>
                          <a:pt x="65901" y="67517"/>
                        </a:cubicBezTo>
                        <a:cubicBezTo>
                          <a:pt x="58568" y="74465"/>
                          <a:pt x="50075" y="77974"/>
                          <a:pt x="40425" y="78044"/>
                        </a:cubicBezTo>
                        <a:cubicBezTo>
                          <a:pt x="29160" y="77974"/>
                          <a:pt x="19686" y="74465"/>
                          <a:pt x="12000" y="67517"/>
                        </a:cubicBezTo>
                        <a:cubicBezTo>
                          <a:pt x="4316" y="60569"/>
                          <a:pt x="315" y="50603"/>
                          <a:pt x="0" y="37619"/>
                        </a:cubicBezTo>
                        <a:cubicBezTo>
                          <a:pt x="315" y="25980"/>
                          <a:pt x="4316" y="16833"/>
                          <a:pt x="12000" y="10177"/>
                        </a:cubicBezTo>
                        <a:cubicBezTo>
                          <a:pt x="19686" y="3521"/>
                          <a:pt x="29160" y="129"/>
                          <a:pt x="40425" y="0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8" name="Полілінія: фігура 437">
                    <a:extLst>
                      <a:ext uri="{FF2B5EF4-FFF2-40B4-BE49-F238E27FC236}">
                        <a16:creationId xmlns:a16="http://schemas.microsoft.com/office/drawing/2014/main" id="{FCDB8318-5657-F151-EFAD-7F5128A67A01}"/>
                      </a:ext>
                    </a:extLst>
                  </p:cNvPr>
                  <p:cNvSpPr/>
                  <p:nvPr/>
                </p:nvSpPr>
                <p:spPr>
                  <a:xfrm>
                    <a:off x="7495907" y="1128960"/>
                    <a:ext cx="154506" cy="4843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4506" h="484352">
                        <a:moveTo>
                          <a:pt x="114044" y="0"/>
                        </a:moveTo>
                        <a:lnTo>
                          <a:pt x="153944" y="35402"/>
                        </a:lnTo>
                        <a:cubicBezTo>
                          <a:pt x="123422" y="65405"/>
                          <a:pt x="100873" y="97128"/>
                          <a:pt x="86297" y="130572"/>
                        </a:cubicBezTo>
                        <a:cubicBezTo>
                          <a:pt x="71720" y="164016"/>
                          <a:pt x="64485" y="201218"/>
                          <a:pt x="64590" y="242178"/>
                        </a:cubicBezTo>
                        <a:cubicBezTo>
                          <a:pt x="65035" y="283874"/>
                          <a:pt x="73418" y="322551"/>
                          <a:pt x="89738" y="358208"/>
                        </a:cubicBezTo>
                        <a:cubicBezTo>
                          <a:pt x="106059" y="393864"/>
                          <a:pt x="127648" y="424113"/>
                          <a:pt x="154506" y="448953"/>
                        </a:cubicBezTo>
                        <a:lnTo>
                          <a:pt x="113482" y="484352"/>
                        </a:lnTo>
                        <a:cubicBezTo>
                          <a:pt x="71401" y="447220"/>
                          <a:pt x="41821" y="407982"/>
                          <a:pt x="24740" y="366636"/>
                        </a:cubicBezTo>
                        <a:cubicBezTo>
                          <a:pt x="7660" y="325290"/>
                          <a:pt x="-576" y="283804"/>
                          <a:pt x="33" y="242178"/>
                        </a:cubicBezTo>
                        <a:cubicBezTo>
                          <a:pt x="-587" y="200797"/>
                          <a:pt x="7672" y="159802"/>
                          <a:pt x="24810" y="119194"/>
                        </a:cubicBezTo>
                        <a:cubicBezTo>
                          <a:pt x="41949" y="78585"/>
                          <a:pt x="71694" y="38854"/>
                          <a:pt x="114044" y="0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39" name="Полілінія: фігура 438">
                    <a:extLst>
                      <a:ext uri="{FF2B5EF4-FFF2-40B4-BE49-F238E27FC236}">
                        <a16:creationId xmlns:a16="http://schemas.microsoft.com/office/drawing/2014/main" id="{666194BE-AA8F-49B0-6FF6-A8770C210A0B}"/>
                      </a:ext>
                    </a:extLst>
                  </p:cNvPr>
                  <p:cNvSpPr/>
                  <p:nvPr/>
                </p:nvSpPr>
                <p:spPr>
                  <a:xfrm>
                    <a:off x="12883661" y="1128960"/>
                    <a:ext cx="154505" cy="4843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4505" h="484352">
                        <a:moveTo>
                          <a:pt x="40463" y="0"/>
                        </a:moveTo>
                        <a:cubicBezTo>
                          <a:pt x="82813" y="38854"/>
                          <a:pt x="112557" y="78585"/>
                          <a:pt x="129697" y="119194"/>
                        </a:cubicBezTo>
                        <a:cubicBezTo>
                          <a:pt x="146835" y="159802"/>
                          <a:pt x="155095" y="200797"/>
                          <a:pt x="154473" y="242178"/>
                        </a:cubicBezTo>
                        <a:cubicBezTo>
                          <a:pt x="155082" y="283804"/>
                          <a:pt x="146847" y="325290"/>
                          <a:pt x="129766" y="366636"/>
                        </a:cubicBezTo>
                        <a:cubicBezTo>
                          <a:pt x="112686" y="407982"/>
                          <a:pt x="83105" y="447220"/>
                          <a:pt x="41025" y="484352"/>
                        </a:cubicBezTo>
                        <a:lnTo>
                          <a:pt x="0" y="448953"/>
                        </a:lnTo>
                        <a:cubicBezTo>
                          <a:pt x="26858" y="424113"/>
                          <a:pt x="48447" y="393864"/>
                          <a:pt x="64768" y="358208"/>
                        </a:cubicBezTo>
                        <a:cubicBezTo>
                          <a:pt x="81089" y="322551"/>
                          <a:pt x="89471" y="283874"/>
                          <a:pt x="89917" y="242178"/>
                        </a:cubicBezTo>
                        <a:cubicBezTo>
                          <a:pt x="90021" y="201218"/>
                          <a:pt x="82786" y="164016"/>
                          <a:pt x="68210" y="130572"/>
                        </a:cubicBezTo>
                        <a:cubicBezTo>
                          <a:pt x="53633" y="97128"/>
                          <a:pt x="31085" y="65405"/>
                          <a:pt x="562" y="35402"/>
                        </a:cubicBezTo>
                        <a:lnTo>
                          <a:pt x="40463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0" name="Полілінія: фігура 439">
                    <a:extLst>
                      <a:ext uri="{FF2B5EF4-FFF2-40B4-BE49-F238E27FC236}">
                        <a16:creationId xmlns:a16="http://schemas.microsoft.com/office/drawing/2014/main" id="{194F0A30-E774-6313-4E25-7CEC5B75ADDE}"/>
                      </a:ext>
                    </a:extLst>
                  </p:cNvPr>
                  <p:cNvSpPr/>
                  <p:nvPr/>
                </p:nvSpPr>
                <p:spPr>
                  <a:xfrm>
                    <a:off x="5855971" y="1174481"/>
                    <a:ext cx="153361" cy="3286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361" h="328685">
                        <a:moveTo>
                          <a:pt x="12" y="0"/>
                        </a:moveTo>
                        <a:lnTo>
                          <a:pt x="64569" y="0"/>
                        </a:lnTo>
                        <a:lnTo>
                          <a:pt x="64569" y="70246"/>
                        </a:lnTo>
                        <a:lnTo>
                          <a:pt x="146055" y="70246"/>
                        </a:lnTo>
                        <a:lnTo>
                          <a:pt x="146055" y="130870"/>
                        </a:lnTo>
                        <a:lnTo>
                          <a:pt x="64569" y="130870"/>
                        </a:lnTo>
                        <a:lnTo>
                          <a:pt x="64569" y="223081"/>
                        </a:lnTo>
                        <a:cubicBezTo>
                          <a:pt x="64499" y="237032"/>
                          <a:pt x="66887" y="248066"/>
                          <a:pt x="71734" y="256184"/>
                        </a:cubicBezTo>
                        <a:cubicBezTo>
                          <a:pt x="76581" y="264301"/>
                          <a:pt x="84308" y="268448"/>
                          <a:pt x="94916" y="268624"/>
                        </a:cubicBezTo>
                        <a:cubicBezTo>
                          <a:pt x="103591" y="268436"/>
                          <a:pt x="111108" y="266843"/>
                          <a:pt x="117465" y="263844"/>
                        </a:cubicBezTo>
                        <a:cubicBezTo>
                          <a:pt x="123822" y="260846"/>
                          <a:pt x="129231" y="257566"/>
                          <a:pt x="133692" y="254005"/>
                        </a:cubicBezTo>
                        <a:lnTo>
                          <a:pt x="153361" y="303987"/>
                        </a:lnTo>
                        <a:cubicBezTo>
                          <a:pt x="145646" y="310419"/>
                          <a:pt x="135366" y="316079"/>
                          <a:pt x="122523" y="320967"/>
                        </a:cubicBezTo>
                        <a:cubicBezTo>
                          <a:pt x="109679" y="325855"/>
                          <a:pt x="95044" y="328427"/>
                          <a:pt x="78618" y="328685"/>
                        </a:cubicBezTo>
                        <a:cubicBezTo>
                          <a:pt x="50286" y="328487"/>
                          <a:pt x="30025" y="319620"/>
                          <a:pt x="17837" y="302084"/>
                        </a:cubicBezTo>
                        <a:cubicBezTo>
                          <a:pt x="5649" y="284547"/>
                          <a:pt x="-292" y="259525"/>
                          <a:pt x="12" y="227017"/>
                        </a:cubicBez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1" name="Полілінія: фігура 440">
                    <a:extLst>
                      <a:ext uri="{FF2B5EF4-FFF2-40B4-BE49-F238E27FC236}">
                        <a16:creationId xmlns:a16="http://schemas.microsoft.com/office/drawing/2014/main" id="{CDF236A3-87A9-7A7B-EC7A-641467ED5C2E}"/>
                      </a:ext>
                    </a:extLst>
                  </p:cNvPr>
                  <p:cNvSpPr/>
                  <p:nvPr/>
                </p:nvSpPr>
                <p:spPr>
                  <a:xfrm>
                    <a:off x="8903971" y="1174481"/>
                    <a:ext cx="153361" cy="3286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361" h="328685">
                        <a:moveTo>
                          <a:pt x="12" y="0"/>
                        </a:moveTo>
                        <a:lnTo>
                          <a:pt x="64569" y="0"/>
                        </a:lnTo>
                        <a:lnTo>
                          <a:pt x="64569" y="70246"/>
                        </a:lnTo>
                        <a:lnTo>
                          <a:pt x="146055" y="70246"/>
                        </a:lnTo>
                        <a:lnTo>
                          <a:pt x="146055" y="130870"/>
                        </a:lnTo>
                        <a:lnTo>
                          <a:pt x="64569" y="130870"/>
                        </a:lnTo>
                        <a:lnTo>
                          <a:pt x="64569" y="223081"/>
                        </a:lnTo>
                        <a:cubicBezTo>
                          <a:pt x="64499" y="237032"/>
                          <a:pt x="66887" y="248066"/>
                          <a:pt x="71734" y="256184"/>
                        </a:cubicBezTo>
                        <a:cubicBezTo>
                          <a:pt x="76581" y="264301"/>
                          <a:pt x="84308" y="268448"/>
                          <a:pt x="94915" y="268624"/>
                        </a:cubicBezTo>
                        <a:cubicBezTo>
                          <a:pt x="103591" y="268436"/>
                          <a:pt x="111107" y="266843"/>
                          <a:pt x="117465" y="263844"/>
                        </a:cubicBezTo>
                        <a:cubicBezTo>
                          <a:pt x="123822" y="260846"/>
                          <a:pt x="129231" y="257566"/>
                          <a:pt x="133691" y="254005"/>
                        </a:cubicBezTo>
                        <a:lnTo>
                          <a:pt x="153361" y="303987"/>
                        </a:lnTo>
                        <a:cubicBezTo>
                          <a:pt x="145645" y="310419"/>
                          <a:pt x="135365" y="316079"/>
                          <a:pt x="122523" y="320967"/>
                        </a:cubicBezTo>
                        <a:cubicBezTo>
                          <a:pt x="109679" y="325855"/>
                          <a:pt x="95044" y="328427"/>
                          <a:pt x="78618" y="328685"/>
                        </a:cubicBezTo>
                        <a:cubicBezTo>
                          <a:pt x="50285" y="328487"/>
                          <a:pt x="30025" y="319620"/>
                          <a:pt x="17837" y="302084"/>
                        </a:cubicBezTo>
                        <a:cubicBezTo>
                          <a:pt x="5649" y="284547"/>
                          <a:pt x="-293" y="259525"/>
                          <a:pt x="12" y="227017"/>
                        </a:cubicBez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2" name="Полілінія: фігура 441">
                    <a:extLst>
                      <a:ext uri="{FF2B5EF4-FFF2-40B4-BE49-F238E27FC236}">
                        <a16:creationId xmlns:a16="http://schemas.microsoft.com/office/drawing/2014/main" id="{B95FE046-F5E5-0555-0D2F-2A04A33F8649}"/>
                      </a:ext>
                    </a:extLst>
                  </p:cNvPr>
                  <p:cNvSpPr/>
                  <p:nvPr/>
                </p:nvSpPr>
                <p:spPr>
                  <a:xfrm>
                    <a:off x="10799446" y="1174481"/>
                    <a:ext cx="153360" cy="3286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53360" h="328685">
                        <a:moveTo>
                          <a:pt x="12" y="0"/>
                        </a:moveTo>
                        <a:lnTo>
                          <a:pt x="64568" y="0"/>
                        </a:lnTo>
                        <a:lnTo>
                          <a:pt x="64568" y="70246"/>
                        </a:lnTo>
                        <a:lnTo>
                          <a:pt x="146055" y="70246"/>
                        </a:lnTo>
                        <a:lnTo>
                          <a:pt x="146055" y="130870"/>
                        </a:lnTo>
                        <a:lnTo>
                          <a:pt x="64568" y="130870"/>
                        </a:lnTo>
                        <a:lnTo>
                          <a:pt x="64568" y="223081"/>
                        </a:lnTo>
                        <a:cubicBezTo>
                          <a:pt x="64498" y="237032"/>
                          <a:pt x="66886" y="248066"/>
                          <a:pt x="71734" y="256184"/>
                        </a:cubicBezTo>
                        <a:cubicBezTo>
                          <a:pt x="76581" y="264301"/>
                          <a:pt x="84308" y="268448"/>
                          <a:pt x="94915" y="268624"/>
                        </a:cubicBezTo>
                        <a:cubicBezTo>
                          <a:pt x="103591" y="268436"/>
                          <a:pt x="111107" y="266843"/>
                          <a:pt x="117464" y="263844"/>
                        </a:cubicBezTo>
                        <a:cubicBezTo>
                          <a:pt x="123822" y="260846"/>
                          <a:pt x="129231" y="257566"/>
                          <a:pt x="133692" y="254005"/>
                        </a:cubicBezTo>
                        <a:lnTo>
                          <a:pt x="153360" y="303987"/>
                        </a:lnTo>
                        <a:cubicBezTo>
                          <a:pt x="145645" y="310419"/>
                          <a:pt x="135366" y="316079"/>
                          <a:pt x="122522" y="320967"/>
                        </a:cubicBezTo>
                        <a:cubicBezTo>
                          <a:pt x="109679" y="325855"/>
                          <a:pt x="95044" y="328427"/>
                          <a:pt x="78618" y="328685"/>
                        </a:cubicBezTo>
                        <a:cubicBezTo>
                          <a:pt x="50284" y="328487"/>
                          <a:pt x="30025" y="319620"/>
                          <a:pt x="17836" y="302084"/>
                        </a:cubicBezTo>
                        <a:cubicBezTo>
                          <a:pt x="5649" y="284547"/>
                          <a:pt x="-293" y="259525"/>
                          <a:pt x="12" y="227017"/>
                        </a:cubicBez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3" name="Полілінія: фігура 442">
                    <a:extLst>
                      <a:ext uri="{FF2B5EF4-FFF2-40B4-BE49-F238E27FC236}">
                        <a16:creationId xmlns:a16="http://schemas.microsoft.com/office/drawing/2014/main" id="{29FC633A-82C3-927D-2A98-A8B9950DFC94}"/>
                      </a:ext>
                    </a:extLst>
                  </p:cNvPr>
                  <p:cNvSpPr/>
                  <p:nvPr/>
                </p:nvSpPr>
                <p:spPr>
                  <a:xfrm>
                    <a:off x="6036368" y="1238545"/>
                    <a:ext cx="275297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5297" h="265182">
                        <a:moveTo>
                          <a:pt x="137648" y="0"/>
                        </a:moveTo>
                        <a:cubicBezTo>
                          <a:pt x="180026" y="781"/>
                          <a:pt x="213437" y="13392"/>
                          <a:pt x="237881" y="37834"/>
                        </a:cubicBezTo>
                        <a:cubicBezTo>
                          <a:pt x="262324" y="62275"/>
                          <a:pt x="274796" y="93861"/>
                          <a:pt x="275297" y="132590"/>
                        </a:cubicBezTo>
                        <a:cubicBezTo>
                          <a:pt x="274796" y="171321"/>
                          <a:pt x="262324" y="202906"/>
                          <a:pt x="237881" y="227348"/>
                        </a:cubicBezTo>
                        <a:cubicBezTo>
                          <a:pt x="213437" y="251789"/>
                          <a:pt x="180026" y="264401"/>
                          <a:pt x="137648" y="265182"/>
                        </a:cubicBezTo>
                        <a:cubicBezTo>
                          <a:pt x="95270" y="264401"/>
                          <a:pt x="61860" y="251789"/>
                          <a:pt x="37416" y="227348"/>
                        </a:cubicBezTo>
                        <a:cubicBezTo>
                          <a:pt x="12972" y="202906"/>
                          <a:pt x="500" y="171321"/>
                          <a:pt x="0" y="132590"/>
                        </a:cubicBezTo>
                        <a:cubicBezTo>
                          <a:pt x="500" y="93861"/>
                          <a:pt x="12972" y="62275"/>
                          <a:pt x="37416" y="37834"/>
                        </a:cubicBezTo>
                        <a:cubicBezTo>
                          <a:pt x="61860" y="13392"/>
                          <a:pt x="95270" y="781"/>
                          <a:pt x="137648" y="0"/>
                        </a:cubicBezTo>
                        <a:close/>
                        <a:moveTo>
                          <a:pt x="137648" y="60623"/>
                        </a:moveTo>
                        <a:cubicBezTo>
                          <a:pt x="118062" y="60880"/>
                          <a:pt x="101851" y="67393"/>
                          <a:pt x="89012" y="80161"/>
                        </a:cubicBezTo>
                        <a:cubicBezTo>
                          <a:pt x="76174" y="92928"/>
                          <a:pt x="69521" y="110405"/>
                          <a:pt x="69052" y="132590"/>
                        </a:cubicBezTo>
                        <a:cubicBezTo>
                          <a:pt x="69450" y="154061"/>
                          <a:pt x="75963" y="171421"/>
                          <a:pt x="88591" y="184669"/>
                        </a:cubicBezTo>
                        <a:cubicBezTo>
                          <a:pt x="101218" y="197917"/>
                          <a:pt x="117570" y="204734"/>
                          <a:pt x="137648" y="205121"/>
                        </a:cubicBezTo>
                        <a:cubicBezTo>
                          <a:pt x="157994" y="204839"/>
                          <a:pt x="174511" y="198233"/>
                          <a:pt x="187197" y="185301"/>
                        </a:cubicBezTo>
                        <a:cubicBezTo>
                          <a:pt x="199883" y="172370"/>
                          <a:pt x="206420" y="154799"/>
                          <a:pt x="206806" y="132590"/>
                        </a:cubicBezTo>
                        <a:cubicBezTo>
                          <a:pt x="206385" y="110897"/>
                          <a:pt x="199778" y="93561"/>
                          <a:pt x="186986" y="80582"/>
                        </a:cubicBezTo>
                        <a:cubicBezTo>
                          <a:pt x="174195" y="67604"/>
                          <a:pt x="157749" y="60951"/>
                          <a:pt x="137648" y="60623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4" name="Полілінія: фігура 443">
                    <a:extLst>
                      <a:ext uri="{FF2B5EF4-FFF2-40B4-BE49-F238E27FC236}">
                        <a16:creationId xmlns:a16="http://schemas.microsoft.com/office/drawing/2014/main" id="{3A60FB4A-86E2-D15E-F25F-016C519D8BC8}"/>
                      </a:ext>
                    </a:extLst>
                  </p:cNvPr>
                  <p:cNvSpPr/>
                  <p:nvPr/>
                </p:nvSpPr>
                <p:spPr>
                  <a:xfrm>
                    <a:off x="6550156" y="1238545"/>
                    <a:ext cx="210127" cy="2623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0127" h="262372">
                        <a:moveTo>
                          <a:pt x="108989" y="0"/>
                        </a:moveTo>
                        <a:cubicBezTo>
                          <a:pt x="145900" y="196"/>
                          <a:pt x="172095" y="9345"/>
                          <a:pt x="187575" y="27447"/>
                        </a:cubicBezTo>
                        <a:cubicBezTo>
                          <a:pt x="203054" y="45549"/>
                          <a:pt x="210566" y="71429"/>
                          <a:pt x="210108" y="105085"/>
                        </a:cubicBezTo>
                        <a:lnTo>
                          <a:pt x="210108" y="259000"/>
                        </a:lnTo>
                        <a:lnTo>
                          <a:pt x="153975" y="259000"/>
                        </a:lnTo>
                        <a:lnTo>
                          <a:pt x="153975" y="229819"/>
                        </a:lnTo>
                        <a:cubicBezTo>
                          <a:pt x="147101" y="239524"/>
                          <a:pt x="137238" y="247335"/>
                          <a:pt x="124385" y="253251"/>
                        </a:cubicBezTo>
                        <a:cubicBezTo>
                          <a:pt x="111532" y="259168"/>
                          <a:pt x="96463" y="262208"/>
                          <a:pt x="79180" y="262372"/>
                        </a:cubicBezTo>
                        <a:cubicBezTo>
                          <a:pt x="55730" y="262198"/>
                          <a:pt x="36775" y="255390"/>
                          <a:pt x="22317" y="241949"/>
                        </a:cubicBezTo>
                        <a:cubicBezTo>
                          <a:pt x="7859" y="228508"/>
                          <a:pt x="420" y="209480"/>
                          <a:pt x="0" y="184863"/>
                        </a:cubicBezTo>
                        <a:cubicBezTo>
                          <a:pt x="642" y="157098"/>
                          <a:pt x="9602" y="136471"/>
                          <a:pt x="26882" y="122983"/>
                        </a:cubicBezTo>
                        <a:cubicBezTo>
                          <a:pt x="44161" y="109494"/>
                          <a:pt x="65905" y="102781"/>
                          <a:pt x="92116" y="102841"/>
                        </a:cubicBezTo>
                        <a:cubicBezTo>
                          <a:pt x="103576" y="102958"/>
                          <a:pt x="114402" y="104548"/>
                          <a:pt x="124597" y="107610"/>
                        </a:cubicBezTo>
                        <a:cubicBezTo>
                          <a:pt x="134791" y="110673"/>
                          <a:pt x="143087" y="114507"/>
                          <a:pt x="149485" y="119112"/>
                        </a:cubicBezTo>
                        <a:cubicBezTo>
                          <a:pt x="150608" y="97950"/>
                          <a:pt x="147655" y="81808"/>
                          <a:pt x="140625" y="70686"/>
                        </a:cubicBezTo>
                        <a:cubicBezTo>
                          <a:pt x="133595" y="59565"/>
                          <a:pt x="120800" y="53962"/>
                          <a:pt x="102240" y="53879"/>
                        </a:cubicBezTo>
                        <a:cubicBezTo>
                          <a:pt x="87839" y="54078"/>
                          <a:pt x="75447" y="55931"/>
                          <a:pt x="65063" y="59437"/>
                        </a:cubicBezTo>
                        <a:cubicBezTo>
                          <a:pt x="54679" y="62942"/>
                          <a:pt x="44967" y="66905"/>
                          <a:pt x="35927" y="71325"/>
                        </a:cubicBezTo>
                        <a:lnTo>
                          <a:pt x="19647" y="24133"/>
                        </a:lnTo>
                        <a:cubicBezTo>
                          <a:pt x="30874" y="17480"/>
                          <a:pt x="44353" y="11844"/>
                          <a:pt x="60084" y="7226"/>
                        </a:cubicBezTo>
                        <a:cubicBezTo>
                          <a:pt x="75815" y="2607"/>
                          <a:pt x="92117" y="199"/>
                          <a:pt x="108989" y="0"/>
                        </a:cubicBezTo>
                        <a:close/>
                        <a:moveTo>
                          <a:pt x="105052" y="146605"/>
                        </a:moveTo>
                        <a:cubicBezTo>
                          <a:pt x="94014" y="146582"/>
                          <a:pt x="84593" y="149160"/>
                          <a:pt x="76790" y="154341"/>
                        </a:cubicBezTo>
                        <a:cubicBezTo>
                          <a:pt x="68986" y="159522"/>
                          <a:pt x="64908" y="167445"/>
                          <a:pt x="64556" y="178112"/>
                        </a:cubicBezTo>
                        <a:cubicBezTo>
                          <a:pt x="64791" y="187723"/>
                          <a:pt x="68259" y="195084"/>
                          <a:pt x="74962" y="200194"/>
                        </a:cubicBezTo>
                        <a:cubicBezTo>
                          <a:pt x="81664" y="205305"/>
                          <a:pt x="90194" y="207884"/>
                          <a:pt x="100552" y="207930"/>
                        </a:cubicBezTo>
                        <a:cubicBezTo>
                          <a:pt x="113910" y="207673"/>
                          <a:pt x="124456" y="205235"/>
                          <a:pt x="132190" y="200616"/>
                        </a:cubicBezTo>
                        <a:cubicBezTo>
                          <a:pt x="139923" y="195998"/>
                          <a:pt x="145688" y="190747"/>
                          <a:pt x="149485" y="184863"/>
                        </a:cubicBezTo>
                        <a:lnTo>
                          <a:pt x="149485" y="158983"/>
                        </a:lnTo>
                        <a:cubicBezTo>
                          <a:pt x="143872" y="154775"/>
                          <a:pt x="137381" y="151657"/>
                          <a:pt x="130010" y="149629"/>
                        </a:cubicBezTo>
                        <a:cubicBezTo>
                          <a:pt x="122640" y="147601"/>
                          <a:pt x="114320" y="146593"/>
                          <a:pt x="105052" y="146605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5" name="Полілінія: фігура 444">
                    <a:extLst>
                      <a:ext uri="{FF2B5EF4-FFF2-40B4-BE49-F238E27FC236}">
                        <a16:creationId xmlns:a16="http://schemas.microsoft.com/office/drawing/2014/main" id="{FFD34FB0-F99B-9DBB-F2F1-C10BDBEEA5B0}"/>
                      </a:ext>
                    </a:extLst>
                  </p:cNvPr>
                  <p:cNvSpPr/>
                  <p:nvPr/>
                </p:nvSpPr>
                <p:spPr>
                  <a:xfrm>
                    <a:off x="6790471" y="1238545"/>
                    <a:ext cx="274174" cy="37589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4174" h="375894">
                        <a:moveTo>
                          <a:pt x="130906" y="0"/>
                        </a:moveTo>
                        <a:cubicBezTo>
                          <a:pt x="143584" y="46"/>
                          <a:pt x="155346" y="1637"/>
                          <a:pt x="166191" y="4770"/>
                        </a:cubicBezTo>
                        <a:cubicBezTo>
                          <a:pt x="177038" y="7904"/>
                          <a:pt x="186823" y="12300"/>
                          <a:pt x="195547" y="17959"/>
                        </a:cubicBezTo>
                        <a:lnTo>
                          <a:pt x="271926" y="1122"/>
                        </a:lnTo>
                        <a:lnTo>
                          <a:pt x="274174" y="52756"/>
                        </a:lnTo>
                        <a:lnTo>
                          <a:pt x="232033" y="62317"/>
                        </a:lnTo>
                        <a:cubicBezTo>
                          <a:pt x="234009" y="67403"/>
                          <a:pt x="235529" y="72699"/>
                          <a:pt x="236594" y="78206"/>
                        </a:cubicBezTo>
                        <a:cubicBezTo>
                          <a:pt x="237658" y="83714"/>
                          <a:pt x="238196" y="89291"/>
                          <a:pt x="238207" y="94939"/>
                        </a:cubicBezTo>
                        <a:cubicBezTo>
                          <a:pt x="237812" y="120962"/>
                          <a:pt x="228079" y="142829"/>
                          <a:pt x="209008" y="160540"/>
                        </a:cubicBezTo>
                        <a:cubicBezTo>
                          <a:pt x="189937" y="178251"/>
                          <a:pt x="163902" y="187468"/>
                          <a:pt x="130905" y="188191"/>
                        </a:cubicBezTo>
                        <a:lnTo>
                          <a:pt x="126407" y="188191"/>
                        </a:lnTo>
                        <a:cubicBezTo>
                          <a:pt x="125868" y="189894"/>
                          <a:pt x="125540" y="191562"/>
                          <a:pt x="125423" y="193194"/>
                        </a:cubicBezTo>
                        <a:cubicBezTo>
                          <a:pt x="125306" y="194827"/>
                          <a:pt x="125259" y="196353"/>
                          <a:pt x="125282" y="197774"/>
                        </a:cubicBezTo>
                        <a:cubicBezTo>
                          <a:pt x="125282" y="200041"/>
                          <a:pt x="125563" y="202273"/>
                          <a:pt x="126126" y="204469"/>
                        </a:cubicBezTo>
                        <a:cubicBezTo>
                          <a:pt x="126688" y="206665"/>
                          <a:pt x="127531" y="208756"/>
                          <a:pt x="128656" y="210740"/>
                        </a:cubicBezTo>
                        <a:lnTo>
                          <a:pt x="131467" y="210740"/>
                        </a:lnTo>
                        <a:cubicBezTo>
                          <a:pt x="169167" y="210634"/>
                          <a:pt x="200285" y="217301"/>
                          <a:pt x="224820" y="230743"/>
                        </a:cubicBezTo>
                        <a:cubicBezTo>
                          <a:pt x="249355" y="244185"/>
                          <a:pt x="262060" y="265043"/>
                          <a:pt x="262935" y="293316"/>
                        </a:cubicBezTo>
                        <a:cubicBezTo>
                          <a:pt x="262060" y="321589"/>
                          <a:pt x="249355" y="342446"/>
                          <a:pt x="224820" y="355888"/>
                        </a:cubicBezTo>
                        <a:cubicBezTo>
                          <a:pt x="200285" y="369330"/>
                          <a:pt x="169167" y="375998"/>
                          <a:pt x="131467" y="375891"/>
                        </a:cubicBezTo>
                        <a:cubicBezTo>
                          <a:pt x="93767" y="376068"/>
                          <a:pt x="62649" y="369540"/>
                          <a:pt x="38115" y="356309"/>
                        </a:cubicBezTo>
                        <a:cubicBezTo>
                          <a:pt x="13580" y="343077"/>
                          <a:pt x="875" y="322080"/>
                          <a:pt x="0" y="293316"/>
                        </a:cubicBezTo>
                        <a:cubicBezTo>
                          <a:pt x="397" y="272245"/>
                          <a:pt x="8023" y="255222"/>
                          <a:pt x="22878" y="242248"/>
                        </a:cubicBezTo>
                        <a:cubicBezTo>
                          <a:pt x="37732" y="229274"/>
                          <a:pt x="57433" y="220268"/>
                          <a:pt x="81980" y="215230"/>
                        </a:cubicBezTo>
                        <a:cubicBezTo>
                          <a:pt x="80565" y="212644"/>
                          <a:pt x="79466" y="209808"/>
                          <a:pt x="78683" y="206721"/>
                        </a:cubicBezTo>
                        <a:cubicBezTo>
                          <a:pt x="77899" y="203635"/>
                          <a:pt x="77501" y="200652"/>
                          <a:pt x="77490" y="197774"/>
                        </a:cubicBezTo>
                        <a:cubicBezTo>
                          <a:pt x="77478" y="194627"/>
                          <a:pt x="77922" y="191483"/>
                          <a:pt x="78823" y="188342"/>
                        </a:cubicBezTo>
                        <a:cubicBezTo>
                          <a:pt x="79723" y="185202"/>
                          <a:pt x="81150" y="182345"/>
                          <a:pt x="83103" y="179773"/>
                        </a:cubicBezTo>
                        <a:cubicBezTo>
                          <a:pt x="63901" y="171929"/>
                          <a:pt x="49119" y="160536"/>
                          <a:pt x="38759" y="145594"/>
                        </a:cubicBezTo>
                        <a:cubicBezTo>
                          <a:pt x="28397" y="130652"/>
                          <a:pt x="23158" y="113767"/>
                          <a:pt x="23041" y="94939"/>
                        </a:cubicBezTo>
                        <a:cubicBezTo>
                          <a:pt x="23355" y="68844"/>
                          <a:pt x="32972" y="46696"/>
                          <a:pt x="51891" y="28493"/>
                        </a:cubicBezTo>
                        <a:cubicBezTo>
                          <a:pt x="70810" y="10291"/>
                          <a:pt x="97148" y="793"/>
                          <a:pt x="130906" y="0"/>
                        </a:cubicBezTo>
                        <a:close/>
                        <a:moveTo>
                          <a:pt x="130906" y="52193"/>
                        </a:moveTo>
                        <a:cubicBezTo>
                          <a:pt x="116143" y="52533"/>
                          <a:pt x="104614" y="56775"/>
                          <a:pt x="96318" y="64919"/>
                        </a:cubicBezTo>
                        <a:cubicBezTo>
                          <a:pt x="88023" y="73062"/>
                          <a:pt x="83805" y="83069"/>
                          <a:pt x="83665" y="94939"/>
                        </a:cubicBezTo>
                        <a:cubicBezTo>
                          <a:pt x="83805" y="106985"/>
                          <a:pt x="88023" y="116781"/>
                          <a:pt x="96318" y="124327"/>
                        </a:cubicBezTo>
                        <a:cubicBezTo>
                          <a:pt x="104614" y="131873"/>
                          <a:pt x="116143" y="135763"/>
                          <a:pt x="130906" y="135998"/>
                        </a:cubicBezTo>
                        <a:cubicBezTo>
                          <a:pt x="144930" y="135869"/>
                          <a:pt x="156249" y="132189"/>
                          <a:pt x="164860" y="124960"/>
                        </a:cubicBezTo>
                        <a:cubicBezTo>
                          <a:pt x="173472" y="117730"/>
                          <a:pt x="177900" y="107723"/>
                          <a:pt x="178146" y="94939"/>
                        </a:cubicBezTo>
                        <a:cubicBezTo>
                          <a:pt x="178076" y="82823"/>
                          <a:pt x="173999" y="72746"/>
                          <a:pt x="165915" y="64708"/>
                        </a:cubicBezTo>
                        <a:cubicBezTo>
                          <a:pt x="157830" y="56669"/>
                          <a:pt x="146161" y="52498"/>
                          <a:pt x="130906" y="52193"/>
                        </a:cubicBezTo>
                        <a:close/>
                        <a:moveTo>
                          <a:pt x="131467" y="262372"/>
                        </a:moveTo>
                        <a:cubicBezTo>
                          <a:pt x="108321" y="262501"/>
                          <a:pt x="90657" y="265337"/>
                          <a:pt x="78475" y="270881"/>
                        </a:cubicBezTo>
                        <a:cubicBezTo>
                          <a:pt x="66293" y="276426"/>
                          <a:pt x="60155" y="283904"/>
                          <a:pt x="60062" y="293316"/>
                        </a:cubicBezTo>
                        <a:cubicBezTo>
                          <a:pt x="60296" y="303220"/>
                          <a:pt x="66715" y="310839"/>
                          <a:pt x="79319" y="316172"/>
                        </a:cubicBezTo>
                        <a:cubicBezTo>
                          <a:pt x="91922" y="321505"/>
                          <a:pt x="109305" y="324201"/>
                          <a:pt x="131467" y="324259"/>
                        </a:cubicBezTo>
                        <a:cubicBezTo>
                          <a:pt x="153606" y="324236"/>
                          <a:pt x="170895" y="321610"/>
                          <a:pt x="183335" y="316383"/>
                        </a:cubicBezTo>
                        <a:cubicBezTo>
                          <a:pt x="195775" y="311155"/>
                          <a:pt x="202101" y="303466"/>
                          <a:pt x="202311" y="293316"/>
                        </a:cubicBezTo>
                        <a:cubicBezTo>
                          <a:pt x="202276" y="283904"/>
                          <a:pt x="196302" y="276426"/>
                          <a:pt x="184389" y="270882"/>
                        </a:cubicBezTo>
                        <a:cubicBezTo>
                          <a:pt x="172476" y="265337"/>
                          <a:pt x="154836" y="262501"/>
                          <a:pt x="131467" y="262372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6" name="Полілінія: фігура 445">
                    <a:extLst>
                      <a:ext uri="{FF2B5EF4-FFF2-40B4-BE49-F238E27FC236}">
                        <a16:creationId xmlns:a16="http://schemas.microsoft.com/office/drawing/2014/main" id="{AD56BBE3-E77D-61AB-C7DF-47BAA8F56C80}"/>
                      </a:ext>
                    </a:extLst>
                  </p:cNvPr>
                  <p:cNvSpPr/>
                  <p:nvPr/>
                </p:nvSpPr>
                <p:spPr>
                  <a:xfrm>
                    <a:off x="7084118" y="1238545"/>
                    <a:ext cx="253380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3380" h="265182">
                        <a:moveTo>
                          <a:pt x="133718" y="0"/>
                        </a:moveTo>
                        <a:cubicBezTo>
                          <a:pt x="167233" y="464"/>
                          <a:pt x="195328" y="11181"/>
                          <a:pt x="218003" y="32150"/>
                        </a:cubicBezTo>
                        <a:cubicBezTo>
                          <a:pt x="240677" y="53119"/>
                          <a:pt x="252470" y="81553"/>
                          <a:pt x="253380" y="117453"/>
                        </a:cubicBezTo>
                        <a:cubicBezTo>
                          <a:pt x="253392" y="125191"/>
                          <a:pt x="253088" y="131771"/>
                          <a:pt x="252468" y="137192"/>
                        </a:cubicBezTo>
                        <a:cubicBezTo>
                          <a:pt x="251848" y="142613"/>
                          <a:pt x="250842" y="147647"/>
                          <a:pt x="249451" y="152295"/>
                        </a:cubicBezTo>
                        <a:lnTo>
                          <a:pt x="66804" y="152295"/>
                        </a:lnTo>
                        <a:cubicBezTo>
                          <a:pt x="69932" y="171472"/>
                          <a:pt x="78296" y="186084"/>
                          <a:pt x="91897" y="196129"/>
                        </a:cubicBezTo>
                        <a:cubicBezTo>
                          <a:pt x="105498" y="206174"/>
                          <a:pt x="122437" y="211232"/>
                          <a:pt x="142715" y="211302"/>
                        </a:cubicBezTo>
                        <a:cubicBezTo>
                          <a:pt x="158307" y="211080"/>
                          <a:pt x="172243" y="208715"/>
                          <a:pt x="184524" y="204207"/>
                        </a:cubicBezTo>
                        <a:cubicBezTo>
                          <a:pt x="196805" y="199700"/>
                          <a:pt x="206658" y="194385"/>
                          <a:pt x="214084" y="188261"/>
                        </a:cubicBezTo>
                        <a:lnTo>
                          <a:pt x="232610" y="233752"/>
                        </a:lnTo>
                        <a:cubicBezTo>
                          <a:pt x="219745" y="244392"/>
                          <a:pt x="204908" y="252296"/>
                          <a:pt x="188100" y="257465"/>
                        </a:cubicBezTo>
                        <a:cubicBezTo>
                          <a:pt x="171291" y="262633"/>
                          <a:pt x="153914" y="265205"/>
                          <a:pt x="135967" y="265182"/>
                        </a:cubicBezTo>
                        <a:cubicBezTo>
                          <a:pt x="94640" y="264646"/>
                          <a:pt x="61789" y="252528"/>
                          <a:pt x="37416" y="228828"/>
                        </a:cubicBezTo>
                        <a:cubicBezTo>
                          <a:pt x="13042" y="205128"/>
                          <a:pt x="570" y="173061"/>
                          <a:pt x="0" y="132626"/>
                        </a:cubicBezTo>
                        <a:cubicBezTo>
                          <a:pt x="372" y="94864"/>
                          <a:pt x="12259" y="63549"/>
                          <a:pt x="35661" y="38682"/>
                        </a:cubicBezTo>
                        <a:cubicBezTo>
                          <a:pt x="59064" y="13815"/>
                          <a:pt x="91749" y="921"/>
                          <a:pt x="133718" y="0"/>
                        </a:cubicBezTo>
                        <a:close/>
                        <a:moveTo>
                          <a:pt x="130907" y="53879"/>
                        </a:moveTo>
                        <a:cubicBezTo>
                          <a:pt x="111589" y="54102"/>
                          <a:pt x="96525" y="59143"/>
                          <a:pt x="85712" y="69001"/>
                        </a:cubicBezTo>
                        <a:cubicBezTo>
                          <a:pt x="74900" y="78860"/>
                          <a:pt x="67849" y="92201"/>
                          <a:pt x="64559" y="109023"/>
                        </a:cubicBezTo>
                        <a:lnTo>
                          <a:pt x="188823" y="109023"/>
                        </a:lnTo>
                        <a:cubicBezTo>
                          <a:pt x="188975" y="93185"/>
                          <a:pt x="184032" y="80126"/>
                          <a:pt x="173992" y="69845"/>
                        </a:cubicBezTo>
                        <a:cubicBezTo>
                          <a:pt x="163953" y="59565"/>
                          <a:pt x="149591" y="54242"/>
                          <a:pt x="130907" y="53879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447" name="Полілінія: фігура 446">
                    <a:extLst>
                      <a:ext uri="{FF2B5EF4-FFF2-40B4-BE49-F238E27FC236}">
                        <a16:creationId xmlns:a16="http://schemas.microsoft.com/office/drawing/2014/main" id="{93C2A220-18A9-2BCC-200A-EAF0A0A384E9}"/>
                      </a:ext>
                    </a:extLst>
                  </p:cNvPr>
                  <p:cNvSpPr/>
                  <p:nvPr/>
                </p:nvSpPr>
                <p:spPr>
                  <a:xfrm>
                    <a:off x="8331893" y="1238545"/>
                    <a:ext cx="253380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3380" h="265182">
                        <a:moveTo>
                          <a:pt x="133718" y="0"/>
                        </a:moveTo>
                        <a:cubicBezTo>
                          <a:pt x="167233" y="464"/>
                          <a:pt x="195328" y="11181"/>
                          <a:pt x="218003" y="32150"/>
                        </a:cubicBezTo>
                        <a:cubicBezTo>
                          <a:pt x="240677" y="53119"/>
                          <a:pt x="252469" y="81553"/>
                          <a:pt x="253380" y="117453"/>
                        </a:cubicBezTo>
                        <a:cubicBezTo>
                          <a:pt x="253392" y="125191"/>
                          <a:pt x="253087" y="131771"/>
                          <a:pt x="252468" y="137192"/>
                        </a:cubicBezTo>
                        <a:cubicBezTo>
                          <a:pt x="251849" y="142613"/>
                          <a:pt x="250842" y="147647"/>
                          <a:pt x="249451" y="152295"/>
                        </a:cubicBezTo>
                        <a:lnTo>
                          <a:pt x="66804" y="152295"/>
                        </a:lnTo>
                        <a:cubicBezTo>
                          <a:pt x="69932" y="171472"/>
                          <a:pt x="78296" y="186084"/>
                          <a:pt x="91897" y="196129"/>
                        </a:cubicBezTo>
                        <a:cubicBezTo>
                          <a:pt x="105497" y="206174"/>
                          <a:pt x="122437" y="211232"/>
                          <a:pt x="142715" y="211302"/>
                        </a:cubicBezTo>
                        <a:cubicBezTo>
                          <a:pt x="158307" y="211080"/>
                          <a:pt x="172243" y="208715"/>
                          <a:pt x="184523" y="204207"/>
                        </a:cubicBezTo>
                        <a:cubicBezTo>
                          <a:pt x="196805" y="199700"/>
                          <a:pt x="206658" y="194385"/>
                          <a:pt x="214084" y="188261"/>
                        </a:cubicBezTo>
                        <a:lnTo>
                          <a:pt x="232610" y="233752"/>
                        </a:lnTo>
                        <a:cubicBezTo>
                          <a:pt x="219745" y="244392"/>
                          <a:pt x="204908" y="252296"/>
                          <a:pt x="188099" y="257465"/>
                        </a:cubicBezTo>
                        <a:cubicBezTo>
                          <a:pt x="171291" y="262633"/>
                          <a:pt x="153914" y="265205"/>
                          <a:pt x="135967" y="265182"/>
                        </a:cubicBezTo>
                        <a:cubicBezTo>
                          <a:pt x="94640" y="264646"/>
                          <a:pt x="61789" y="252528"/>
                          <a:pt x="37416" y="228828"/>
                        </a:cubicBezTo>
                        <a:cubicBezTo>
                          <a:pt x="13042" y="205128"/>
                          <a:pt x="570" y="173061"/>
                          <a:pt x="0" y="132626"/>
                        </a:cubicBezTo>
                        <a:cubicBezTo>
                          <a:pt x="371" y="94864"/>
                          <a:pt x="12259" y="63549"/>
                          <a:pt x="35661" y="38682"/>
                        </a:cubicBezTo>
                        <a:cubicBezTo>
                          <a:pt x="59063" y="13815"/>
                          <a:pt x="91749" y="921"/>
                          <a:pt x="133718" y="0"/>
                        </a:cubicBezTo>
                        <a:close/>
                        <a:moveTo>
                          <a:pt x="130907" y="53879"/>
                        </a:moveTo>
                        <a:cubicBezTo>
                          <a:pt x="111589" y="54102"/>
                          <a:pt x="96524" y="59143"/>
                          <a:pt x="85712" y="69001"/>
                        </a:cubicBezTo>
                        <a:cubicBezTo>
                          <a:pt x="74900" y="78860"/>
                          <a:pt x="67849" y="92201"/>
                          <a:pt x="64559" y="109023"/>
                        </a:cubicBezTo>
                        <a:lnTo>
                          <a:pt x="188823" y="109023"/>
                        </a:lnTo>
                        <a:cubicBezTo>
                          <a:pt x="188975" y="93185"/>
                          <a:pt x="184032" y="80126"/>
                          <a:pt x="173992" y="69845"/>
                        </a:cubicBezTo>
                        <a:cubicBezTo>
                          <a:pt x="163953" y="59565"/>
                          <a:pt x="149591" y="54242"/>
                          <a:pt x="130907" y="53879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76" name="Полілінія: фігура 3075">
                    <a:extLst>
                      <a:ext uri="{FF2B5EF4-FFF2-40B4-BE49-F238E27FC236}">
                        <a16:creationId xmlns:a16="http://schemas.microsoft.com/office/drawing/2014/main" id="{20EA01A8-1763-9FA4-3E8A-2570D61EE3EB}"/>
                      </a:ext>
                    </a:extLst>
                  </p:cNvPr>
                  <p:cNvSpPr/>
                  <p:nvPr/>
                </p:nvSpPr>
                <p:spPr>
                  <a:xfrm>
                    <a:off x="8617642" y="1238545"/>
                    <a:ext cx="237645" cy="2651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37645" h="265183">
                        <a:moveTo>
                          <a:pt x="130870" y="1"/>
                        </a:moveTo>
                        <a:cubicBezTo>
                          <a:pt x="151827" y="-46"/>
                          <a:pt x="171028" y="2714"/>
                          <a:pt x="188473" y="8280"/>
                        </a:cubicBezTo>
                        <a:cubicBezTo>
                          <a:pt x="205917" y="13847"/>
                          <a:pt x="220622" y="22501"/>
                          <a:pt x="232588" y="34242"/>
                        </a:cubicBezTo>
                        <a:lnTo>
                          <a:pt x="202241" y="85363"/>
                        </a:lnTo>
                        <a:cubicBezTo>
                          <a:pt x="192700" y="76214"/>
                          <a:pt x="182700" y="69772"/>
                          <a:pt x="172246" y="66035"/>
                        </a:cubicBezTo>
                        <a:cubicBezTo>
                          <a:pt x="161791" y="62299"/>
                          <a:pt x="150808" y="60495"/>
                          <a:pt x="139300" y="60624"/>
                        </a:cubicBezTo>
                        <a:cubicBezTo>
                          <a:pt x="120638" y="60846"/>
                          <a:pt x="104434" y="67289"/>
                          <a:pt x="90689" y="79951"/>
                        </a:cubicBezTo>
                        <a:cubicBezTo>
                          <a:pt x="76944" y="92613"/>
                          <a:pt x="69732" y="110160"/>
                          <a:pt x="69053" y="132591"/>
                        </a:cubicBezTo>
                        <a:cubicBezTo>
                          <a:pt x="69708" y="155292"/>
                          <a:pt x="77108" y="173003"/>
                          <a:pt x="91251" y="185724"/>
                        </a:cubicBezTo>
                        <a:cubicBezTo>
                          <a:pt x="105394" y="198445"/>
                          <a:pt x="122347" y="204911"/>
                          <a:pt x="142110" y="205122"/>
                        </a:cubicBezTo>
                        <a:cubicBezTo>
                          <a:pt x="155855" y="204958"/>
                          <a:pt x="168124" y="202053"/>
                          <a:pt x="178919" y="196407"/>
                        </a:cubicBezTo>
                        <a:cubicBezTo>
                          <a:pt x="189714" y="190761"/>
                          <a:pt x="199174" y="183358"/>
                          <a:pt x="207299" y="174198"/>
                        </a:cubicBezTo>
                        <a:lnTo>
                          <a:pt x="237645" y="221400"/>
                        </a:lnTo>
                        <a:cubicBezTo>
                          <a:pt x="226675" y="235749"/>
                          <a:pt x="212368" y="246624"/>
                          <a:pt x="194725" y="254027"/>
                        </a:cubicBezTo>
                        <a:cubicBezTo>
                          <a:pt x="177081" y="261429"/>
                          <a:pt x="157857" y="265148"/>
                          <a:pt x="137052" y="265183"/>
                        </a:cubicBezTo>
                        <a:cubicBezTo>
                          <a:pt x="95452" y="264647"/>
                          <a:pt x="62355" y="252527"/>
                          <a:pt x="37763" y="228822"/>
                        </a:cubicBezTo>
                        <a:cubicBezTo>
                          <a:pt x="13171" y="205118"/>
                          <a:pt x="584" y="173041"/>
                          <a:pt x="0" y="132591"/>
                        </a:cubicBezTo>
                        <a:cubicBezTo>
                          <a:pt x="642" y="94844"/>
                          <a:pt x="12832" y="63539"/>
                          <a:pt x="36570" y="38677"/>
                        </a:cubicBezTo>
                        <a:cubicBezTo>
                          <a:pt x="60307" y="13814"/>
                          <a:pt x="91740" y="922"/>
                          <a:pt x="130870" y="1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77" name="Полілінія: фігура 3076">
                    <a:extLst>
                      <a:ext uri="{FF2B5EF4-FFF2-40B4-BE49-F238E27FC236}">
                        <a16:creationId xmlns:a16="http://schemas.microsoft.com/office/drawing/2014/main" id="{D91EE20D-FF6B-988C-8171-3370727C2718}"/>
                      </a:ext>
                    </a:extLst>
                  </p:cNvPr>
                  <p:cNvSpPr/>
                  <p:nvPr/>
                </p:nvSpPr>
                <p:spPr>
                  <a:xfrm>
                    <a:off x="9246292" y="1238545"/>
                    <a:ext cx="275298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5298" h="265182">
                        <a:moveTo>
                          <a:pt x="137648" y="0"/>
                        </a:moveTo>
                        <a:cubicBezTo>
                          <a:pt x="180026" y="781"/>
                          <a:pt x="213438" y="13392"/>
                          <a:pt x="237881" y="37834"/>
                        </a:cubicBezTo>
                        <a:cubicBezTo>
                          <a:pt x="262325" y="62275"/>
                          <a:pt x="274797" y="93861"/>
                          <a:pt x="275298" y="132590"/>
                        </a:cubicBezTo>
                        <a:cubicBezTo>
                          <a:pt x="274797" y="171321"/>
                          <a:pt x="262325" y="202906"/>
                          <a:pt x="237881" y="227348"/>
                        </a:cubicBezTo>
                        <a:cubicBezTo>
                          <a:pt x="213438" y="251789"/>
                          <a:pt x="180027" y="264401"/>
                          <a:pt x="137648" y="265182"/>
                        </a:cubicBezTo>
                        <a:cubicBezTo>
                          <a:pt x="95271" y="264401"/>
                          <a:pt x="61860" y="251789"/>
                          <a:pt x="37416" y="227348"/>
                        </a:cubicBezTo>
                        <a:cubicBezTo>
                          <a:pt x="12973" y="202906"/>
                          <a:pt x="501" y="171321"/>
                          <a:pt x="0" y="132590"/>
                        </a:cubicBezTo>
                        <a:cubicBezTo>
                          <a:pt x="501" y="93861"/>
                          <a:pt x="12973" y="62275"/>
                          <a:pt x="37416" y="37834"/>
                        </a:cubicBezTo>
                        <a:cubicBezTo>
                          <a:pt x="61860" y="13392"/>
                          <a:pt x="95271" y="781"/>
                          <a:pt x="137648" y="0"/>
                        </a:cubicBezTo>
                        <a:close/>
                        <a:moveTo>
                          <a:pt x="137648" y="60623"/>
                        </a:moveTo>
                        <a:cubicBezTo>
                          <a:pt x="118063" y="60880"/>
                          <a:pt x="101851" y="67393"/>
                          <a:pt x="89013" y="80161"/>
                        </a:cubicBezTo>
                        <a:cubicBezTo>
                          <a:pt x="76175" y="92928"/>
                          <a:pt x="69522" y="110405"/>
                          <a:pt x="69053" y="132590"/>
                        </a:cubicBezTo>
                        <a:cubicBezTo>
                          <a:pt x="69451" y="154061"/>
                          <a:pt x="75964" y="171421"/>
                          <a:pt x="88591" y="184669"/>
                        </a:cubicBezTo>
                        <a:cubicBezTo>
                          <a:pt x="101219" y="197917"/>
                          <a:pt x="117571" y="204734"/>
                          <a:pt x="137648" y="205121"/>
                        </a:cubicBezTo>
                        <a:cubicBezTo>
                          <a:pt x="157995" y="204839"/>
                          <a:pt x="174512" y="198233"/>
                          <a:pt x="187198" y="185301"/>
                        </a:cubicBezTo>
                        <a:cubicBezTo>
                          <a:pt x="199884" y="172370"/>
                          <a:pt x="206420" y="154799"/>
                          <a:pt x="206807" y="132590"/>
                        </a:cubicBezTo>
                        <a:cubicBezTo>
                          <a:pt x="206385" y="110897"/>
                          <a:pt x="199778" y="93561"/>
                          <a:pt x="186987" y="80582"/>
                        </a:cubicBezTo>
                        <a:cubicBezTo>
                          <a:pt x="174196" y="67604"/>
                          <a:pt x="157749" y="60951"/>
                          <a:pt x="137648" y="60623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78" name="Полілінія: фігура 3077">
                    <a:extLst>
                      <a:ext uri="{FF2B5EF4-FFF2-40B4-BE49-F238E27FC236}">
                        <a16:creationId xmlns:a16="http://schemas.microsoft.com/office/drawing/2014/main" id="{EB9C7C5A-5E6E-2D1A-2ACA-AF83D4D2901A}"/>
                      </a:ext>
                    </a:extLst>
                  </p:cNvPr>
                  <p:cNvSpPr/>
                  <p:nvPr/>
                </p:nvSpPr>
                <p:spPr>
                  <a:xfrm>
                    <a:off x="11807955" y="1238545"/>
                    <a:ext cx="210128" cy="2623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0128" h="262372">
                        <a:moveTo>
                          <a:pt x="108989" y="0"/>
                        </a:moveTo>
                        <a:cubicBezTo>
                          <a:pt x="145899" y="196"/>
                          <a:pt x="172095" y="9345"/>
                          <a:pt x="187575" y="27447"/>
                        </a:cubicBezTo>
                        <a:cubicBezTo>
                          <a:pt x="203055" y="45549"/>
                          <a:pt x="210566" y="71429"/>
                          <a:pt x="210109" y="105085"/>
                        </a:cubicBezTo>
                        <a:lnTo>
                          <a:pt x="210109" y="259000"/>
                        </a:lnTo>
                        <a:lnTo>
                          <a:pt x="153976" y="259000"/>
                        </a:lnTo>
                        <a:lnTo>
                          <a:pt x="153976" y="229819"/>
                        </a:lnTo>
                        <a:cubicBezTo>
                          <a:pt x="147102" y="239524"/>
                          <a:pt x="137238" y="247335"/>
                          <a:pt x="124385" y="253251"/>
                        </a:cubicBezTo>
                        <a:cubicBezTo>
                          <a:pt x="111532" y="259168"/>
                          <a:pt x="96463" y="262208"/>
                          <a:pt x="79181" y="262372"/>
                        </a:cubicBezTo>
                        <a:cubicBezTo>
                          <a:pt x="55729" y="262198"/>
                          <a:pt x="36775" y="255390"/>
                          <a:pt x="22318" y="241949"/>
                        </a:cubicBezTo>
                        <a:cubicBezTo>
                          <a:pt x="7860" y="228508"/>
                          <a:pt x="420" y="209480"/>
                          <a:pt x="0" y="184863"/>
                        </a:cubicBezTo>
                        <a:cubicBezTo>
                          <a:pt x="642" y="157098"/>
                          <a:pt x="9603" y="136471"/>
                          <a:pt x="26882" y="122983"/>
                        </a:cubicBezTo>
                        <a:cubicBezTo>
                          <a:pt x="44161" y="109494"/>
                          <a:pt x="65906" y="102781"/>
                          <a:pt x="92117" y="102841"/>
                        </a:cubicBezTo>
                        <a:cubicBezTo>
                          <a:pt x="103576" y="102958"/>
                          <a:pt x="114403" y="104548"/>
                          <a:pt x="124597" y="107610"/>
                        </a:cubicBezTo>
                        <a:cubicBezTo>
                          <a:pt x="134791" y="110673"/>
                          <a:pt x="143087" y="114507"/>
                          <a:pt x="149485" y="119112"/>
                        </a:cubicBezTo>
                        <a:cubicBezTo>
                          <a:pt x="150609" y="97950"/>
                          <a:pt x="147655" y="81808"/>
                          <a:pt x="140625" y="70686"/>
                        </a:cubicBezTo>
                        <a:cubicBezTo>
                          <a:pt x="133595" y="59565"/>
                          <a:pt x="120801" y="53962"/>
                          <a:pt x="102240" y="53879"/>
                        </a:cubicBezTo>
                        <a:cubicBezTo>
                          <a:pt x="87840" y="54078"/>
                          <a:pt x="75447" y="55931"/>
                          <a:pt x="65063" y="59437"/>
                        </a:cubicBezTo>
                        <a:cubicBezTo>
                          <a:pt x="54679" y="62942"/>
                          <a:pt x="44967" y="66905"/>
                          <a:pt x="35927" y="71325"/>
                        </a:cubicBezTo>
                        <a:lnTo>
                          <a:pt x="19647" y="24133"/>
                        </a:lnTo>
                        <a:cubicBezTo>
                          <a:pt x="30875" y="17480"/>
                          <a:pt x="44353" y="11844"/>
                          <a:pt x="60085" y="7226"/>
                        </a:cubicBezTo>
                        <a:cubicBezTo>
                          <a:pt x="75816" y="2607"/>
                          <a:pt x="92117" y="199"/>
                          <a:pt x="108989" y="0"/>
                        </a:cubicBezTo>
                        <a:close/>
                        <a:moveTo>
                          <a:pt x="105052" y="146605"/>
                        </a:moveTo>
                        <a:cubicBezTo>
                          <a:pt x="94015" y="146582"/>
                          <a:pt x="84593" y="149160"/>
                          <a:pt x="76790" y="154341"/>
                        </a:cubicBezTo>
                        <a:cubicBezTo>
                          <a:pt x="68987" y="159522"/>
                          <a:pt x="64909" y="167445"/>
                          <a:pt x="64557" y="178112"/>
                        </a:cubicBezTo>
                        <a:cubicBezTo>
                          <a:pt x="64791" y="187723"/>
                          <a:pt x="68259" y="195084"/>
                          <a:pt x="74962" y="200194"/>
                        </a:cubicBezTo>
                        <a:cubicBezTo>
                          <a:pt x="81665" y="205305"/>
                          <a:pt x="90195" y="207884"/>
                          <a:pt x="100553" y="207930"/>
                        </a:cubicBezTo>
                        <a:cubicBezTo>
                          <a:pt x="113911" y="207673"/>
                          <a:pt x="124457" y="205235"/>
                          <a:pt x="132190" y="200616"/>
                        </a:cubicBezTo>
                        <a:cubicBezTo>
                          <a:pt x="139924" y="195998"/>
                          <a:pt x="145689" y="190747"/>
                          <a:pt x="149485" y="184863"/>
                        </a:cubicBezTo>
                        <a:lnTo>
                          <a:pt x="149485" y="158983"/>
                        </a:lnTo>
                        <a:cubicBezTo>
                          <a:pt x="143873" y="154775"/>
                          <a:pt x="137381" y="151657"/>
                          <a:pt x="130011" y="149629"/>
                        </a:cubicBezTo>
                        <a:cubicBezTo>
                          <a:pt x="122641" y="147601"/>
                          <a:pt x="114321" y="146593"/>
                          <a:pt x="105052" y="146605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79" name="Полілінія: фігура 3078">
                    <a:extLst>
                      <a:ext uri="{FF2B5EF4-FFF2-40B4-BE49-F238E27FC236}">
                        <a16:creationId xmlns:a16="http://schemas.microsoft.com/office/drawing/2014/main" id="{9CDD2490-3739-BFD2-69D7-3A20C3AE8C1D}"/>
                      </a:ext>
                    </a:extLst>
                  </p:cNvPr>
                  <p:cNvSpPr/>
                  <p:nvPr/>
                </p:nvSpPr>
                <p:spPr>
                  <a:xfrm>
                    <a:off x="12474706" y="1238545"/>
                    <a:ext cx="210127" cy="2623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0127" h="262372">
                        <a:moveTo>
                          <a:pt x="108988" y="0"/>
                        </a:moveTo>
                        <a:cubicBezTo>
                          <a:pt x="145899" y="196"/>
                          <a:pt x="172094" y="9345"/>
                          <a:pt x="187574" y="27447"/>
                        </a:cubicBezTo>
                        <a:cubicBezTo>
                          <a:pt x="203054" y="45549"/>
                          <a:pt x="210566" y="71429"/>
                          <a:pt x="210108" y="105085"/>
                        </a:cubicBezTo>
                        <a:lnTo>
                          <a:pt x="210108" y="259000"/>
                        </a:lnTo>
                        <a:lnTo>
                          <a:pt x="153975" y="259000"/>
                        </a:lnTo>
                        <a:lnTo>
                          <a:pt x="153975" y="229819"/>
                        </a:lnTo>
                        <a:cubicBezTo>
                          <a:pt x="147101" y="239524"/>
                          <a:pt x="137238" y="247335"/>
                          <a:pt x="124384" y="253251"/>
                        </a:cubicBezTo>
                        <a:cubicBezTo>
                          <a:pt x="111531" y="259168"/>
                          <a:pt x="96464" y="262208"/>
                          <a:pt x="79180" y="262372"/>
                        </a:cubicBezTo>
                        <a:cubicBezTo>
                          <a:pt x="55729" y="262198"/>
                          <a:pt x="36775" y="255390"/>
                          <a:pt x="22316" y="241949"/>
                        </a:cubicBezTo>
                        <a:cubicBezTo>
                          <a:pt x="7859" y="228508"/>
                          <a:pt x="420" y="209480"/>
                          <a:pt x="0" y="184863"/>
                        </a:cubicBezTo>
                        <a:cubicBezTo>
                          <a:pt x="641" y="157098"/>
                          <a:pt x="9602" y="136471"/>
                          <a:pt x="26881" y="122983"/>
                        </a:cubicBezTo>
                        <a:cubicBezTo>
                          <a:pt x="44160" y="109494"/>
                          <a:pt x="65905" y="102781"/>
                          <a:pt x="92116" y="102841"/>
                        </a:cubicBezTo>
                        <a:cubicBezTo>
                          <a:pt x="103575" y="102958"/>
                          <a:pt x="114402" y="104548"/>
                          <a:pt x="124596" y="107610"/>
                        </a:cubicBezTo>
                        <a:cubicBezTo>
                          <a:pt x="134790" y="110673"/>
                          <a:pt x="143086" y="114507"/>
                          <a:pt x="149484" y="119112"/>
                        </a:cubicBezTo>
                        <a:cubicBezTo>
                          <a:pt x="150608" y="97950"/>
                          <a:pt x="147654" y="81808"/>
                          <a:pt x="140624" y="70686"/>
                        </a:cubicBezTo>
                        <a:cubicBezTo>
                          <a:pt x="133594" y="59565"/>
                          <a:pt x="120800" y="53962"/>
                          <a:pt x="102239" y="53879"/>
                        </a:cubicBezTo>
                        <a:cubicBezTo>
                          <a:pt x="87839" y="54078"/>
                          <a:pt x="75446" y="55931"/>
                          <a:pt x="65062" y="59437"/>
                        </a:cubicBezTo>
                        <a:cubicBezTo>
                          <a:pt x="54678" y="62942"/>
                          <a:pt x="44966" y="66905"/>
                          <a:pt x="35927" y="71325"/>
                        </a:cubicBezTo>
                        <a:lnTo>
                          <a:pt x="19647" y="24133"/>
                        </a:lnTo>
                        <a:cubicBezTo>
                          <a:pt x="30874" y="17480"/>
                          <a:pt x="44353" y="11844"/>
                          <a:pt x="60084" y="7226"/>
                        </a:cubicBezTo>
                        <a:cubicBezTo>
                          <a:pt x="75815" y="2607"/>
                          <a:pt x="92116" y="199"/>
                          <a:pt x="108988" y="0"/>
                        </a:cubicBezTo>
                        <a:close/>
                        <a:moveTo>
                          <a:pt x="105051" y="146605"/>
                        </a:moveTo>
                        <a:cubicBezTo>
                          <a:pt x="94014" y="146582"/>
                          <a:pt x="84593" y="149160"/>
                          <a:pt x="76789" y="154341"/>
                        </a:cubicBezTo>
                        <a:cubicBezTo>
                          <a:pt x="68984" y="159522"/>
                          <a:pt x="64908" y="167445"/>
                          <a:pt x="64556" y="178112"/>
                        </a:cubicBezTo>
                        <a:cubicBezTo>
                          <a:pt x="64790" y="187723"/>
                          <a:pt x="68258" y="195084"/>
                          <a:pt x="74961" y="200194"/>
                        </a:cubicBezTo>
                        <a:cubicBezTo>
                          <a:pt x="81664" y="205305"/>
                          <a:pt x="90194" y="207884"/>
                          <a:pt x="100552" y="207930"/>
                        </a:cubicBezTo>
                        <a:cubicBezTo>
                          <a:pt x="113910" y="207673"/>
                          <a:pt x="124455" y="205235"/>
                          <a:pt x="132189" y="200616"/>
                        </a:cubicBezTo>
                        <a:cubicBezTo>
                          <a:pt x="139923" y="195998"/>
                          <a:pt x="145688" y="190747"/>
                          <a:pt x="149484" y="184863"/>
                        </a:cubicBezTo>
                        <a:lnTo>
                          <a:pt x="149484" y="158983"/>
                        </a:lnTo>
                        <a:cubicBezTo>
                          <a:pt x="143872" y="154775"/>
                          <a:pt x="137380" y="151657"/>
                          <a:pt x="130010" y="149629"/>
                        </a:cubicBezTo>
                        <a:cubicBezTo>
                          <a:pt x="122640" y="147601"/>
                          <a:pt x="114320" y="146593"/>
                          <a:pt x="105051" y="146605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0" name="Полілінія: фігура 3079">
                    <a:extLst>
                      <a:ext uri="{FF2B5EF4-FFF2-40B4-BE49-F238E27FC236}">
                        <a16:creationId xmlns:a16="http://schemas.microsoft.com/office/drawing/2014/main" id="{BC661D14-5D3E-1B20-8134-4B720623CDE0}"/>
                      </a:ext>
                    </a:extLst>
                  </p:cNvPr>
                  <p:cNvSpPr/>
                  <p:nvPr/>
                </p:nvSpPr>
                <p:spPr>
                  <a:xfrm>
                    <a:off x="6366428" y="1240231"/>
                    <a:ext cx="161778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1778" h="257314">
                        <a:moveTo>
                          <a:pt x="122440" y="0"/>
                        </a:moveTo>
                        <a:cubicBezTo>
                          <a:pt x="132649" y="11"/>
                          <a:pt x="140751" y="830"/>
                          <a:pt x="146745" y="2456"/>
                        </a:cubicBezTo>
                        <a:cubicBezTo>
                          <a:pt x="152740" y="4081"/>
                          <a:pt x="157751" y="6443"/>
                          <a:pt x="161778" y="9542"/>
                        </a:cubicBezTo>
                        <a:lnTo>
                          <a:pt x="138737" y="70176"/>
                        </a:lnTo>
                        <a:cubicBezTo>
                          <a:pt x="132813" y="66582"/>
                          <a:pt x="127521" y="64077"/>
                          <a:pt x="122862" y="62660"/>
                        </a:cubicBezTo>
                        <a:cubicBezTo>
                          <a:pt x="118202" y="61243"/>
                          <a:pt x="112629" y="60564"/>
                          <a:pt x="106143" y="60623"/>
                        </a:cubicBezTo>
                        <a:cubicBezTo>
                          <a:pt x="95032" y="60833"/>
                          <a:pt x="86204" y="63503"/>
                          <a:pt x="79660" y="68631"/>
                        </a:cubicBezTo>
                        <a:cubicBezTo>
                          <a:pt x="73115" y="73759"/>
                          <a:pt x="68081" y="80081"/>
                          <a:pt x="64557" y="87598"/>
                        </a:cubicBezTo>
                        <a:lnTo>
                          <a:pt x="64557" y="257314"/>
                        </a:lnTo>
                        <a:lnTo>
                          <a:pt x="0" y="257314"/>
                        </a:lnTo>
                        <a:lnTo>
                          <a:pt x="0" y="4495"/>
                        </a:lnTo>
                        <a:lnTo>
                          <a:pt x="64557" y="4495"/>
                        </a:lnTo>
                        <a:lnTo>
                          <a:pt x="64557" y="29189"/>
                        </a:lnTo>
                        <a:cubicBezTo>
                          <a:pt x="70235" y="20851"/>
                          <a:pt x="77564" y="13951"/>
                          <a:pt x="86544" y="8490"/>
                        </a:cubicBezTo>
                        <a:cubicBezTo>
                          <a:pt x="95524" y="3028"/>
                          <a:pt x="107489" y="198"/>
                          <a:pt x="122440" y="0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1" name="Полілінія: фігура 3080">
                    <a:extLst>
                      <a:ext uri="{FF2B5EF4-FFF2-40B4-BE49-F238E27FC236}">
                        <a16:creationId xmlns:a16="http://schemas.microsoft.com/office/drawing/2014/main" id="{8EB305C6-1C5B-F1C5-8007-EB20DE2803BE}"/>
                      </a:ext>
                    </a:extLst>
                  </p:cNvPr>
                  <p:cNvSpPr/>
                  <p:nvPr/>
                </p:nvSpPr>
                <p:spPr>
                  <a:xfrm>
                    <a:off x="7880903" y="1240217"/>
                    <a:ext cx="241017" cy="2573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1017" h="257329">
                        <a:moveTo>
                          <a:pt x="137097" y="15"/>
                        </a:moveTo>
                        <a:cubicBezTo>
                          <a:pt x="168472" y="-396"/>
                          <a:pt x="193519" y="7863"/>
                          <a:pt x="212238" y="24790"/>
                        </a:cubicBezTo>
                        <a:cubicBezTo>
                          <a:pt x="230957" y="41718"/>
                          <a:pt x="240550" y="69777"/>
                          <a:pt x="241017" y="108968"/>
                        </a:cubicBezTo>
                        <a:lnTo>
                          <a:pt x="241017" y="257329"/>
                        </a:lnTo>
                        <a:lnTo>
                          <a:pt x="176460" y="257329"/>
                        </a:lnTo>
                        <a:lnTo>
                          <a:pt x="176460" y="120207"/>
                        </a:lnTo>
                        <a:cubicBezTo>
                          <a:pt x="176343" y="100023"/>
                          <a:pt x="171376" y="85037"/>
                          <a:pt x="161558" y="75249"/>
                        </a:cubicBezTo>
                        <a:cubicBezTo>
                          <a:pt x="151741" y="65461"/>
                          <a:pt x="137777" y="60591"/>
                          <a:pt x="119665" y="60638"/>
                        </a:cubicBezTo>
                        <a:cubicBezTo>
                          <a:pt x="108723" y="60696"/>
                          <a:pt x="98694" y="62827"/>
                          <a:pt x="89580" y="67030"/>
                        </a:cubicBezTo>
                        <a:cubicBezTo>
                          <a:pt x="80466" y="71233"/>
                          <a:pt x="72125" y="77157"/>
                          <a:pt x="64557" y="84803"/>
                        </a:cubicBezTo>
                        <a:lnTo>
                          <a:pt x="64557" y="257329"/>
                        </a:lnTo>
                        <a:lnTo>
                          <a:pt x="0" y="257329"/>
                        </a:lnTo>
                        <a:lnTo>
                          <a:pt x="0" y="4510"/>
                        </a:lnTo>
                        <a:lnTo>
                          <a:pt x="64557" y="4510"/>
                        </a:lnTo>
                        <a:lnTo>
                          <a:pt x="64557" y="29765"/>
                        </a:lnTo>
                        <a:cubicBezTo>
                          <a:pt x="72324" y="21404"/>
                          <a:pt x="82516" y="14410"/>
                          <a:pt x="95133" y="8785"/>
                        </a:cubicBezTo>
                        <a:cubicBezTo>
                          <a:pt x="107750" y="3160"/>
                          <a:pt x="121738" y="237"/>
                          <a:pt x="137097" y="15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2" name="Полілінія: фігура 3081">
                    <a:extLst>
                      <a:ext uri="{FF2B5EF4-FFF2-40B4-BE49-F238E27FC236}">
                        <a16:creationId xmlns:a16="http://schemas.microsoft.com/office/drawing/2014/main" id="{9F97F286-3B85-8ECE-5916-FE1543EC72C0}"/>
                      </a:ext>
                    </a:extLst>
                  </p:cNvPr>
                  <p:cNvSpPr/>
                  <p:nvPr/>
                </p:nvSpPr>
                <p:spPr>
                  <a:xfrm>
                    <a:off x="9576353" y="1240217"/>
                    <a:ext cx="241017" cy="2573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1017" h="257329">
                        <a:moveTo>
                          <a:pt x="137097" y="15"/>
                        </a:moveTo>
                        <a:cubicBezTo>
                          <a:pt x="168472" y="-396"/>
                          <a:pt x="193519" y="7863"/>
                          <a:pt x="212238" y="24790"/>
                        </a:cubicBezTo>
                        <a:cubicBezTo>
                          <a:pt x="230957" y="41718"/>
                          <a:pt x="240551" y="69777"/>
                          <a:pt x="241017" y="108968"/>
                        </a:cubicBezTo>
                        <a:lnTo>
                          <a:pt x="241017" y="257329"/>
                        </a:lnTo>
                        <a:lnTo>
                          <a:pt x="176460" y="257329"/>
                        </a:lnTo>
                        <a:lnTo>
                          <a:pt x="176460" y="120207"/>
                        </a:lnTo>
                        <a:cubicBezTo>
                          <a:pt x="176343" y="100023"/>
                          <a:pt x="171375" y="85037"/>
                          <a:pt x="161558" y="75249"/>
                        </a:cubicBezTo>
                        <a:cubicBezTo>
                          <a:pt x="151741" y="65461"/>
                          <a:pt x="137776" y="60591"/>
                          <a:pt x="119665" y="60638"/>
                        </a:cubicBezTo>
                        <a:cubicBezTo>
                          <a:pt x="108723" y="60696"/>
                          <a:pt x="98695" y="62827"/>
                          <a:pt x="89580" y="67030"/>
                        </a:cubicBezTo>
                        <a:cubicBezTo>
                          <a:pt x="80465" y="71233"/>
                          <a:pt x="72125" y="77157"/>
                          <a:pt x="64557" y="84803"/>
                        </a:cubicBezTo>
                        <a:lnTo>
                          <a:pt x="64557" y="257329"/>
                        </a:lnTo>
                        <a:lnTo>
                          <a:pt x="0" y="257329"/>
                        </a:lnTo>
                        <a:lnTo>
                          <a:pt x="0" y="4510"/>
                        </a:lnTo>
                        <a:lnTo>
                          <a:pt x="64557" y="4510"/>
                        </a:lnTo>
                        <a:lnTo>
                          <a:pt x="64557" y="29765"/>
                        </a:lnTo>
                        <a:cubicBezTo>
                          <a:pt x="72323" y="21404"/>
                          <a:pt x="82515" y="14410"/>
                          <a:pt x="95133" y="8785"/>
                        </a:cubicBezTo>
                        <a:cubicBezTo>
                          <a:pt x="107750" y="3160"/>
                          <a:pt x="121738" y="237"/>
                          <a:pt x="137097" y="15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3" name="Полілінія: фігура 3082">
                    <a:extLst>
                      <a:ext uri="{FF2B5EF4-FFF2-40B4-BE49-F238E27FC236}">
                        <a16:creationId xmlns:a16="http://schemas.microsoft.com/office/drawing/2014/main" id="{3ABCF3C4-C728-2FE8-364A-0DC7ADF0B5DD}"/>
                      </a:ext>
                    </a:extLst>
                  </p:cNvPr>
                  <p:cNvSpPr/>
                  <p:nvPr/>
                </p:nvSpPr>
                <p:spPr>
                  <a:xfrm>
                    <a:off x="11624228" y="1240231"/>
                    <a:ext cx="161778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1778" h="257314">
                        <a:moveTo>
                          <a:pt x="122440" y="0"/>
                        </a:moveTo>
                        <a:cubicBezTo>
                          <a:pt x="132648" y="11"/>
                          <a:pt x="140750" y="830"/>
                          <a:pt x="146746" y="2456"/>
                        </a:cubicBezTo>
                        <a:cubicBezTo>
                          <a:pt x="152739" y="4081"/>
                          <a:pt x="157750" y="6443"/>
                          <a:pt x="161778" y="9542"/>
                        </a:cubicBezTo>
                        <a:lnTo>
                          <a:pt x="138737" y="70176"/>
                        </a:lnTo>
                        <a:cubicBezTo>
                          <a:pt x="132812" y="66582"/>
                          <a:pt x="127520" y="64077"/>
                          <a:pt x="122862" y="62660"/>
                        </a:cubicBezTo>
                        <a:cubicBezTo>
                          <a:pt x="118201" y="61243"/>
                          <a:pt x="112628" y="60564"/>
                          <a:pt x="106142" y="60623"/>
                        </a:cubicBezTo>
                        <a:cubicBezTo>
                          <a:pt x="95032" y="60833"/>
                          <a:pt x="86204" y="63503"/>
                          <a:pt x="79660" y="68631"/>
                        </a:cubicBezTo>
                        <a:cubicBezTo>
                          <a:pt x="73114" y="73759"/>
                          <a:pt x="68080" y="80081"/>
                          <a:pt x="64556" y="87598"/>
                        </a:cubicBezTo>
                        <a:lnTo>
                          <a:pt x="64556" y="257314"/>
                        </a:lnTo>
                        <a:lnTo>
                          <a:pt x="0" y="257314"/>
                        </a:lnTo>
                        <a:lnTo>
                          <a:pt x="0" y="4495"/>
                        </a:lnTo>
                        <a:lnTo>
                          <a:pt x="64556" y="4495"/>
                        </a:lnTo>
                        <a:lnTo>
                          <a:pt x="64556" y="29189"/>
                        </a:lnTo>
                        <a:cubicBezTo>
                          <a:pt x="70234" y="20851"/>
                          <a:pt x="77564" y="13951"/>
                          <a:pt x="86544" y="8490"/>
                        </a:cubicBezTo>
                        <a:cubicBezTo>
                          <a:pt x="95523" y="3028"/>
                          <a:pt x="107488" y="198"/>
                          <a:pt x="122440" y="0"/>
                        </a:cubicBez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4" name="Полілінія: фігура 3083">
                    <a:extLst>
                      <a:ext uri="{FF2B5EF4-FFF2-40B4-BE49-F238E27FC236}">
                        <a16:creationId xmlns:a16="http://schemas.microsoft.com/office/drawing/2014/main" id="{EB2C016F-3FE1-377E-6DCE-4B738055FD76}"/>
                      </a:ext>
                    </a:extLst>
                  </p:cNvPr>
                  <p:cNvSpPr/>
                  <p:nvPr/>
                </p:nvSpPr>
                <p:spPr>
                  <a:xfrm>
                    <a:off x="8122199" y="1244726"/>
                    <a:ext cx="140991" cy="36971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0991" h="369710">
                        <a:moveTo>
                          <a:pt x="76429" y="0"/>
                        </a:moveTo>
                        <a:lnTo>
                          <a:pt x="140986" y="0"/>
                        </a:lnTo>
                        <a:lnTo>
                          <a:pt x="140986" y="271434"/>
                        </a:lnTo>
                        <a:cubicBezTo>
                          <a:pt x="141197" y="302562"/>
                          <a:pt x="135021" y="326665"/>
                          <a:pt x="122459" y="343743"/>
                        </a:cubicBezTo>
                        <a:cubicBezTo>
                          <a:pt x="109897" y="360821"/>
                          <a:pt x="89683" y="369477"/>
                          <a:pt x="61818" y="369710"/>
                        </a:cubicBezTo>
                        <a:cubicBezTo>
                          <a:pt x="48108" y="369558"/>
                          <a:pt x="35768" y="367757"/>
                          <a:pt x="24798" y="364307"/>
                        </a:cubicBezTo>
                        <a:cubicBezTo>
                          <a:pt x="13827" y="360857"/>
                          <a:pt x="5562" y="356671"/>
                          <a:pt x="0" y="351748"/>
                        </a:cubicBezTo>
                        <a:lnTo>
                          <a:pt x="17422" y="300657"/>
                        </a:lnTo>
                        <a:cubicBezTo>
                          <a:pt x="21848" y="303490"/>
                          <a:pt x="26343" y="305691"/>
                          <a:pt x="30909" y="307260"/>
                        </a:cubicBezTo>
                        <a:cubicBezTo>
                          <a:pt x="35475" y="308829"/>
                          <a:pt x="40533" y="309625"/>
                          <a:pt x="46082" y="309649"/>
                        </a:cubicBezTo>
                        <a:cubicBezTo>
                          <a:pt x="57182" y="309473"/>
                          <a:pt x="65049" y="305469"/>
                          <a:pt x="69685" y="297636"/>
                        </a:cubicBezTo>
                        <a:cubicBezTo>
                          <a:pt x="74322" y="289804"/>
                          <a:pt x="76570" y="279197"/>
                          <a:pt x="76429" y="265815"/>
                        </a:cubicBezTo>
                        <a:lnTo>
                          <a:pt x="76429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5" name="Полілінія: фігура 3084">
                    <a:extLst>
                      <a:ext uri="{FF2B5EF4-FFF2-40B4-BE49-F238E27FC236}">
                        <a16:creationId xmlns:a16="http://schemas.microsoft.com/office/drawing/2014/main" id="{D80C046A-74E3-A982-7C66-9A56FF3BD926}"/>
                      </a:ext>
                    </a:extLst>
                  </p:cNvPr>
                  <p:cNvSpPr/>
                  <p:nvPr/>
                </p:nvSpPr>
                <p:spPr>
                  <a:xfrm>
                    <a:off x="9119181" y="1244727"/>
                    <a:ext cx="64557" cy="25281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557" h="252819">
                        <a:moveTo>
                          <a:pt x="0" y="0"/>
                        </a:moveTo>
                        <a:lnTo>
                          <a:pt x="64557" y="0"/>
                        </a:lnTo>
                        <a:lnTo>
                          <a:pt x="64557" y="252819"/>
                        </a:lnTo>
                        <a:lnTo>
                          <a:pt x="0" y="25281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6" name="Полілінія: фігура 3085">
                    <a:extLst>
                      <a:ext uri="{FF2B5EF4-FFF2-40B4-BE49-F238E27FC236}">
                        <a16:creationId xmlns:a16="http://schemas.microsoft.com/office/drawing/2014/main" id="{D869FE0D-40AF-5B89-74E0-E94D6A40B0F0}"/>
                      </a:ext>
                    </a:extLst>
                  </p:cNvPr>
                  <p:cNvSpPr/>
                  <p:nvPr/>
                </p:nvSpPr>
                <p:spPr>
                  <a:xfrm>
                    <a:off x="10662231" y="1244727"/>
                    <a:ext cx="64557" cy="25281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557" h="252819">
                        <a:moveTo>
                          <a:pt x="0" y="0"/>
                        </a:moveTo>
                        <a:lnTo>
                          <a:pt x="64557" y="0"/>
                        </a:lnTo>
                        <a:lnTo>
                          <a:pt x="64557" y="252819"/>
                        </a:lnTo>
                        <a:lnTo>
                          <a:pt x="0" y="25281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  <p:sp>
                <p:nvSpPr>
                  <p:cNvPr id="3087" name="Полілінія: фігура 3086">
                    <a:extLst>
                      <a:ext uri="{FF2B5EF4-FFF2-40B4-BE49-F238E27FC236}">
                        <a16:creationId xmlns:a16="http://schemas.microsoft.com/office/drawing/2014/main" id="{E9C45C1A-7F52-A4BC-CA10-E1E4351D5A83}"/>
                      </a:ext>
                    </a:extLst>
                  </p:cNvPr>
                  <p:cNvSpPr/>
                  <p:nvPr/>
                </p:nvSpPr>
                <p:spPr>
                  <a:xfrm>
                    <a:off x="12048236" y="1244727"/>
                    <a:ext cx="399564" cy="25394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99564" h="253943">
                        <a:moveTo>
                          <a:pt x="0" y="0"/>
                        </a:moveTo>
                        <a:lnTo>
                          <a:pt x="69122" y="0"/>
                        </a:lnTo>
                        <a:lnTo>
                          <a:pt x="109584" y="137646"/>
                        </a:lnTo>
                        <a:cubicBezTo>
                          <a:pt x="111470" y="143721"/>
                          <a:pt x="112898" y="149409"/>
                          <a:pt x="113870" y="154711"/>
                        </a:cubicBezTo>
                        <a:cubicBezTo>
                          <a:pt x="114842" y="160014"/>
                          <a:pt x="115849" y="165562"/>
                          <a:pt x="116890" y="171355"/>
                        </a:cubicBezTo>
                        <a:cubicBezTo>
                          <a:pt x="118202" y="166158"/>
                          <a:pt x="119513" y="160962"/>
                          <a:pt x="120824" y="155765"/>
                        </a:cubicBezTo>
                        <a:cubicBezTo>
                          <a:pt x="122136" y="150568"/>
                          <a:pt x="124009" y="144528"/>
                          <a:pt x="126444" y="137646"/>
                        </a:cubicBezTo>
                        <a:lnTo>
                          <a:pt x="173650" y="0"/>
                        </a:lnTo>
                        <a:lnTo>
                          <a:pt x="230971" y="0"/>
                        </a:lnTo>
                        <a:lnTo>
                          <a:pt x="279863" y="137084"/>
                        </a:lnTo>
                        <a:cubicBezTo>
                          <a:pt x="281806" y="142714"/>
                          <a:pt x="283539" y="148449"/>
                          <a:pt x="285061" y="154290"/>
                        </a:cubicBezTo>
                        <a:cubicBezTo>
                          <a:pt x="286584" y="160131"/>
                          <a:pt x="288036" y="166006"/>
                          <a:pt x="289416" y="171917"/>
                        </a:cubicBezTo>
                        <a:cubicBezTo>
                          <a:pt x="291758" y="160025"/>
                          <a:pt x="294381" y="147852"/>
                          <a:pt x="297284" y="135399"/>
                        </a:cubicBezTo>
                        <a:lnTo>
                          <a:pt x="334374" y="0"/>
                        </a:lnTo>
                        <a:lnTo>
                          <a:pt x="399564" y="0"/>
                        </a:lnTo>
                        <a:lnTo>
                          <a:pt x="319763" y="253943"/>
                        </a:lnTo>
                        <a:lnTo>
                          <a:pt x="261880" y="253943"/>
                        </a:lnTo>
                        <a:lnTo>
                          <a:pt x="207930" y="113488"/>
                        </a:lnTo>
                        <a:cubicBezTo>
                          <a:pt x="206034" y="108665"/>
                          <a:pt x="204488" y="103703"/>
                          <a:pt x="203294" y="98599"/>
                        </a:cubicBezTo>
                        <a:cubicBezTo>
                          <a:pt x="202100" y="93496"/>
                          <a:pt x="200836" y="88534"/>
                          <a:pt x="199500" y="83711"/>
                        </a:cubicBezTo>
                        <a:cubicBezTo>
                          <a:pt x="198388" y="89283"/>
                          <a:pt x="197101" y="94573"/>
                          <a:pt x="195637" y="99583"/>
                        </a:cubicBezTo>
                        <a:cubicBezTo>
                          <a:pt x="194174" y="104592"/>
                          <a:pt x="192464" y="109602"/>
                          <a:pt x="190509" y="114611"/>
                        </a:cubicBezTo>
                        <a:lnTo>
                          <a:pt x="137122" y="253943"/>
                        </a:lnTo>
                        <a:lnTo>
                          <a:pt x="82048" y="25394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3434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816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3092" name="TextBox 3091">
                  <a:extLst>
                    <a:ext uri="{FF2B5EF4-FFF2-40B4-BE49-F238E27FC236}">
                      <a16:creationId xmlns:a16="http://schemas.microsoft.com/office/drawing/2014/main" id="{A6E7076B-2978-DAAA-31FF-12AC898CBE38}"/>
                    </a:ext>
                  </a:extLst>
                </p:cNvPr>
                <p:cNvSpPr txBox="1"/>
                <p:nvPr/>
              </p:nvSpPr>
              <p:spPr>
                <a:xfrm>
                  <a:off x="469969" y="1147287"/>
                  <a:ext cx="1564438" cy="10974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155539" indent="-155539">
                    <a:buClr>
                      <a:schemeClr val="tx1">
                        <a:lumMod val="50000"/>
                        <a:lumOff val="50000"/>
                      </a:schemeClr>
                    </a:buClr>
                    <a:buSzPct val="120000"/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Annual</a:t>
                  </a:r>
                  <a:endParaRPr lang="ru-RU" sz="1633" dirty="0"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  <a:p>
                  <a:pPr marL="155539" indent="-155539">
                    <a:buClr>
                      <a:schemeClr val="tx1">
                        <a:lumMod val="50000"/>
                        <a:lumOff val="50000"/>
                      </a:schemeClr>
                    </a:buClr>
                    <a:buSzPct val="120000"/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Seasonal </a:t>
                  </a:r>
                  <a:endParaRPr lang="ru-RU" sz="1633" dirty="0"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  <a:p>
                  <a:pPr marL="155539" indent="-155539">
                    <a:buClr>
                      <a:schemeClr val="tx1">
                        <a:lumMod val="50000"/>
                        <a:lumOff val="50000"/>
                      </a:schemeClr>
                    </a:buClr>
                    <a:buSzPct val="120000"/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Monthly</a:t>
                  </a:r>
                </a:p>
                <a:p>
                  <a:pPr marL="155539" indent="-155539">
                    <a:buClr>
                      <a:schemeClr val="tx1">
                        <a:lumMod val="50000"/>
                        <a:lumOff val="50000"/>
                      </a:schemeClr>
                    </a:buClr>
                    <a:buSzPct val="120000"/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Daily</a:t>
                  </a:r>
                </a:p>
              </p:txBody>
            </p:sp>
          </p:grpSp>
          <p:grpSp>
            <p:nvGrpSpPr>
              <p:cNvPr id="3096" name="Групувати 3095">
                <a:extLst>
                  <a:ext uri="{FF2B5EF4-FFF2-40B4-BE49-F238E27FC236}">
                    <a16:creationId xmlns:a16="http://schemas.microsoft.com/office/drawing/2014/main" id="{8E80CFB3-4A81-1921-402F-F38581C2C6D5}"/>
                  </a:ext>
                </a:extLst>
              </p:cNvPr>
              <p:cNvGrpSpPr/>
              <p:nvPr/>
            </p:nvGrpSpPr>
            <p:grpSpPr>
              <a:xfrm>
                <a:off x="309487" y="2722144"/>
                <a:ext cx="4992032" cy="1803899"/>
                <a:chOff x="483656" y="2908139"/>
                <a:chExt cx="4992032" cy="1803899"/>
              </a:xfrm>
            </p:grpSpPr>
            <p:grpSp>
              <p:nvGrpSpPr>
                <p:cNvPr id="3091" name="Групувати 3090">
                  <a:extLst>
                    <a:ext uri="{FF2B5EF4-FFF2-40B4-BE49-F238E27FC236}">
                      <a16:creationId xmlns:a16="http://schemas.microsoft.com/office/drawing/2014/main" id="{61130586-10DA-6373-17B6-79D18E491A11}"/>
                    </a:ext>
                  </a:extLst>
                </p:cNvPr>
                <p:cNvGrpSpPr/>
                <p:nvPr/>
              </p:nvGrpSpPr>
              <p:grpSpPr>
                <a:xfrm>
                  <a:off x="611907" y="2908139"/>
                  <a:ext cx="3436722" cy="649132"/>
                  <a:chOff x="-2326467" y="2261496"/>
                  <a:chExt cx="3436722" cy="649132"/>
                </a:xfrm>
              </p:grpSpPr>
              <p:grpSp>
                <p:nvGrpSpPr>
                  <p:cNvPr id="3089" name="Групувати 3088">
                    <a:extLst>
                      <a:ext uri="{FF2B5EF4-FFF2-40B4-BE49-F238E27FC236}">
                        <a16:creationId xmlns:a16="http://schemas.microsoft.com/office/drawing/2014/main" id="{4D151000-5425-AAAF-F885-6A24487FA96F}"/>
                      </a:ext>
                    </a:extLst>
                  </p:cNvPr>
                  <p:cNvGrpSpPr/>
                  <p:nvPr/>
                </p:nvGrpSpPr>
                <p:grpSpPr>
                  <a:xfrm>
                    <a:off x="-2326467" y="2261496"/>
                    <a:ext cx="3436722" cy="259472"/>
                    <a:chOff x="2895586" y="2431674"/>
                    <a:chExt cx="4797068" cy="362178"/>
                  </a:xfrm>
                </p:grpSpPr>
                <p:sp>
                  <p:nvSpPr>
                    <p:cNvPr id="3309" name="TextBox 3308">
                      <a:extLst>
                        <a:ext uri="{FF2B5EF4-FFF2-40B4-BE49-F238E27FC236}">
                          <a16:creationId xmlns:a16="http://schemas.microsoft.com/office/drawing/2014/main" id="{BE6026C7-ED02-561E-6CF7-BF73500B350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895586" y="2431674"/>
                      <a:ext cx="230528" cy="28452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28685" h="405676">
                          <a:moveTo>
                            <a:pt x="201117" y="0"/>
                          </a:moveTo>
                          <a:cubicBezTo>
                            <a:pt x="226863" y="187"/>
                            <a:pt x="249974" y="3883"/>
                            <a:pt x="270451" y="11087"/>
                          </a:cubicBezTo>
                          <a:cubicBezTo>
                            <a:pt x="290928" y="18291"/>
                            <a:pt x="307717" y="27881"/>
                            <a:pt x="320818" y="39857"/>
                          </a:cubicBezTo>
                          <a:lnTo>
                            <a:pt x="289910" y="90975"/>
                          </a:lnTo>
                          <a:cubicBezTo>
                            <a:pt x="278342" y="82988"/>
                            <a:pt x="265510" y="76618"/>
                            <a:pt x="251414" y="71864"/>
                          </a:cubicBezTo>
                          <a:cubicBezTo>
                            <a:pt x="237318" y="67110"/>
                            <a:pt x="220552" y="64674"/>
                            <a:pt x="201117" y="64557"/>
                          </a:cubicBezTo>
                          <a:cubicBezTo>
                            <a:pt x="163816" y="64979"/>
                            <a:pt x="133329" y="77345"/>
                            <a:pt x="109656" y="101656"/>
                          </a:cubicBezTo>
                          <a:cubicBezTo>
                            <a:pt x="85983" y="125968"/>
                            <a:pt x="73760" y="159695"/>
                            <a:pt x="72987" y="202837"/>
                          </a:cubicBezTo>
                          <a:cubicBezTo>
                            <a:pt x="73631" y="244504"/>
                            <a:pt x="86252" y="277810"/>
                            <a:pt x="110850" y="302754"/>
                          </a:cubicBezTo>
                          <a:cubicBezTo>
                            <a:pt x="135448" y="327698"/>
                            <a:pt x="168160" y="340487"/>
                            <a:pt x="208985" y="341119"/>
                          </a:cubicBezTo>
                          <a:cubicBezTo>
                            <a:pt x="225692" y="341107"/>
                            <a:pt x="242013" y="338461"/>
                            <a:pt x="257947" y="333179"/>
                          </a:cubicBezTo>
                          <a:cubicBezTo>
                            <a:pt x="273882" y="327897"/>
                            <a:pt x="288656" y="320051"/>
                            <a:pt x="302273" y="309640"/>
                          </a:cubicBezTo>
                          <a:lnTo>
                            <a:pt x="328685" y="361328"/>
                          </a:lnTo>
                          <a:cubicBezTo>
                            <a:pt x="315819" y="374719"/>
                            <a:pt x="298140" y="385408"/>
                            <a:pt x="275649" y="393396"/>
                          </a:cubicBezTo>
                          <a:cubicBezTo>
                            <a:pt x="253158" y="401384"/>
                            <a:pt x="228876" y="405477"/>
                            <a:pt x="202803" y="405676"/>
                          </a:cubicBezTo>
                          <a:cubicBezTo>
                            <a:pt x="141738" y="404883"/>
                            <a:pt x="92905" y="386394"/>
                            <a:pt x="56303" y="350210"/>
                          </a:cubicBezTo>
                          <a:cubicBezTo>
                            <a:pt x="19702" y="314025"/>
                            <a:pt x="934" y="264901"/>
                            <a:pt x="0" y="202837"/>
                          </a:cubicBezTo>
                          <a:cubicBezTo>
                            <a:pt x="79" y="164763"/>
                            <a:pt x="7844" y="130496"/>
                            <a:pt x="23294" y="100034"/>
                          </a:cubicBezTo>
                          <a:cubicBezTo>
                            <a:pt x="38744" y="69572"/>
                            <a:pt x="61406" y="45387"/>
                            <a:pt x="91280" y="27479"/>
                          </a:cubicBezTo>
                          <a:cubicBezTo>
                            <a:pt x="121154" y="9572"/>
                            <a:pt x="157767" y="412"/>
                            <a:pt x="201117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6" name="TextBox 3305">
                      <a:extLst>
                        <a:ext uri="{FF2B5EF4-FFF2-40B4-BE49-F238E27FC236}">
                          <a16:creationId xmlns:a16="http://schemas.microsoft.com/office/drawing/2014/main" id="{AE0E8CC1-175B-D795-6926-B9CA1174A03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476786" y="2435222"/>
                      <a:ext cx="217127" cy="27664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9578" h="394436">
                          <a:moveTo>
                            <a:pt x="119659" y="0"/>
                          </a:moveTo>
                          <a:cubicBezTo>
                            <a:pt x="172568" y="805"/>
                            <a:pt x="209771" y="12527"/>
                            <a:pt x="231268" y="35167"/>
                          </a:cubicBezTo>
                          <a:cubicBezTo>
                            <a:pt x="252766" y="57807"/>
                            <a:pt x="263134" y="86535"/>
                            <a:pt x="262372" y="121350"/>
                          </a:cubicBezTo>
                          <a:cubicBezTo>
                            <a:pt x="262040" y="143769"/>
                            <a:pt x="257901" y="162644"/>
                            <a:pt x="249958" y="177975"/>
                          </a:cubicBezTo>
                          <a:cubicBezTo>
                            <a:pt x="242014" y="193306"/>
                            <a:pt x="232262" y="205512"/>
                            <a:pt x="220700" y="214594"/>
                          </a:cubicBezTo>
                          <a:cubicBezTo>
                            <a:pt x="209138" y="223676"/>
                            <a:pt x="197762" y="230053"/>
                            <a:pt x="186573" y="233726"/>
                          </a:cubicBezTo>
                          <a:lnTo>
                            <a:pt x="309578" y="394436"/>
                          </a:lnTo>
                          <a:lnTo>
                            <a:pt x="225878" y="394436"/>
                          </a:lnTo>
                          <a:lnTo>
                            <a:pt x="117410" y="247199"/>
                          </a:lnTo>
                          <a:lnTo>
                            <a:pt x="69052" y="247199"/>
                          </a:lnTo>
                          <a:lnTo>
                            <a:pt x="69052" y="394436"/>
                          </a:lnTo>
                          <a:lnTo>
                            <a:pt x="0" y="394436"/>
                          </a:lnTo>
                          <a:lnTo>
                            <a:pt x="0" y="1122"/>
                          </a:lnTo>
                          <a:cubicBezTo>
                            <a:pt x="8161" y="1109"/>
                            <a:pt x="20912" y="1012"/>
                            <a:pt x="38254" y="831"/>
                          </a:cubicBezTo>
                          <a:cubicBezTo>
                            <a:pt x="55596" y="651"/>
                            <a:pt x="72346" y="471"/>
                            <a:pt x="88504" y="291"/>
                          </a:cubicBezTo>
                          <a:cubicBezTo>
                            <a:pt x="104662" y="111"/>
                            <a:pt x="115047" y="14"/>
                            <a:pt x="119659" y="0"/>
                          </a:cubicBezTo>
                          <a:close/>
                          <a:moveTo>
                            <a:pt x="116286" y="64557"/>
                          </a:moveTo>
                          <a:cubicBezTo>
                            <a:pt x="109819" y="64568"/>
                            <a:pt x="102650" y="64686"/>
                            <a:pt x="94778" y="64908"/>
                          </a:cubicBezTo>
                          <a:cubicBezTo>
                            <a:pt x="86905" y="65131"/>
                            <a:pt x="78330" y="65389"/>
                            <a:pt x="69052" y="65681"/>
                          </a:cubicBezTo>
                          <a:lnTo>
                            <a:pt x="69052" y="182642"/>
                          </a:lnTo>
                          <a:lnTo>
                            <a:pt x="114036" y="182642"/>
                          </a:lnTo>
                          <a:cubicBezTo>
                            <a:pt x="134642" y="182642"/>
                            <a:pt x="152190" y="177581"/>
                            <a:pt x="166682" y="167459"/>
                          </a:cubicBezTo>
                          <a:cubicBezTo>
                            <a:pt x="181172" y="157338"/>
                            <a:pt x="188741" y="142156"/>
                            <a:pt x="189385" y="121912"/>
                          </a:cubicBezTo>
                          <a:cubicBezTo>
                            <a:pt x="189854" y="105992"/>
                            <a:pt x="184698" y="92567"/>
                            <a:pt x="173922" y="81637"/>
                          </a:cubicBezTo>
                          <a:cubicBezTo>
                            <a:pt x="163144" y="70707"/>
                            <a:pt x="143932" y="65014"/>
                            <a:pt x="116286" y="64557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4" name="TextBox 3303">
                      <a:extLst>
                        <a:ext uri="{FF2B5EF4-FFF2-40B4-BE49-F238E27FC236}">
                          <a16:creationId xmlns:a16="http://schemas.microsoft.com/office/drawing/2014/main" id="{A0139190-2412-7C83-9F06-CB36E784219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443032" y="2436404"/>
                      <a:ext cx="384295" cy="27546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47925" h="392750">
                          <a:moveTo>
                            <a:pt x="0" y="0"/>
                          </a:moveTo>
                          <a:lnTo>
                            <a:pt x="77552" y="0"/>
                          </a:lnTo>
                          <a:lnTo>
                            <a:pt x="156790" y="279974"/>
                          </a:lnTo>
                          <a:lnTo>
                            <a:pt x="244458" y="0"/>
                          </a:lnTo>
                          <a:lnTo>
                            <a:pt x="313019" y="0"/>
                          </a:lnTo>
                          <a:lnTo>
                            <a:pt x="402935" y="280535"/>
                          </a:lnTo>
                          <a:lnTo>
                            <a:pt x="481612" y="0"/>
                          </a:lnTo>
                          <a:lnTo>
                            <a:pt x="547925" y="0"/>
                          </a:lnTo>
                          <a:lnTo>
                            <a:pt x="435530" y="392750"/>
                          </a:lnTo>
                          <a:lnTo>
                            <a:pt x="370902" y="392750"/>
                          </a:lnTo>
                          <a:lnTo>
                            <a:pt x="275929" y="108846"/>
                          </a:lnTo>
                          <a:lnTo>
                            <a:pt x="182641" y="392750"/>
                          </a:lnTo>
                          <a:lnTo>
                            <a:pt x="117452" y="39275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3" name="TextBox 3302">
                      <a:extLst>
                        <a:ext uri="{FF2B5EF4-FFF2-40B4-BE49-F238E27FC236}">
                          <a16:creationId xmlns:a16="http://schemas.microsoft.com/office/drawing/2014/main" id="{FDE3D831-0231-082A-249C-E1BB773D2E6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54818" y="2436404"/>
                      <a:ext cx="169041" cy="27546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1017" h="392750">
                          <a:moveTo>
                            <a:pt x="0" y="0"/>
                          </a:moveTo>
                          <a:lnTo>
                            <a:pt x="64557" y="0"/>
                          </a:lnTo>
                          <a:lnTo>
                            <a:pt x="64557" y="162941"/>
                          </a:lnTo>
                          <a:cubicBezTo>
                            <a:pt x="72886" y="154919"/>
                            <a:pt x="83359" y="148370"/>
                            <a:pt x="95977" y="143294"/>
                          </a:cubicBezTo>
                          <a:cubicBezTo>
                            <a:pt x="108594" y="138219"/>
                            <a:pt x="122300" y="135600"/>
                            <a:pt x="137097" y="135436"/>
                          </a:cubicBezTo>
                          <a:cubicBezTo>
                            <a:pt x="168472" y="135095"/>
                            <a:pt x="193519" y="143635"/>
                            <a:pt x="212239" y="161054"/>
                          </a:cubicBezTo>
                          <a:cubicBezTo>
                            <a:pt x="230958" y="178472"/>
                            <a:pt x="240550" y="206813"/>
                            <a:pt x="241017" y="246075"/>
                          </a:cubicBezTo>
                          <a:lnTo>
                            <a:pt x="241017" y="392750"/>
                          </a:lnTo>
                          <a:lnTo>
                            <a:pt x="176460" y="392750"/>
                          </a:lnTo>
                          <a:lnTo>
                            <a:pt x="176460" y="254504"/>
                          </a:lnTo>
                          <a:cubicBezTo>
                            <a:pt x="176331" y="235596"/>
                            <a:pt x="171387" y="221149"/>
                            <a:pt x="161629" y="211162"/>
                          </a:cubicBezTo>
                          <a:cubicBezTo>
                            <a:pt x="151869" y="201175"/>
                            <a:pt x="138069" y="196141"/>
                            <a:pt x="120227" y="196059"/>
                          </a:cubicBezTo>
                          <a:cubicBezTo>
                            <a:pt x="109719" y="196106"/>
                            <a:pt x="99667" y="198119"/>
                            <a:pt x="90072" y="202100"/>
                          </a:cubicBezTo>
                          <a:cubicBezTo>
                            <a:pt x="80477" y="206081"/>
                            <a:pt x="71972" y="211747"/>
                            <a:pt x="64557" y="219100"/>
                          </a:cubicBezTo>
                          <a:lnTo>
                            <a:pt x="64557" y="392750"/>
                          </a:lnTo>
                          <a:lnTo>
                            <a:pt x="0" y="39275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8" name="TextBox 3297">
                      <a:extLst>
                        <a:ext uri="{FF2B5EF4-FFF2-40B4-BE49-F238E27FC236}">
                          <a16:creationId xmlns:a16="http://schemas.microsoft.com/office/drawing/2014/main" id="{6EE41D31-8B96-FCF0-EB4E-B93AAEF4EAE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107077" y="2444287"/>
                      <a:ext cx="54343" cy="5473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77482" h="78045">
                          <a:moveTo>
                            <a:pt x="40426" y="0"/>
                          </a:moveTo>
                          <a:cubicBezTo>
                            <a:pt x="50076" y="129"/>
                            <a:pt x="58568" y="3521"/>
                            <a:pt x="65902" y="10177"/>
                          </a:cubicBezTo>
                          <a:cubicBezTo>
                            <a:pt x="73236" y="16833"/>
                            <a:pt x="77096" y="25980"/>
                            <a:pt x="77482" y="37619"/>
                          </a:cubicBezTo>
                          <a:cubicBezTo>
                            <a:pt x="77096" y="50603"/>
                            <a:pt x="73236" y="60569"/>
                            <a:pt x="65902" y="67517"/>
                          </a:cubicBezTo>
                          <a:cubicBezTo>
                            <a:pt x="58568" y="74465"/>
                            <a:pt x="50076" y="77974"/>
                            <a:pt x="40426" y="78045"/>
                          </a:cubicBezTo>
                          <a:cubicBezTo>
                            <a:pt x="29162" y="77974"/>
                            <a:pt x="19687" y="74465"/>
                            <a:pt x="12002" y="67517"/>
                          </a:cubicBezTo>
                          <a:cubicBezTo>
                            <a:pt x="4316" y="60569"/>
                            <a:pt x="316" y="50603"/>
                            <a:pt x="0" y="37619"/>
                          </a:cubicBezTo>
                          <a:cubicBezTo>
                            <a:pt x="316" y="25980"/>
                            <a:pt x="4316" y="16833"/>
                            <a:pt x="12002" y="10177"/>
                          </a:cubicBezTo>
                          <a:cubicBezTo>
                            <a:pt x="19687" y="3521"/>
                            <a:pt x="29162" y="129"/>
                            <a:pt x="40426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4" name="TextBox 3293">
                      <a:extLst>
                        <a:ext uri="{FF2B5EF4-FFF2-40B4-BE49-F238E27FC236}">
                          <a16:creationId xmlns:a16="http://schemas.microsoft.com/office/drawing/2014/main" id="{34B892B4-E323-9ED7-7AC2-A7E1C7E1B17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547133" y="2485279"/>
                      <a:ext cx="107563" cy="23052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53362" h="328685">
                          <a:moveTo>
                            <a:pt x="12" y="0"/>
                          </a:moveTo>
                          <a:lnTo>
                            <a:pt x="64569" y="0"/>
                          </a:lnTo>
                          <a:lnTo>
                            <a:pt x="64569" y="70247"/>
                          </a:lnTo>
                          <a:lnTo>
                            <a:pt x="146055" y="70247"/>
                          </a:lnTo>
                          <a:lnTo>
                            <a:pt x="146055" y="130870"/>
                          </a:lnTo>
                          <a:lnTo>
                            <a:pt x="64569" y="130870"/>
                          </a:lnTo>
                          <a:lnTo>
                            <a:pt x="64569" y="223081"/>
                          </a:lnTo>
                          <a:cubicBezTo>
                            <a:pt x="64499" y="237032"/>
                            <a:pt x="66888" y="248066"/>
                            <a:pt x="71734" y="256184"/>
                          </a:cubicBezTo>
                          <a:cubicBezTo>
                            <a:pt x="76581" y="264301"/>
                            <a:pt x="84308" y="268448"/>
                            <a:pt x="94916" y="268624"/>
                          </a:cubicBezTo>
                          <a:cubicBezTo>
                            <a:pt x="103591" y="268436"/>
                            <a:pt x="111108" y="266843"/>
                            <a:pt x="117465" y="263845"/>
                          </a:cubicBezTo>
                          <a:cubicBezTo>
                            <a:pt x="123822" y="260846"/>
                            <a:pt x="129231" y="257566"/>
                            <a:pt x="133692" y="254005"/>
                          </a:cubicBezTo>
                          <a:lnTo>
                            <a:pt x="153362" y="303987"/>
                          </a:lnTo>
                          <a:cubicBezTo>
                            <a:pt x="145646" y="310419"/>
                            <a:pt x="135366" y="316079"/>
                            <a:pt x="122523" y="320967"/>
                          </a:cubicBezTo>
                          <a:cubicBezTo>
                            <a:pt x="109679" y="325855"/>
                            <a:pt x="95044" y="328428"/>
                            <a:pt x="78618" y="328685"/>
                          </a:cubicBezTo>
                          <a:cubicBezTo>
                            <a:pt x="50285" y="328488"/>
                            <a:pt x="30025" y="319620"/>
                            <a:pt x="17837" y="302084"/>
                          </a:cubicBezTo>
                          <a:cubicBezTo>
                            <a:pt x="5649" y="284547"/>
                            <a:pt x="-292" y="259525"/>
                            <a:pt x="12" y="227017"/>
                          </a:cubicBez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2" name="TextBox 3291">
                      <a:extLst>
                        <a:ext uri="{FF2B5EF4-FFF2-40B4-BE49-F238E27FC236}">
                          <a16:creationId xmlns:a16="http://schemas.microsoft.com/office/drawing/2014/main" id="{77FC8FB7-EBE5-1CB1-1AF3-3A68D0D3E09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366748" y="2530212"/>
                      <a:ext cx="145786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07861" h="265182">
                          <a:moveTo>
                            <a:pt x="99427" y="0"/>
                          </a:moveTo>
                          <a:cubicBezTo>
                            <a:pt x="123855" y="421"/>
                            <a:pt x="144020" y="3929"/>
                            <a:pt x="159923" y="10523"/>
                          </a:cubicBezTo>
                          <a:cubicBezTo>
                            <a:pt x="175826" y="17118"/>
                            <a:pt x="187689" y="24274"/>
                            <a:pt x="195511" y="31991"/>
                          </a:cubicBezTo>
                          <a:lnTo>
                            <a:pt x="171372" y="78055"/>
                          </a:lnTo>
                          <a:cubicBezTo>
                            <a:pt x="163572" y="71883"/>
                            <a:pt x="153624" y="66377"/>
                            <a:pt x="141529" y="61540"/>
                          </a:cubicBezTo>
                          <a:cubicBezTo>
                            <a:pt x="129434" y="56702"/>
                            <a:pt x="116525" y="54149"/>
                            <a:pt x="102802" y="53879"/>
                          </a:cubicBezTo>
                          <a:cubicBezTo>
                            <a:pt x="92876" y="54090"/>
                            <a:pt x="85165" y="56339"/>
                            <a:pt x="79669" y="60626"/>
                          </a:cubicBezTo>
                          <a:cubicBezTo>
                            <a:pt x="74172" y="64913"/>
                            <a:pt x="71383" y="69973"/>
                            <a:pt x="71301" y="75807"/>
                          </a:cubicBezTo>
                          <a:cubicBezTo>
                            <a:pt x="72012" y="85886"/>
                            <a:pt x="79125" y="93276"/>
                            <a:pt x="92639" y="97979"/>
                          </a:cubicBezTo>
                          <a:cubicBezTo>
                            <a:pt x="106153" y="102682"/>
                            <a:pt x="121800" y="107473"/>
                            <a:pt x="139581" y="112351"/>
                          </a:cubicBezTo>
                          <a:cubicBezTo>
                            <a:pt x="157362" y="117230"/>
                            <a:pt x="173010" y="124972"/>
                            <a:pt x="186524" y="135578"/>
                          </a:cubicBezTo>
                          <a:cubicBezTo>
                            <a:pt x="200037" y="146184"/>
                            <a:pt x="207150" y="162430"/>
                            <a:pt x="207861" y="184316"/>
                          </a:cubicBezTo>
                          <a:cubicBezTo>
                            <a:pt x="207466" y="209559"/>
                            <a:pt x="198152" y="229286"/>
                            <a:pt x="179924" y="243498"/>
                          </a:cubicBezTo>
                          <a:cubicBezTo>
                            <a:pt x="161695" y="257709"/>
                            <a:pt x="136925" y="264937"/>
                            <a:pt x="105615" y="265182"/>
                          </a:cubicBezTo>
                          <a:cubicBezTo>
                            <a:pt x="81536" y="264504"/>
                            <a:pt x="59575" y="259546"/>
                            <a:pt x="39732" y="250309"/>
                          </a:cubicBezTo>
                          <a:cubicBezTo>
                            <a:pt x="19889" y="241072"/>
                            <a:pt x="6646" y="231624"/>
                            <a:pt x="0" y="221966"/>
                          </a:cubicBezTo>
                          <a:lnTo>
                            <a:pt x="31444" y="179818"/>
                          </a:lnTo>
                          <a:cubicBezTo>
                            <a:pt x="39771" y="188263"/>
                            <a:pt x="51614" y="195549"/>
                            <a:pt x="66971" y="201674"/>
                          </a:cubicBezTo>
                          <a:cubicBezTo>
                            <a:pt x="82329" y="207800"/>
                            <a:pt x="96710" y="211010"/>
                            <a:pt x="110115" y="211302"/>
                          </a:cubicBezTo>
                          <a:cubicBezTo>
                            <a:pt x="119620" y="211302"/>
                            <a:pt x="127471" y="209335"/>
                            <a:pt x="133671" y="205399"/>
                          </a:cubicBezTo>
                          <a:cubicBezTo>
                            <a:pt x="139870" y="201464"/>
                            <a:pt x="143081" y="195560"/>
                            <a:pt x="143304" y="187689"/>
                          </a:cubicBezTo>
                          <a:cubicBezTo>
                            <a:pt x="142593" y="177893"/>
                            <a:pt x="135480" y="170674"/>
                            <a:pt x="121967" y="166035"/>
                          </a:cubicBezTo>
                          <a:cubicBezTo>
                            <a:pt x="108453" y="161395"/>
                            <a:pt x="92805" y="156549"/>
                            <a:pt x="75024" y="151496"/>
                          </a:cubicBezTo>
                          <a:cubicBezTo>
                            <a:pt x="57243" y="146443"/>
                            <a:pt x="41595" y="138399"/>
                            <a:pt x="28082" y="127364"/>
                          </a:cubicBezTo>
                          <a:cubicBezTo>
                            <a:pt x="14568" y="116329"/>
                            <a:pt x="7455" y="99518"/>
                            <a:pt x="6744" y="76931"/>
                          </a:cubicBezTo>
                          <a:cubicBezTo>
                            <a:pt x="7339" y="52100"/>
                            <a:pt x="16254" y="33099"/>
                            <a:pt x="33486" y="19929"/>
                          </a:cubicBezTo>
                          <a:cubicBezTo>
                            <a:pt x="50720" y="6759"/>
                            <a:pt x="72700" y="116"/>
                            <a:pt x="99427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1" name="TextBox 3290">
                      <a:extLst>
                        <a:ext uri="{FF2B5EF4-FFF2-40B4-BE49-F238E27FC236}">
                          <a16:creationId xmlns:a16="http://schemas.microsoft.com/office/drawing/2014/main" id="{954409C4-5DB0-114E-B7B0-56848D2C540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673657" y="2530212"/>
                      <a:ext cx="193084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75297" h="265182">
                          <a:moveTo>
                            <a:pt x="137648" y="0"/>
                          </a:moveTo>
                          <a:cubicBezTo>
                            <a:pt x="180026" y="781"/>
                            <a:pt x="213437" y="13392"/>
                            <a:pt x="237881" y="37834"/>
                          </a:cubicBezTo>
                          <a:cubicBezTo>
                            <a:pt x="262324" y="62276"/>
                            <a:pt x="274796" y="93861"/>
                            <a:pt x="275297" y="132591"/>
                          </a:cubicBezTo>
                          <a:cubicBezTo>
                            <a:pt x="274796" y="171321"/>
                            <a:pt x="262324" y="202907"/>
                            <a:pt x="237881" y="227348"/>
                          </a:cubicBezTo>
                          <a:cubicBezTo>
                            <a:pt x="213437" y="251790"/>
                            <a:pt x="180026" y="264401"/>
                            <a:pt x="137648" y="265182"/>
                          </a:cubicBezTo>
                          <a:cubicBezTo>
                            <a:pt x="95270" y="264401"/>
                            <a:pt x="61860" y="251790"/>
                            <a:pt x="37416" y="227348"/>
                          </a:cubicBezTo>
                          <a:cubicBezTo>
                            <a:pt x="12972" y="202907"/>
                            <a:pt x="500" y="171321"/>
                            <a:pt x="0" y="132591"/>
                          </a:cubicBezTo>
                          <a:cubicBezTo>
                            <a:pt x="500" y="93861"/>
                            <a:pt x="12972" y="62276"/>
                            <a:pt x="37416" y="37834"/>
                          </a:cubicBezTo>
                          <a:cubicBezTo>
                            <a:pt x="61860" y="13392"/>
                            <a:pt x="95270" y="781"/>
                            <a:pt x="137648" y="0"/>
                          </a:cubicBezTo>
                          <a:close/>
                          <a:moveTo>
                            <a:pt x="137648" y="60623"/>
                          </a:moveTo>
                          <a:cubicBezTo>
                            <a:pt x="118062" y="60881"/>
                            <a:pt x="101851" y="67393"/>
                            <a:pt x="89013" y="80161"/>
                          </a:cubicBezTo>
                          <a:cubicBezTo>
                            <a:pt x="76174" y="92929"/>
                            <a:pt x="69521" y="110405"/>
                            <a:pt x="69052" y="132591"/>
                          </a:cubicBezTo>
                          <a:cubicBezTo>
                            <a:pt x="69450" y="154061"/>
                            <a:pt x="75963" y="171421"/>
                            <a:pt x="88591" y="184669"/>
                          </a:cubicBezTo>
                          <a:cubicBezTo>
                            <a:pt x="101218" y="197917"/>
                            <a:pt x="117570" y="204734"/>
                            <a:pt x="137648" y="205121"/>
                          </a:cubicBezTo>
                          <a:cubicBezTo>
                            <a:pt x="157995" y="204840"/>
                            <a:pt x="174511" y="198233"/>
                            <a:pt x="187197" y="185301"/>
                          </a:cubicBezTo>
                          <a:cubicBezTo>
                            <a:pt x="199883" y="172370"/>
                            <a:pt x="206420" y="154799"/>
                            <a:pt x="206806" y="132591"/>
                          </a:cubicBezTo>
                          <a:cubicBezTo>
                            <a:pt x="206385" y="110897"/>
                            <a:pt x="199778" y="93561"/>
                            <a:pt x="186987" y="80583"/>
                          </a:cubicBezTo>
                          <a:cubicBezTo>
                            <a:pt x="174195" y="67604"/>
                            <a:pt x="157750" y="60951"/>
                            <a:pt x="137648" y="60623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0" name="TextBox 3289">
                      <a:extLst>
                        <a:ext uri="{FF2B5EF4-FFF2-40B4-BE49-F238E27FC236}">
                          <a16:creationId xmlns:a16="http://schemas.microsoft.com/office/drawing/2014/main" id="{FC4D1427-B3C2-6084-18E3-79DFB4831C1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208491" y="2530212"/>
                      <a:ext cx="145786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07860" h="265182">
                          <a:moveTo>
                            <a:pt x="99426" y="0"/>
                          </a:moveTo>
                          <a:cubicBezTo>
                            <a:pt x="123854" y="421"/>
                            <a:pt x="144019" y="3929"/>
                            <a:pt x="159922" y="10523"/>
                          </a:cubicBezTo>
                          <a:cubicBezTo>
                            <a:pt x="175825" y="17118"/>
                            <a:pt x="187688" y="24274"/>
                            <a:pt x="195510" y="31991"/>
                          </a:cubicBezTo>
                          <a:lnTo>
                            <a:pt x="171372" y="78055"/>
                          </a:lnTo>
                          <a:cubicBezTo>
                            <a:pt x="163571" y="71883"/>
                            <a:pt x="153624" y="66377"/>
                            <a:pt x="141528" y="61540"/>
                          </a:cubicBezTo>
                          <a:cubicBezTo>
                            <a:pt x="129433" y="56702"/>
                            <a:pt x="116524" y="54149"/>
                            <a:pt x="102801" y="53879"/>
                          </a:cubicBezTo>
                          <a:cubicBezTo>
                            <a:pt x="92875" y="54090"/>
                            <a:pt x="85164" y="56339"/>
                            <a:pt x="79668" y="60626"/>
                          </a:cubicBezTo>
                          <a:cubicBezTo>
                            <a:pt x="74171" y="64913"/>
                            <a:pt x="71382" y="69973"/>
                            <a:pt x="71300" y="75807"/>
                          </a:cubicBezTo>
                          <a:cubicBezTo>
                            <a:pt x="72012" y="85886"/>
                            <a:pt x="79124" y="93276"/>
                            <a:pt x="92638" y="97979"/>
                          </a:cubicBezTo>
                          <a:cubicBezTo>
                            <a:pt x="106151" y="102682"/>
                            <a:pt x="121799" y="107473"/>
                            <a:pt x="139581" y="112351"/>
                          </a:cubicBezTo>
                          <a:cubicBezTo>
                            <a:pt x="157361" y="117230"/>
                            <a:pt x="173009" y="124972"/>
                            <a:pt x="186523" y="135578"/>
                          </a:cubicBezTo>
                          <a:cubicBezTo>
                            <a:pt x="200036" y="146184"/>
                            <a:pt x="207149" y="162430"/>
                            <a:pt x="207860" y="184316"/>
                          </a:cubicBezTo>
                          <a:cubicBezTo>
                            <a:pt x="207464" y="209559"/>
                            <a:pt x="198152" y="229286"/>
                            <a:pt x="179922" y="243498"/>
                          </a:cubicBezTo>
                          <a:cubicBezTo>
                            <a:pt x="161693" y="257709"/>
                            <a:pt x="136924" y="264937"/>
                            <a:pt x="105614" y="265182"/>
                          </a:cubicBezTo>
                          <a:cubicBezTo>
                            <a:pt x="81535" y="264504"/>
                            <a:pt x="59574" y="259546"/>
                            <a:pt x="39732" y="250309"/>
                          </a:cubicBezTo>
                          <a:cubicBezTo>
                            <a:pt x="19889" y="241072"/>
                            <a:pt x="6644" y="231624"/>
                            <a:pt x="0" y="221966"/>
                          </a:cubicBezTo>
                          <a:lnTo>
                            <a:pt x="31443" y="179818"/>
                          </a:lnTo>
                          <a:cubicBezTo>
                            <a:pt x="39770" y="188263"/>
                            <a:pt x="51613" y="195549"/>
                            <a:pt x="66971" y="201674"/>
                          </a:cubicBezTo>
                          <a:cubicBezTo>
                            <a:pt x="82328" y="207800"/>
                            <a:pt x="96709" y="211010"/>
                            <a:pt x="110114" y="211302"/>
                          </a:cubicBezTo>
                          <a:cubicBezTo>
                            <a:pt x="119619" y="211302"/>
                            <a:pt x="127471" y="209335"/>
                            <a:pt x="133670" y="205399"/>
                          </a:cubicBezTo>
                          <a:cubicBezTo>
                            <a:pt x="139870" y="201464"/>
                            <a:pt x="143081" y="195560"/>
                            <a:pt x="143303" y="187689"/>
                          </a:cubicBezTo>
                          <a:cubicBezTo>
                            <a:pt x="142592" y="177893"/>
                            <a:pt x="135480" y="170674"/>
                            <a:pt x="121966" y="166035"/>
                          </a:cubicBezTo>
                          <a:cubicBezTo>
                            <a:pt x="108452" y="161395"/>
                            <a:pt x="92805" y="156549"/>
                            <a:pt x="75024" y="151496"/>
                          </a:cubicBezTo>
                          <a:cubicBezTo>
                            <a:pt x="57243" y="146443"/>
                            <a:pt x="41594" y="138399"/>
                            <a:pt x="28081" y="127364"/>
                          </a:cubicBezTo>
                          <a:cubicBezTo>
                            <a:pt x="14567" y="116329"/>
                            <a:pt x="7455" y="99518"/>
                            <a:pt x="6743" y="76931"/>
                          </a:cubicBezTo>
                          <a:cubicBezTo>
                            <a:pt x="7339" y="52100"/>
                            <a:pt x="16253" y="33099"/>
                            <a:pt x="33486" y="19929"/>
                          </a:cubicBezTo>
                          <a:cubicBezTo>
                            <a:pt x="50718" y="6759"/>
                            <a:pt x="72699" y="116"/>
                            <a:pt x="99426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9" name="TextBox 3288">
                      <a:extLst>
                        <a:ext uri="{FF2B5EF4-FFF2-40B4-BE49-F238E27FC236}">
                          <a16:creationId xmlns:a16="http://schemas.microsoft.com/office/drawing/2014/main" id="{70884ABF-8B23-7773-B87F-37BC0597E5E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822309" y="2530212"/>
                      <a:ext cx="147376" cy="18401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10127" h="262372">
                          <a:moveTo>
                            <a:pt x="108989" y="0"/>
                          </a:moveTo>
                          <a:cubicBezTo>
                            <a:pt x="145900" y="196"/>
                            <a:pt x="172095" y="9345"/>
                            <a:pt x="187574" y="27447"/>
                          </a:cubicBezTo>
                          <a:cubicBezTo>
                            <a:pt x="203054" y="45550"/>
                            <a:pt x="210566" y="71429"/>
                            <a:pt x="210108" y="105086"/>
                          </a:cubicBezTo>
                          <a:lnTo>
                            <a:pt x="210108" y="259000"/>
                          </a:lnTo>
                          <a:lnTo>
                            <a:pt x="153975" y="259000"/>
                          </a:lnTo>
                          <a:lnTo>
                            <a:pt x="153975" y="229819"/>
                          </a:lnTo>
                          <a:cubicBezTo>
                            <a:pt x="147101" y="239524"/>
                            <a:pt x="137238" y="247335"/>
                            <a:pt x="124384" y="253252"/>
                          </a:cubicBezTo>
                          <a:cubicBezTo>
                            <a:pt x="111531" y="259168"/>
                            <a:pt x="96464" y="262208"/>
                            <a:pt x="79180" y="262372"/>
                          </a:cubicBezTo>
                          <a:cubicBezTo>
                            <a:pt x="55730" y="262198"/>
                            <a:pt x="36776" y="255390"/>
                            <a:pt x="22317" y="241949"/>
                          </a:cubicBezTo>
                          <a:cubicBezTo>
                            <a:pt x="7859" y="228509"/>
                            <a:pt x="421" y="209480"/>
                            <a:pt x="0" y="184863"/>
                          </a:cubicBezTo>
                          <a:cubicBezTo>
                            <a:pt x="642" y="157098"/>
                            <a:pt x="9602" y="136471"/>
                            <a:pt x="26881" y="122983"/>
                          </a:cubicBezTo>
                          <a:cubicBezTo>
                            <a:pt x="44161" y="109495"/>
                            <a:pt x="65906" y="102781"/>
                            <a:pt x="92116" y="102841"/>
                          </a:cubicBezTo>
                          <a:cubicBezTo>
                            <a:pt x="103575" y="102958"/>
                            <a:pt x="114402" y="104548"/>
                            <a:pt x="124596" y="107610"/>
                          </a:cubicBezTo>
                          <a:cubicBezTo>
                            <a:pt x="134791" y="110673"/>
                            <a:pt x="143087" y="114507"/>
                            <a:pt x="149485" y="119112"/>
                          </a:cubicBezTo>
                          <a:cubicBezTo>
                            <a:pt x="150608" y="97950"/>
                            <a:pt x="147654" y="81808"/>
                            <a:pt x="140625" y="70686"/>
                          </a:cubicBezTo>
                          <a:cubicBezTo>
                            <a:pt x="133595" y="59565"/>
                            <a:pt x="120800" y="53962"/>
                            <a:pt x="102240" y="53879"/>
                          </a:cubicBezTo>
                          <a:cubicBezTo>
                            <a:pt x="87839" y="54079"/>
                            <a:pt x="75447" y="55931"/>
                            <a:pt x="65063" y="59437"/>
                          </a:cubicBezTo>
                          <a:cubicBezTo>
                            <a:pt x="54679" y="62942"/>
                            <a:pt x="44967" y="66905"/>
                            <a:pt x="35927" y="71326"/>
                          </a:cubicBezTo>
                          <a:lnTo>
                            <a:pt x="19647" y="24133"/>
                          </a:lnTo>
                          <a:cubicBezTo>
                            <a:pt x="30874" y="17480"/>
                            <a:pt x="44353" y="11844"/>
                            <a:pt x="60084" y="7226"/>
                          </a:cubicBezTo>
                          <a:cubicBezTo>
                            <a:pt x="75815" y="2607"/>
                            <a:pt x="92117" y="199"/>
                            <a:pt x="108989" y="0"/>
                          </a:cubicBezTo>
                          <a:close/>
                          <a:moveTo>
                            <a:pt x="105052" y="146605"/>
                          </a:moveTo>
                          <a:cubicBezTo>
                            <a:pt x="94014" y="146582"/>
                            <a:pt x="84593" y="149160"/>
                            <a:pt x="76790" y="154341"/>
                          </a:cubicBezTo>
                          <a:cubicBezTo>
                            <a:pt x="68986" y="159522"/>
                            <a:pt x="64908" y="167446"/>
                            <a:pt x="64557" y="178112"/>
                          </a:cubicBezTo>
                          <a:cubicBezTo>
                            <a:pt x="64791" y="187723"/>
                            <a:pt x="68259" y="195084"/>
                            <a:pt x="74961" y="200195"/>
                          </a:cubicBezTo>
                          <a:cubicBezTo>
                            <a:pt x="81664" y="205305"/>
                            <a:pt x="90194" y="207884"/>
                            <a:pt x="100553" y="207931"/>
                          </a:cubicBezTo>
                          <a:cubicBezTo>
                            <a:pt x="113910" y="207673"/>
                            <a:pt x="124456" y="205235"/>
                            <a:pt x="132190" y="200617"/>
                          </a:cubicBezTo>
                          <a:cubicBezTo>
                            <a:pt x="139923" y="195998"/>
                            <a:pt x="145688" y="190747"/>
                            <a:pt x="149485" y="184863"/>
                          </a:cubicBezTo>
                          <a:lnTo>
                            <a:pt x="149485" y="158983"/>
                          </a:lnTo>
                          <a:cubicBezTo>
                            <a:pt x="143872" y="154775"/>
                            <a:pt x="137380" y="151657"/>
                            <a:pt x="130010" y="149629"/>
                          </a:cubicBezTo>
                          <a:cubicBezTo>
                            <a:pt x="122640" y="147601"/>
                            <a:pt x="114320" y="146593"/>
                            <a:pt x="105052" y="146605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8" name="TextBox 3287">
                      <a:extLst>
                        <a:ext uri="{FF2B5EF4-FFF2-40B4-BE49-F238E27FC236}">
                          <a16:creationId xmlns:a16="http://schemas.microsoft.com/office/drawing/2014/main" id="{AEF8B262-FC45-ABC1-A457-B67B26D9F5C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143366" y="2530212"/>
                      <a:ext cx="177712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3381" h="265182">
                          <a:moveTo>
                            <a:pt x="133719" y="0"/>
                          </a:moveTo>
                          <a:cubicBezTo>
                            <a:pt x="167234" y="464"/>
                            <a:pt x="195329" y="11181"/>
                            <a:pt x="218004" y="32150"/>
                          </a:cubicBezTo>
                          <a:cubicBezTo>
                            <a:pt x="240678" y="53119"/>
                            <a:pt x="252471" y="81553"/>
                            <a:pt x="253381" y="117453"/>
                          </a:cubicBezTo>
                          <a:cubicBezTo>
                            <a:pt x="253392" y="125192"/>
                            <a:pt x="253089" y="131771"/>
                            <a:pt x="252469" y="137192"/>
                          </a:cubicBezTo>
                          <a:cubicBezTo>
                            <a:pt x="251849" y="142613"/>
                            <a:pt x="250843" y="147647"/>
                            <a:pt x="249451" y="152295"/>
                          </a:cubicBezTo>
                          <a:lnTo>
                            <a:pt x="66805" y="152295"/>
                          </a:lnTo>
                          <a:cubicBezTo>
                            <a:pt x="69933" y="171473"/>
                            <a:pt x="78297" y="186084"/>
                            <a:pt x="91897" y="196129"/>
                          </a:cubicBezTo>
                          <a:cubicBezTo>
                            <a:pt x="105499" y="206174"/>
                            <a:pt x="122438" y="211232"/>
                            <a:pt x="142716" y="211302"/>
                          </a:cubicBezTo>
                          <a:cubicBezTo>
                            <a:pt x="158307" y="211080"/>
                            <a:pt x="172244" y="208715"/>
                            <a:pt x="184525" y="204208"/>
                          </a:cubicBezTo>
                          <a:cubicBezTo>
                            <a:pt x="196806" y="199700"/>
                            <a:pt x="206659" y="194385"/>
                            <a:pt x="214085" y="188261"/>
                          </a:cubicBezTo>
                          <a:lnTo>
                            <a:pt x="232611" y="233752"/>
                          </a:lnTo>
                          <a:cubicBezTo>
                            <a:pt x="219746" y="244392"/>
                            <a:pt x="204909" y="252297"/>
                            <a:pt x="188101" y="257465"/>
                          </a:cubicBezTo>
                          <a:cubicBezTo>
                            <a:pt x="171292" y="262633"/>
                            <a:pt x="153915" y="265205"/>
                            <a:pt x="135968" y="265182"/>
                          </a:cubicBezTo>
                          <a:cubicBezTo>
                            <a:pt x="94641" y="264646"/>
                            <a:pt x="61791" y="252528"/>
                            <a:pt x="37417" y="228828"/>
                          </a:cubicBezTo>
                          <a:cubicBezTo>
                            <a:pt x="13043" y="205129"/>
                            <a:pt x="571" y="173061"/>
                            <a:pt x="0" y="132626"/>
                          </a:cubicBezTo>
                          <a:cubicBezTo>
                            <a:pt x="372" y="94864"/>
                            <a:pt x="12259" y="63549"/>
                            <a:pt x="35662" y="38682"/>
                          </a:cubicBezTo>
                          <a:cubicBezTo>
                            <a:pt x="59064" y="13815"/>
                            <a:pt x="91750" y="921"/>
                            <a:pt x="133719" y="0"/>
                          </a:cubicBezTo>
                          <a:close/>
                          <a:moveTo>
                            <a:pt x="130907" y="53879"/>
                          </a:moveTo>
                          <a:cubicBezTo>
                            <a:pt x="111590" y="54102"/>
                            <a:pt x="96525" y="59143"/>
                            <a:pt x="85713" y="69001"/>
                          </a:cubicBezTo>
                          <a:cubicBezTo>
                            <a:pt x="74901" y="78860"/>
                            <a:pt x="67849" y="92201"/>
                            <a:pt x="64559" y="109023"/>
                          </a:cubicBezTo>
                          <a:lnTo>
                            <a:pt x="188824" y="109023"/>
                          </a:lnTo>
                          <a:cubicBezTo>
                            <a:pt x="188976" y="93186"/>
                            <a:pt x="184032" y="80126"/>
                            <a:pt x="173993" y="69846"/>
                          </a:cubicBezTo>
                          <a:cubicBezTo>
                            <a:pt x="163954" y="59565"/>
                            <a:pt x="149592" y="54243"/>
                            <a:pt x="130907" y="53879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7" name="TextBox 3286">
                      <a:extLst>
                        <a:ext uri="{FF2B5EF4-FFF2-40B4-BE49-F238E27FC236}">
                          <a16:creationId xmlns:a16="http://schemas.microsoft.com/office/drawing/2014/main" id="{645989DB-2C0A-CF89-ECD8-8F31CBEDA42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557557" y="2530212"/>
                      <a:ext cx="193084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75297" h="265182">
                          <a:moveTo>
                            <a:pt x="137648" y="0"/>
                          </a:moveTo>
                          <a:cubicBezTo>
                            <a:pt x="180026" y="781"/>
                            <a:pt x="213436" y="13392"/>
                            <a:pt x="237880" y="37834"/>
                          </a:cubicBezTo>
                          <a:cubicBezTo>
                            <a:pt x="262324" y="62276"/>
                            <a:pt x="274796" y="93861"/>
                            <a:pt x="275297" y="132591"/>
                          </a:cubicBezTo>
                          <a:cubicBezTo>
                            <a:pt x="274796" y="171321"/>
                            <a:pt x="262324" y="202907"/>
                            <a:pt x="237880" y="227348"/>
                          </a:cubicBezTo>
                          <a:cubicBezTo>
                            <a:pt x="213436" y="251790"/>
                            <a:pt x="180026" y="264401"/>
                            <a:pt x="137648" y="265182"/>
                          </a:cubicBezTo>
                          <a:cubicBezTo>
                            <a:pt x="95270" y="264401"/>
                            <a:pt x="61860" y="251790"/>
                            <a:pt x="37416" y="227348"/>
                          </a:cubicBezTo>
                          <a:cubicBezTo>
                            <a:pt x="12972" y="202907"/>
                            <a:pt x="500" y="171321"/>
                            <a:pt x="0" y="132591"/>
                          </a:cubicBezTo>
                          <a:cubicBezTo>
                            <a:pt x="500" y="93861"/>
                            <a:pt x="12972" y="62276"/>
                            <a:pt x="37416" y="37834"/>
                          </a:cubicBezTo>
                          <a:cubicBezTo>
                            <a:pt x="61860" y="13392"/>
                            <a:pt x="95270" y="781"/>
                            <a:pt x="137648" y="0"/>
                          </a:cubicBezTo>
                          <a:close/>
                          <a:moveTo>
                            <a:pt x="137648" y="60623"/>
                          </a:moveTo>
                          <a:cubicBezTo>
                            <a:pt x="118062" y="60881"/>
                            <a:pt x="101850" y="67393"/>
                            <a:pt x="89012" y="80161"/>
                          </a:cubicBezTo>
                          <a:cubicBezTo>
                            <a:pt x="76174" y="92929"/>
                            <a:pt x="69520" y="110405"/>
                            <a:pt x="69052" y="132591"/>
                          </a:cubicBezTo>
                          <a:cubicBezTo>
                            <a:pt x="69450" y="154061"/>
                            <a:pt x="75963" y="171421"/>
                            <a:pt x="88590" y="184669"/>
                          </a:cubicBezTo>
                          <a:cubicBezTo>
                            <a:pt x="101218" y="197917"/>
                            <a:pt x="117570" y="204734"/>
                            <a:pt x="137648" y="205121"/>
                          </a:cubicBezTo>
                          <a:cubicBezTo>
                            <a:pt x="157994" y="204840"/>
                            <a:pt x="174511" y="198233"/>
                            <a:pt x="187197" y="185301"/>
                          </a:cubicBezTo>
                          <a:cubicBezTo>
                            <a:pt x="199883" y="172370"/>
                            <a:pt x="206420" y="154799"/>
                            <a:pt x="206806" y="132591"/>
                          </a:cubicBezTo>
                          <a:cubicBezTo>
                            <a:pt x="206385" y="110897"/>
                            <a:pt x="199778" y="93561"/>
                            <a:pt x="186986" y="80583"/>
                          </a:cubicBezTo>
                          <a:cubicBezTo>
                            <a:pt x="174194" y="67604"/>
                            <a:pt x="157749" y="60951"/>
                            <a:pt x="137648" y="60623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6" name="TextBox 3285">
                      <a:extLst>
                        <a:ext uri="{FF2B5EF4-FFF2-40B4-BE49-F238E27FC236}">
                          <a16:creationId xmlns:a16="http://schemas.microsoft.com/office/drawing/2014/main" id="{E42E46C5-5BBD-90A2-067B-16A91F5CADB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992183" y="2530212"/>
                      <a:ext cx="145786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07861" h="265182">
                          <a:moveTo>
                            <a:pt x="99427" y="0"/>
                          </a:moveTo>
                          <a:cubicBezTo>
                            <a:pt x="123854" y="421"/>
                            <a:pt x="144020" y="3929"/>
                            <a:pt x="159923" y="10523"/>
                          </a:cubicBezTo>
                          <a:cubicBezTo>
                            <a:pt x="175826" y="17118"/>
                            <a:pt x="187688" y="24274"/>
                            <a:pt x="195510" y="31991"/>
                          </a:cubicBezTo>
                          <a:lnTo>
                            <a:pt x="171372" y="78055"/>
                          </a:lnTo>
                          <a:cubicBezTo>
                            <a:pt x="163572" y="71883"/>
                            <a:pt x="153624" y="66377"/>
                            <a:pt x="141528" y="61540"/>
                          </a:cubicBezTo>
                          <a:cubicBezTo>
                            <a:pt x="129434" y="56702"/>
                            <a:pt x="116525" y="54149"/>
                            <a:pt x="102802" y="53879"/>
                          </a:cubicBezTo>
                          <a:cubicBezTo>
                            <a:pt x="92876" y="54090"/>
                            <a:pt x="85164" y="56339"/>
                            <a:pt x="79668" y="60626"/>
                          </a:cubicBezTo>
                          <a:cubicBezTo>
                            <a:pt x="74172" y="64913"/>
                            <a:pt x="71383" y="69973"/>
                            <a:pt x="71300" y="75807"/>
                          </a:cubicBezTo>
                          <a:cubicBezTo>
                            <a:pt x="72012" y="85886"/>
                            <a:pt x="79124" y="93276"/>
                            <a:pt x="92638" y="97979"/>
                          </a:cubicBezTo>
                          <a:cubicBezTo>
                            <a:pt x="106152" y="102682"/>
                            <a:pt x="121800" y="107473"/>
                            <a:pt x="139581" y="112351"/>
                          </a:cubicBezTo>
                          <a:cubicBezTo>
                            <a:pt x="157362" y="117230"/>
                            <a:pt x="173010" y="124972"/>
                            <a:pt x="186524" y="135578"/>
                          </a:cubicBezTo>
                          <a:cubicBezTo>
                            <a:pt x="200038" y="146184"/>
                            <a:pt x="207150" y="162430"/>
                            <a:pt x="207861" y="184316"/>
                          </a:cubicBezTo>
                          <a:cubicBezTo>
                            <a:pt x="207465" y="209559"/>
                            <a:pt x="198152" y="229286"/>
                            <a:pt x="179923" y="243498"/>
                          </a:cubicBezTo>
                          <a:cubicBezTo>
                            <a:pt x="161694" y="257709"/>
                            <a:pt x="136925" y="264937"/>
                            <a:pt x="105614" y="265182"/>
                          </a:cubicBezTo>
                          <a:cubicBezTo>
                            <a:pt x="81536" y="264504"/>
                            <a:pt x="59575" y="259546"/>
                            <a:pt x="39732" y="250309"/>
                          </a:cubicBezTo>
                          <a:cubicBezTo>
                            <a:pt x="19889" y="241072"/>
                            <a:pt x="6645" y="231624"/>
                            <a:pt x="0" y="221966"/>
                          </a:cubicBezTo>
                          <a:lnTo>
                            <a:pt x="31444" y="179818"/>
                          </a:lnTo>
                          <a:cubicBezTo>
                            <a:pt x="39771" y="188263"/>
                            <a:pt x="51614" y="195549"/>
                            <a:pt x="66971" y="201674"/>
                          </a:cubicBezTo>
                          <a:cubicBezTo>
                            <a:pt x="82328" y="207800"/>
                            <a:pt x="96710" y="211010"/>
                            <a:pt x="110115" y="211302"/>
                          </a:cubicBezTo>
                          <a:cubicBezTo>
                            <a:pt x="119620" y="211302"/>
                            <a:pt x="127471" y="209335"/>
                            <a:pt x="133671" y="205399"/>
                          </a:cubicBezTo>
                          <a:cubicBezTo>
                            <a:pt x="139870" y="201464"/>
                            <a:pt x="143081" y="195560"/>
                            <a:pt x="143304" y="187689"/>
                          </a:cubicBezTo>
                          <a:cubicBezTo>
                            <a:pt x="142592" y="177893"/>
                            <a:pt x="135480" y="170674"/>
                            <a:pt x="121966" y="166035"/>
                          </a:cubicBezTo>
                          <a:cubicBezTo>
                            <a:pt x="108452" y="161395"/>
                            <a:pt x="92805" y="156549"/>
                            <a:pt x="75024" y="151496"/>
                          </a:cubicBezTo>
                          <a:cubicBezTo>
                            <a:pt x="57242" y="146443"/>
                            <a:pt x="41596" y="138399"/>
                            <a:pt x="28082" y="127364"/>
                          </a:cubicBezTo>
                          <a:cubicBezTo>
                            <a:pt x="14568" y="116329"/>
                            <a:pt x="7455" y="99518"/>
                            <a:pt x="6744" y="76931"/>
                          </a:cubicBezTo>
                          <a:cubicBezTo>
                            <a:pt x="7339" y="52100"/>
                            <a:pt x="16253" y="33099"/>
                            <a:pt x="33486" y="19929"/>
                          </a:cubicBezTo>
                          <a:cubicBezTo>
                            <a:pt x="50719" y="6759"/>
                            <a:pt x="72700" y="116"/>
                            <a:pt x="99427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5" name="TextBox 3284">
                      <a:extLst>
                        <a:ext uri="{FF2B5EF4-FFF2-40B4-BE49-F238E27FC236}">
                          <a16:creationId xmlns:a16="http://schemas.microsoft.com/office/drawing/2014/main" id="{17D3D9BB-AEDE-212F-9A9A-FA790A7D828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165481" y="2530212"/>
                      <a:ext cx="177712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3380" h="265182">
                          <a:moveTo>
                            <a:pt x="133718" y="0"/>
                          </a:moveTo>
                          <a:cubicBezTo>
                            <a:pt x="167234" y="464"/>
                            <a:pt x="195328" y="11181"/>
                            <a:pt x="218003" y="32150"/>
                          </a:cubicBezTo>
                          <a:cubicBezTo>
                            <a:pt x="240678" y="53119"/>
                            <a:pt x="252470" y="81553"/>
                            <a:pt x="253380" y="117453"/>
                          </a:cubicBezTo>
                          <a:cubicBezTo>
                            <a:pt x="253392" y="125192"/>
                            <a:pt x="253088" y="131771"/>
                            <a:pt x="252468" y="137192"/>
                          </a:cubicBezTo>
                          <a:cubicBezTo>
                            <a:pt x="251848" y="142613"/>
                            <a:pt x="250843" y="147647"/>
                            <a:pt x="249451" y="152295"/>
                          </a:cubicBezTo>
                          <a:lnTo>
                            <a:pt x="66805" y="152295"/>
                          </a:lnTo>
                          <a:cubicBezTo>
                            <a:pt x="69933" y="171473"/>
                            <a:pt x="78297" y="186084"/>
                            <a:pt x="91898" y="196129"/>
                          </a:cubicBezTo>
                          <a:cubicBezTo>
                            <a:pt x="105498" y="206174"/>
                            <a:pt x="122438" y="211232"/>
                            <a:pt x="142716" y="211302"/>
                          </a:cubicBezTo>
                          <a:cubicBezTo>
                            <a:pt x="158308" y="211080"/>
                            <a:pt x="172244" y="208715"/>
                            <a:pt x="184525" y="204208"/>
                          </a:cubicBezTo>
                          <a:cubicBezTo>
                            <a:pt x="196805" y="199700"/>
                            <a:pt x="206659" y="194385"/>
                            <a:pt x="214085" y="188261"/>
                          </a:cubicBezTo>
                          <a:lnTo>
                            <a:pt x="232610" y="233752"/>
                          </a:lnTo>
                          <a:cubicBezTo>
                            <a:pt x="219746" y="244392"/>
                            <a:pt x="204909" y="252297"/>
                            <a:pt x="188100" y="257465"/>
                          </a:cubicBezTo>
                          <a:cubicBezTo>
                            <a:pt x="171292" y="262633"/>
                            <a:pt x="153914" y="265205"/>
                            <a:pt x="135968" y="265182"/>
                          </a:cubicBezTo>
                          <a:cubicBezTo>
                            <a:pt x="94640" y="264646"/>
                            <a:pt x="61790" y="252528"/>
                            <a:pt x="37417" y="228828"/>
                          </a:cubicBezTo>
                          <a:cubicBezTo>
                            <a:pt x="13044" y="205129"/>
                            <a:pt x="571" y="173061"/>
                            <a:pt x="0" y="132626"/>
                          </a:cubicBezTo>
                          <a:cubicBezTo>
                            <a:pt x="372" y="94864"/>
                            <a:pt x="12260" y="63549"/>
                            <a:pt x="35662" y="38682"/>
                          </a:cubicBezTo>
                          <a:cubicBezTo>
                            <a:pt x="59064" y="13815"/>
                            <a:pt x="91750" y="921"/>
                            <a:pt x="133718" y="0"/>
                          </a:cubicBezTo>
                          <a:close/>
                          <a:moveTo>
                            <a:pt x="130907" y="53879"/>
                          </a:moveTo>
                          <a:cubicBezTo>
                            <a:pt x="111590" y="54102"/>
                            <a:pt x="96525" y="59143"/>
                            <a:pt x="85713" y="69001"/>
                          </a:cubicBezTo>
                          <a:cubicBezTo>
                            <a:pt x="74900" y="78860"/>
                            <a:pt x="67850" y="92201"/>
                            <a:pt x="64560" y="109023"/>
                          </a:cubicBezTo>
                          <a:lnTo>
                            <a:pt x="188824" y="109023"/>
                          </a:lnTo>
                          <a:cubicBezTo>
                            <a:pt x="188976" y="93186"/>
                            <a:pt x="184032" y="80126"/>
                            <a:pt x="173993" y="69846"/>
                          </a:cubicBezTo>
                          <a:cubicBezTo>
                            <a:pt x="163954" y="59565"/>
                            <a:pt x="149592" y="54243"/>
                            <a:pt x="130907" y="53879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4" name="TextBox 3283">
                      <a:extLst>
                        <a:ext uri="{FF2B5EF4-FFF2-40B4-BE49-F238E27FC236}">
                          <a16:creationId xmlns:a16="http://schemas.microsoft.com/office/drawing/2014/main" id="{2B3AC430-7B12-B700-72EB-DCB92598B86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699921" y="2530212"/>
                      <a:ext cx="177712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3380" h="265182">
                          <a:moveTo>
                            <a:pt x="133718" y="0"/>
                          </a:moveTo>
                          <a:cubicBezTo>
                            <a:pt x="167234" y="464"/>
                            <a:pt x="195328" y="11181"/>
                            <a:pt x="218004" y="32150"/>
                          </a:cubicBezTo>
                          <a:cubicBezTo>
                            <a:pt x="240678" y="53119"/>
                            <a:pt x="252470" y="81553"/>
                            <a:pt x="253380" y="117453"/>
                          </a:cubicBezTo>
                          <a:cubicBezTo>
                            <a:pt x="253392" y="125192"/>
                            <a:pt x="253088" y="131771"/>
                            <a:pt x="252468" y="137192"/>
                          </a:cubicBezTo>
                          <a:cubicBezTo>
                            <a:pt x="251848" y="142613"/>
                            <a:pt x="250844" y="147647"/>
                            <a:pt x="249452" y="152295"/>
                          </a:cubicBezTo>
                          <a:lnTo>
                            <a:pt x="66804" y="152295"/>
                          </a:lnTo>
                          <a:cubicBezTo>
                            <a:pt x="69933" y="171473"/>
                            <a:pt x="78297" y="186084"/>
                            <a:pt x="91898" y="196129"/>
                          </a:cubicBezTo>
                          <a:cubicBezTo>
                            <a:pt x="105498" y="206174"/>
                            <a:pt x="122438" y="211232"/>
                            <a:pt x="142716" y="211302"/>
                          </a:cubicBezTo>
                          <a:cubicBezTo>
                            <a:pt x="158307" y="211080"/>
                            <a:pt x="172244" y="208715"/>
                            <a:pt x="184525" y="204208"/>
                          </a:cubicBezTo>
                          <a:cubicBezTo>
                            <a:pt x="196806" y="199700"/>
                            <a:pt x="206658" y="194385"/>
                            <a:pt x="214084" y="188261"/>
                          </a:cubicBezTo>
                          <a:lnTo>
                            <a:pt x="232610" y="233752"/>
                          </a:lnTo>
                          <a:cubicBezTo>
                            <a:pt x="219746" y="244392"/>
                            <a:pt x="204909" y="252297"/>
                            <a:pt x="188100" y="257465"/>
                          </a:cubicBezTo>
                          <a:cubicBezTo>
                            <a:pt x="171292" y="262633"/>
                            <a:pt x="153914" y="265205"/>
                            <a:pt x="135968" y="265182"/>
                          </a:cubicBezTo>
                          <a:cubicBezTo>
                            <a:pt x="94640" y="264646"/>
                            <a:pt x="61790" y="252528"/>
                            <a:pt x="37416" y="228828"/>
                          </a:cubicBezTo>
                          <a:cubicBezTo>
                            <a:pt x="13043" y="205129"/>
                            <a:pt x="570" y="173061"/>
                            <a:pt x="0" y="132626"/>
                          </a:cubicBezTo>
                          <a:cubicBezTo>
                            <a:pt x="372" y="94864"/>
                            <a:pt x="12259" y="63549"/>
                            <a:pt x="35662" y="38682"/>
                          </a:cubicBezTo>
                          <a:cubicBezTo>
                            <a:pt x="59064" y="13815"/>
                            <a:pt x="91750" y="921"/>
                            <a:pt x="133718" y="0"/>
                          </a:cubicBezTo>
                          <a:close/>
                          <a:moveTo>
                            <a:pt x="130907" y="53879"/>
                          </a:moveTo>
                          <a:cubicBezTo>
                            <a:pt x="111590" y="54102"/>
                            <a:pt x="96524" y="59143"/>
                            <a:pt x="85713" y="69001"/>
                          </a:cubicBezTo>
                          <a:cubicBezTo>
                            <a:pt x="74900" y="78860"/>
                            <a:pt x="67848" y="92201"/>
                            <a:pt x="64559" y="109023"/>
                          </a:cubicBezTo>
                          <a:lnTo>
                            <a:pt x="188824" y="109023"/>
                          </a:lnTo>
                          <a:cubicBezTo>
                            <a:pt x="188976" y="93186"/>
                            <a:pt x="184032" y="80126"/>
                            <a:pt x="173992" y="69846"/>
                          </a:cubicBezTo>
                          <a:cubicBezTo>
                            <a:pt x="163954" y="59565"/>
                            <a:pt x="149592" y="54243"/>
                            <a:pt x="130907" y="53879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3" name="TextBox 3282">
                      <a:extLst>
                        <a:ext uri="{FF2B5EF4-FFF2-40B4-BE49-F238E27FC236}">
                          <a16:creationId xmlns:a16="http://schemas.microsoft.com/office/drawing/2014/main" id="{76F5CF96-3EEF-53CA-2E8C-D632F93AFDF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6888117" y="2530212"/>
                      <a:ext cx="192296" cy="26364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74174" h="375894">
                          <a:moveTo>
                            <a:pt x="130906" y="0"/>
                          </a:moveTo>
                          <a:cubicBezTo>
                            <a:pt x="143584" y="47"/>
                            <a:pt x="155346" y="1637"/>
                            <a:pt x="166192" y="4770"/>
                          </a:cubicBezTo>
                          <a:cubicBezTo>
                            <a:pt x="177038" y="7904"/>
                            <a:pt x="186824" y="12300"/>
                            <a:pt x="195548" y="17959"/>
                          </a:cubicBezTo>
                          <a:lnTo>
                            <a:pt x="271926" y="1122"/>
                          </a:lnTo>
                          <a:lnTo>
                            <a:pt x="274174" y="52756"/>
                          </a:lnTo>
                          <a:lnTo>
                            <a:pt x="232034" y="62317"/>
                          </a:lnTo>
                          <a:cubicBezTo>
                            <a:pt x="234010" y="67403"/>
                            <a:pt x="235530" y="72699"/>
                            <a:pt x="236594" y="78206"/>
                          </a:cubicBezTo>
                          <a:cubicBezTo>
                            <a:pt x="237658" y="83714"/>
                            <a:pt x="238196" y="89291"/>
                            <a:pt x="238208" y="94939"/>
                          </a:cubicBezTo>
                          <a:cubicBezTo>
                            <a:pt x="237812" y="120962"/>
                            <a:pt x="228079" y="142829"/>
                            <a:pt x="209008" y="160540"/>
                          </a:cubicBezTo>
                          <a:cubicBezTo>
                            <a:pt x="189937" y="178251"/>
                            <a:pt x="163903" y="187468"/>
                            <a:pt x="130905" y="188191"/>
                          </a:cubicBezTo>
                          <a:lnTo>
                            <a:pt x="126407" y="188191"/>
                          </a:lnTo>
                          <a:cubicBezTo>
                            <a:pt x="125869" y="189894"/>
                            <a:pt x="125540" y="191562"/>
                            <a:pt x="125423" y="193194"/>
                          </a:cubicBezTo>
                          <a:cubicBezTo>
                            <a:pt x="125306" y="194827"/>
                            <a:pt x="125260" y="196354"/>
                            <a:pt x="125283" y="197775"/>
                          </a:cubicBezTo>
                          <a:cubicBezTo>
                            <a:pt x="125283" y="200041"/>
                            <a:pt x="125564" y="202273"/>
                            <a:pt x="126126" y="204469"/>
                          </a:cubicBezTo>
                          <a:cubicBezTo>
                            <a:pt x="126688" y="206665"/>
                            <a:pt x="127532" y="208756"/>
                            <a:pt x="128656" y="210741"/>
                          </a:cubicBezTo>
                          <a:lnTo>
                            <a:pt x="131468" y="210741"/>
                          </a:lnTo>
                          <a:cubicBezTo>
                            <a:pt x="169168" y="210634"/>
                            <a:pt x="200285" y="217301"/>
                            <a:pt x="224820" y="230743"/>
                          </a:cubicBezTo>
                          <a:cubicBezTo>
                            <a:pt x="249356" y="244185"/>
                            <a:pt x="262060" y="265043"/>
                            <a:pt x="262935" y="293316"/>
                          </a:cubicBezTo>
                          <a:cubicBezTo>
                            <a:pt x="262060" y="321589"/>
                            <a:pt x="249356" y="342446"/>
                            <a:pt x="224820" y="355888"/>
                          </a:cubicBezTo>
                          <a:cubicBezTo>
                            <a:pt x="200285" y="369330"/>
                            <a:pt x="169168" y="375998"/>
                            <a:pt x="131468" y="375891"/>
                          </a:cubicBezTo>
                          <a:cubicBezTo>
                            <a:pt x="93768" y="376068"/>
                            <a:pt x="62650" y="369541"/>
                            <a:pt x="38115" y="356309"/>
                          </a:cubicBezTo>
                          <a:cubicBezTo>
                            <a:pt x="13580" y="343077"/>
                            <a:pt x="876" y="322080"/>
                            <a:pt x="0" y="293316"/>
                          </a:cubicBezTo>
                          <a:cubicBezTo>
                            <a:pt x="398" y="272245"/>
                            <a:pt x="8024" y="255223"/>
                            <a:pt x="22878" y="242248"/>
                          </a:cubicBezTo>
                          <a:cubicBezTo>
                            <a:pt x="37732" y="229274"/>
                            <a:pt x="57434" y="220268"/>
                            <a:pt x="81981" y="215230"/>
                          </a:cubicBezTo>
                          <a:cubicBezTo>
                            <a:pt x="80566" y="212644"/>
                            <a:pt x="79466" y="209808"/>
                            <a:pt x="78684" y="206721"/>
                          </a:cubicBezTo>
                          <a:cubicBezTo>
                            <a:pt x="77900" y="203635"/>
                            <a:pt x="77502" y="200652"/>
                            <a:pt x="77490" y="197775"/>
                          </a:cubicBezTo>
                          <a:cubicBezTo>
                            <a:pt x="77479" y="194627"/>
                            <a:pt x="77922" y="191483"/>
                            <a:pt x="78823" y="188343"/>
                          </a:cubicBezTo>
                          <a:cubicBezTo>
                            <a:pt x="79724" y="185202"/>
                            <a:pt x="81150" y="182345"/>
                            <a:pt x="83104" y="179773"/>
                          </a:cubicBezTo>
                          <a:cubicBezTo>
                            <a:pt x="63902" y="171929"/>
                            <a:pt x="49120" y="160536"/>
                            <a:pt x="38759" y="145594"/>
                          </a:cubicBezTo>
                          <a:cubicBezTo>
                            <a:pt x="28398" y="130653"/>
                            <a:pt x="23158" y="113768"/>
                            <a:pt x="23042" y="94939"/>
                          </a:cubicBezTo>
                          <a:cubicBezTo>
                            <a:pt x="23356" y="68845"/>
                            <a:pt x="32972" y="46696"/>
                            <a:pt x="51891" y="28493"/>
                          </a:cubicBezTo>
                          <a:cubicBezTo>
                            <a:pt x="70810" y="10291"/>
                            <a:pt x="97148" y="793"/>
                            <a:pt x="130906" y="0"/>
                          </a:cubicBezTo>
                          <a:close/>
                          <a:moveTo>
                            <a:pt x="130906" y="52193"/>
                          </a:moveTo>
                          <a:cubicBezTo>
                            <a:pt x="116144" y="52533"/>
                            <a:pt x="104614" y="56775"/>
                            <a:pt x="96319" y="64919"/>
                          </a:cubicBezTo>
                          <a:cubicBezTo>
                            <a:pt x="88024" y="73062"/>
                            <a:pt x="83805" y="83069"/>
                            <a:pt x="83664" y="94939"/>
                          </a:cubicBezTo>
                          <a:cubicBezTo>
                            <a:pt x="83806" y="106985"/>
                            <a:pt x="88024" y="116781"/>
                            <a:pt x="96319" y="124327"/>
                          </a:cubicBezTo>
                          <a:cubicBezTo>
                            <a:pt x="104614" y="131873"/>
                            <a:pt x="116144" y="135764"/>
                            <a:pt x="130906" y="135998"/>
                          </a:cubicBezTo>
                          <a:cubicBezTo>
                            <a:pt x="144931" y="135869"/>
                            <a:pt x="156249" y="132190"/>
                            <a:pt x="164860" y="124960"/>
                          </a:cubicBezTo>
                          <a:cubicBezTo>
                            <a:pt x="173472" y="117730"/>
                            <a:pt x="177900" y="107723"/>
                            <a:pt x="178146" y="94939"/>
                          </a:cubicBezTo>
                          <a:cubicBezTo>
                            <a:pt x="178076" y="82823"/>
                            <a:pt x="174000" y="72746"/>
                            <a:pt x="165914" y="64708"/>
                          </a:cubicBezTo>
                          <a:cubicBezTo>
                            <a:pt x="157830" y="56669"/>
                            <a:pt x="146160" y="52498"/>
                            <a:pt x="130906" y="52193"/>
                          </a:cubicBezTo>
                          <a:close/>
                          <a:moveTo>
                            <a:pt x="131468" y="262372"/>
                          </a:moveTo>
                          <a:cubicBezTo>
                            <a:pt x="108322" y="262501"/>
                            <a:pt x="90658" y="265337"/>
                            <a:pt x="78476" y="270882"/>
                          </a:cubicBezTo>
                          <a:cubicBezTo>
                            <a:pt x="66294" y="276426"/>
                            <a:pt x="60156" y="283904"/>
                            <a:pt x="60062" y="293316"/>
                          </a:cubicBezTo>
                          <a:cubicBezTo>
                            <a:pt x="60296" y="303220"/>
                            <a:pt x="66715" y="310839"/>
                            <a:pt x="79319" y="316172"/>
                          </a:cubicBezTo>
                          <a:cubicBezTo>
                            <a:pt x="91922" y="321505"/>
                            <a:pt x="109306" y="324201"/>
                            <a:pt x="131468" y="324259"/>
                          </a:cubicBezTo>
                          <a:cubicBezTo>
                            <a:pt x="153606" y="324236"/>
                            <a:pt x="170895" y="321610"/>
                            <a:pt x="183336" y="316383"/>
                          </a:cubicBezTo>
                          <a:cubicBezTo>
                            <a:pt x="195776" y="311155"/>
                            <a:pt x="202101" y="303466"/>
                            <a:pt x="202312" y="293316"/>
                          </a:cubicBezTo>
                          <a:cubicBezTo>
                            <a:pt x="202276" y="283904"/>
                            <a:pt x="196303" y="276426"/>
                            <a:pt x="184390" y="270882"/>
                          </a:cubicBezTo>
                          <a:cubicBezTo>
                            <a:pt x="172477" y="265337"/>
                            <a:pt x="154836" y="262501"/>
                            <a:pt x="131468" y="262372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2" name="TextBox 3281">
                      <a:extLst>
                        <a:ext uri="{FF2B5EF4-FFF2-40B4-BE49-F238E27FC236}">
                          <a16:creationId xmlns:a16="http://schemas.microsoft.com/office/drawing/2014/main" id="{4304A42E-4261-8B83-B69E-2B2ED1FFDAF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14942" y="2530212"/>
                      <a:ext cx="177712" cy="18599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53380" h="265182">
                          <a:moveTo>
                            <a:pt x="133718" y="0"/>
                          </a:moveTo>
                          <a:cubicBezTo>
                            <a:pt x="167234" y="464"/>
                            <a:pt x="195328" y="11181"/>
                            <a:pt x="218003" y="32150"/>
                          </a:cubicBezTo>
                          <a:cubicBezTo>
                            <a:pt x="240678" y="53119"/>
                            <a:pt x="252470" y="81553"/>
                            <a:pt x="253380" y="117453"/>
                          </a:cubicBezTo>
                          <a:cubicBezTo>
                            <a:pt x="253392" y="125192"/>
                            <a:pt x="253088" y="131771"/>
                            <a:pt x="252468" y="137192"/>
                          </a:cubicBezTo>
                          <a:cubicBezTo>
                            <a:pt x="251848" y="142613"/>
                            <a:pt x="250843" y="147647"/>
                            <a:pt x="249451" y="152295"/>
                          </a:cubicBezTo>
                          <a:lnTo>
                            <a:pt x="66804" y="152295"/>
                          </a:lnTo>
                          <a:cubicBezTo>
                            <a:pt x="69932" y="171473"/>
                            <a:pt x="78297" y="186084"/>
                            <a:pt x="91898" y="196129"/>
                          </a:cubicBezTo>
                          <a:cubicBezTo>
                            <a:pt x="105498" y="206174"/>
                            <a:pt x="122438" y="211232"/>
                            <a:pt x="142715" y="211302"/>
                          </a:cubicBezTo>
                          <a:cubicBezTo>
                            <a:pt x="158307" y="211080"/>
                            <a:pt x="172244" y="208715"/>
                            <a:pt x="184524" y="204208"/>
                          </a:cubicBezTo>
                          <a:cubicBezTo>
                            <a:pt x="196806" y="199700"/>
                            <a:pt x="206658" y="194385"/>
                            <a:pt x="214085" y="188261"/>
                          </a:cubicBezTo>
                          <a:lnTo>
                            <a:pt x="232610" y="233752"/>
                          </a:lnTo>
                          <a:cubicBezTo>
                            <a:pt x="219746" y="244392"/>
                            <a:pt x="204909" y="252297"/>
                            <a:pt x="188100" y="257465"/>
                          </a:cubicBezTo>
                          <a:cubicBezTo>
                            <a:pt x="171292" y="262633"/>
                            <a:pt x="153914" y="265205"/>
                            <a:pt x="135968" y="265182"/>
                          </a:cubicBezTo>
                          <a:cubicBezTo>
                            <a:pt x="94640" y="264646"/>
                            <a:pt x="61790" y="252528"/>
                            <a:pt x="37416" y="228828"/>
                          </a:cubicBezTo>
                          <a:cubicBezTo>
                            <a:pt x="13043" y="205129"/>
                            <a:pt x="571" y="173061"/>
                            <a:pt x="0" y="132626"/>
                          </a:cubicBezTo>
                          <a:cubicBezTo>
                            <a:pt x="372" y="94864"/>
                            <a:pt x="12259" y="63549"/>
                            <a:pt x="35662" y="38682"/>
                          </a:cubicBezTo>
                          <a:cubicBezTo>
                            <a:pt x="59064" y="13815"/>
                            <a:pt x="91750" y="921"/>
                            <a:pt x="133718" y="0"/>
                          </a:cubicBezTo>
                          <a:close/>
                          <a:moveTo>
                            <a:pt x="130907" y="53879"/>
                          </a:moveTo>
                          <a:cubicBezTo>
                            <a:pt x="111590" y="54102"/>
                            <a:pt x="96525" y="59143"/>
                            <a:pt x="85713" y="69001"/>
                          </a:cubicBezTo>
                          <a:cubicBezTo>
                            <a:pt x="74900" y="78860"/>
                            <a:pt x="67850" y="92201"/>
                            <a:pt x="64559" y="109023"/>
                          </a:cubicBezTo>
                          <a:lnTo>
                            <a:pt x="188824" y="109023"/>
                          </a:lnTo>
                          <a:cubicBezTo>
                            <a:pt x="188976" y="93186"/>
                            <a:pt x="184032" y="80126"/>
                            <a:pt x="173993" y="69846"/>
                          </a:cubicBezTo>
                          <a:cubicBezTo>
                            <a:pt x="163954" y="59565"/>
                            <a:pt x="149592" y="54243"/>
                            <a:pt x="130907" y="53879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9" name="TextBox 3278">
                      <a:extLst>
                        <a:ext uri="{FF2B5EF4-FFF2-40B4-BE49-F238E27FC236}">
                          <a16:creationId xmlns:a16="http://schemas.microsoft.com/office/drawing/2014/main" id="{2ED21A86-5E9A-6ADC-A0C2-829BA455E5B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905150" y="2531377"/>
                      <a:ext cx="269155" cy="1804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83759" h="257339">
                          <a:moveTo>
                            <a:pt x="143853" y="25"/>
                          </a:moveTo>
                          <a:cubicBezTo>
                            <a:pt x="163316" y="270"/>
                            <a:pt x="179300" y="4130"/>
                            <a:pt x="191806" y="11602"/>
                          </a:cubicBezTo>
                          <a:cubicBezTo>
                            <a:pt x="204311" y="19075"/>
                            <a:pt x="212849" y="28687"/>
                            <a:pt x="217421" y="40440"/>
                          </a:cubicBezTo>
                          <a:cubicBezTo>
                            <a:pt x="226390" y="28442"/>
                            <a:pt x="237962" y="18759"/>
                            <a:pt x="252138" y="11392"/>
                          </a:cubicBezTo>
                          <a:cubicBezTo>
                            <a:pt x="266313" y="4024"/>
                            <a:pt x="283231" y="235"/>
                            <a:pt x="302892" y="25"/>
                          </a:cubicBezTo>
                          <a:cubicBezTo>
                            <a:pt x="326413" y="-455"/>
                            <a:pt x="345649" y="6259"/>
                            <a:pt x="360599" y="20167"/>
                          </a:cubicBezTo>
                          <a:cubicBezTo>
                            <a:pt x="375548" y="34075"/>
                            <a:pt x="383268" y="58059"/>
                            <a:pt x="383759" y="92118"/>
                          </a:cubicBezTo>
                          <a:lnTo>
                            <a:pt x="383759" y="257339"/>
                          </a:lnTo>
                          <a:lnTo>
                            <a:pt x="319202" y="257339"/>
                          </a:lnTo>
                          <a:lnTo>
                            <a:pt x="319202" y="108978"/>
                          </a:lnTo>
                          <a:cubicBezTo>
                            <a:pt x="319295" y="93196"/>
                            <a:pt x="315874" y="81207"/>
                            <a:pt x="308938" y="73011"/>
                          </a:cubicBezTo>
                          <a:cubicBezTo>
                            <a:pt x="302001" y="64816"/>
                            <a:pt x="290988" y="60695"/>
                            <a:pt x="275897" y="60648"/>
                          </a:cubicBezTo>
                          <a:cubicBezTo>
                            <a:pt x="263700" y="60777"/>
                            <a:pt x="253086" y="63469"/>
                            <a:pt x="244052" y="68726"/>
                          </a:cubicBezTo>
                          <a:cubicBezTo>
                            <a:pt x="235019" y="73983"/>
                            <a:pt x="228200" y="81031"/>
                            <a:pt x="223597" y="89871"/>
                          </a:cubicBezTo>
                          <a:cubicBezTo>
                            <a:pt x="223621" y="92013"/>
                            <a:pt x="223713" y="94893"/>
                            <a:pt x="223877" y="98511"/>
                          </a:cubicBezTo>
                          <a:cubicBezTo>
                            <a:pt x="224041" y="102129"/>
                            <a:pt x="224134" y="105430"/>
                            <a:pt x="224158" y="108416"/>
                          </a:cubicBezTo>
                          <a:lnTo>
                            <a:pt x="224158" y="257339"/>
                          </a:lnTo>
                          <a:lnTo>
                            <a:pt x="159601" y="257339"/>
                          </a:lnTo>
                          <a:lnTo>
                            <a:pt x="159601" y="104482"/>
                          </a:lnTo>
                          <a:cubicBezTo>
                            <a:pt x="159566" y="91100"/>
                            <a:pt x="155981" y="80493"/>
                            <a:pt x="148845" y="72660"/>
                          </a:cubicBezTo>
                          <a:cubicBezTo>
                            <a:pt x="141709" y="64828"/>
                            <a:pt x="131235" y="60823"/>
                            <a:pt x="117421" y="60648"/>
                          </a:cubicBezTo>
                          <a:cubicBezTo>
                            <a:pt x="105834" y="60717"/>
                            <a:pt x="95546" y="63107"/>
                            <a:pt x="86560" y="67819"/>
                          </a:cubicBezTo>
                          <a:cubicBezTo>
                            <a:pt x="77574" y="72530"/>
                            <a:pt x="70239" y="79147"/>
                            <a:pt x="64557" y="87669"/>
                          </a:cubicBezTo>
                          <a:lnTo>
                            <a:pt x="64557" y="257339"/>
                          </a:lnTo>
                          <a:lnTo>
                            <a:pt x="0" y="257339"/>
                          </a:lnTo>
                          <a:lnTo>
                            <a:pt x="0" y="4521"/>
                          </a:lnTo>
                          <a:lnTo>
                            <a:pt x="64557" y="4521"/>
                          </a:lnTo>
                          <a:lnTo>
                            <a:pt x="64557" y="32582"/>
                          </a:lnTo>
                          <a:cubicBezTo>
                            <a:pt x="73766" y="22384"/>
                            <a:pt x="85295" y="14432"/>
                            <a:pt x="99144" y="8725"/>
                          </a:cubicBezTo>
                          <a:cubicBezTo>
                            <a:pt x="112992" y="3019"/>
                            <a:pt x="127895" y="118"/>
                            <a:pt x="143853" y="25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8" name="TextBox 3277">
                      <a:extLst>
                        <a:ext uri="{FF2B5EF4-FFF2-40B4-BE49-F238E27FC236}">
                          <a16:creationId xmlns:a16="http://schemas.microsoft.com/office/drawing/2014/main" id="{4C1AF6ED-AE65-26AE-2DAC-8074492A8E5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014111" y="2531394"/>
                      <a:ext cx="113465" cy="18047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61778" h="257314">
                          <a:moveTo>
                            <a:pt x="122440" y="0"/>
                          </a:moveTo>
                          <a:cubicBezTo>
                            <a:pt x="132649" y="12"/>
                            <a:pt x="140751" y="830"/>
                            <a:pt x="146745" y="2456"/>
                          </a:cubicBezTo>
                          <a:cubicBezTo>
                            <a:pt x="152740" y="4081"/>
                            <a:pt x="157751" y="6443"/>
                            <a:pt x="161778" y="9542"/>
                          </a:cubicBezTo>
                          <a:lnTo>
                            <a:pt x="138737" y="70176"/>
                          </a:lnTo>
                          <a:cubicBezTo>
                            <a:pt x="132813" y="66582"/>
                            <a:pt x="127521" y="64077"/>
                            <a:pt x="122862" y="62660"/>
                          </a:cubicBezTo>
                          <a:cubicBezTo>
                            <a:pt x="118202" y="61243"/>
                            <a:pt x="112629" y="60564"/>
                            <a:pt x="106142" y="60623"/>
                          </a:cubicBezTo>
                          <a:cubicBezTo>
                            <a:pt x="95032" y="60834"/>
                            <a:pt x="86204" y="63503"/>
                            <a:pt x="79660" y="68631"/>
                          </a:cubicBezTo>
                          <a:cubicBezTo>
                            <a:pt x="73115" y="73759"/>
                            <a:pt x="68081" y="80081"/>
                            <a:pt x="64556" y="87598"/>
                          </a:cubicBezTo>
                          <a:lnTo>
                            <a:pt x="64556" y="257314"/>
                          </a:lnTo>
                          <a:lnTo>
                            <a:pt x="0" y="257314"/>
                          </a:lnTo>
                          <a:lnTo>
                            <a:pt x="0" y="4496"/>
                          </a:lnTo>
                          <a:lnTo>
                            <a:pt x="64556" y="4496"/>
                          </a:lnTo>
                          <a:lnTo>
                            <a:pt x="64556" y="29189"/>
                          </a:lnTo>
                          <a:cubicBezTo>
                            <a:pt x="70234" y="20851"/>
                            <a:pt x="77564" y="13951"/>
                            <a:pt x="86544" y="8490"/>
                          </a:cubicBezTo>
                          <a:cubicBezTo>
                            <a:pt x="95524" y="3029"/>
                            <a:pt x="107489" y="199"/>
                            <a:pt x="122440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7" name="TextBox 3276">
                      <a:extLst>
                        <a:ext uri="{FF2B5EF4-FFF2-40B4-BE49-F238E27FC236}">
                          <a16:creationId xmlns:a16="http://schemas.microsoft.com/office/drawing/2014/main" id="{6BDA5365-FFD8-D31E-8432-5078732DABF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211994" y="2531377"/>
                      <a:ext cx="269154" cy="1804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83758" h="257339">
                          <a:moveTo>
                            <a:pt x="143854" y="25"/>
                          </a:moveTo>
                          <a:cubicBezTo>
                            <a:pt x="163316" y="270"/>
                            <a:pt x="179300" y="4130"/>
                            <a:pt x="191806" y="11602"/>
                          </a:cubicBezTo>
                          <a:cubicBezTo>
                            <a:pt x="204311" y="19075"/>
                            <a:pt x="212850" y="28687"/>
                            <a:pt x="217422" y="40440"/>
                          </a:cubicBezTo>
                          <a:cubicBezTo>
                            <a:pt x="226390" y="28442"/>
                            <a:pt x="237962" y="18759"/>
                            <a:pt x="252138" y="11392"/>
                          </a:cubicBezTo>
                          <a:cubicBezTo>
                            <a:pt x="266314" y="4024"/>
                            <a:pt x="283232" y="235"/>
                            <a:pt x="302892" y="25"/>
                          </a:cubicBezTo>
                          <a:cubicBezTo>
                            <a:pt x="326414" y="-455"/>
                            <a:pt x="345650" y="6259"/>
                            <a:pt x="360599" y="20167"/>
                          </a:cubicBezTo>
                          <a:cubicBezTo>
                            <a:pt x="375548" y="34075"/>
                            <a:pt x="383268" y="58059"/>
                            <a:pt x="383758" y="92118"/>
                          </a:cubicBezTo>
                          <a:lnTo>
                            <a:pt x="383758" y="257339"/>
                          </a:lnTo>
                          <a:lnTo>
                            <a:pt x="319202" y="257339"/>
                          </a:lnTo>
                          <a:lnTo>
                            <a:pt x="319202" y="108978"/>
                          </a:lnTo>
                          <a:cubicBezTo>
                            <a:pt x="319296" y="93196"/>
                            <a:pt x="315874" y="81207"/>
                            <a:pt x="308938" y="73011"/>
                          </a:cubicBezTo>
                          <a:cubicBezTo>
                            <a:pt x="302002" y="64816"/>
                            <a:pt x="290988" y="60695"/>
                            <a:pt x="275898" y="60648"/>
                          </a:cubicBezTo>
                          <a:cubicBezTo>
                            <a:pt x="263701" y="60777"/>
                            <a:pt x="253086" y="63469"/>
                            <a:pt x="244052" y="68726"/>
                          </a:cubicBezTo>
                          <a:cubicBezTo>
                            <a:pt x="235020" y="73983"/>
                            <a:pt x="228201" y="81031"/>
                            <a:pt x="223597" y="89871"/>
                          </a:cubicBezTo>
                          <a:cubicBezTo>
                            <a:pt x="223620" y="92013"/>
                            <a:pt x="223714" y="94893"/>
                            <a:pt x="223878" y="98511"/>
                          </a:cubicBezTo>
                          <a:cubicBezTo>
                            <a:pt x="224041" y="102129"/>
                            <a:pt x="224134" y="105430"/>
                            <a:pt x="224158" y="108416"/>
                          </a:cubicBezTo>
                          <a:lnTo>
                            <a:pt x="224158" y="257339"/>
                          </a:lnTo>
                          <a:lnTo>
                            <a:pt x="159601" y="257339"/>
                          </a:lnTo>
                          <a:lnTo>
                            <a:pt x="159601" y="104482"/>
                          </a:lnTo>
                          <a:cubicBezTo>
                            <a:pt x="159566" y="91100"/>
                            <a:pt x="155980" y="80493"/>
                            <a:pt x="148845" y="72660"/>
                          </a:cubicBezTo>
                          <a:cubicBezTo>
                            <a:pt x="141710" y="64828"/>
                            <a:pt x="131235" y="60823"/>
                            <a:pt x="117422" y="60648"/>
                          </a:cubicBezTo>
                          <a:cubicBezTo>
                            <a:pt x="105834" y="60717"/>
                            <a:pt x="95547" y="63107"/>
                            <a:pt x="86560" y="67819"/>
                          </a:cubicBezTo>
                          <a:cubicBezTo>
                            <a:pt x="77574" y="72530"/>
                            <a:pt x="70240" y="79147"/>
                            <a:pt x="64557" y="87669"/>
                          </a:cubicBezTo>
                          <a:lnTo>
                            <a:pt x="64557" y="257339"/>
                          </a:lnTo>
                          <a:lnTo>
                            <a:pt x="0" y="257339"/>
                          </a:lnTo>
                          <a:lnTo>
                            <a:pt x="0" y="4521"/>
                          </a:lnTo>
                          <a:lnTo>
                            <a:pt x="64557" y="4521"/>
                          </a:lnTo>
                          <a:lnTo>
                            <a:pt x="64557" y="32582"/>
                          </a:lnTo>
                          <a:cubicBezTo>
                            <a:pt x="73766" y="22384"/>
                            <a:pt x="85296" y="14432"/>
                            <a:pt x="99144" y="8725"/>
                          </a:cubicBezTo>
                          <a:cubicBezTo>
                            <a:pt x="112992" y="3019"/>
                            <a:pt x="127896" y="118"/>
                            <a:pt x="143854" y="25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5" name="TextBox 3274">
                      <a:extLst>
                        <a:ext uri="{FF2B5EF4-FFF2-40B4-BE49-F238E27FC236}">
                          <a16:creationId xmlns:a16="http://schemas.microsoft.com/office/drawing/2014/main" id="{FC39EC30-A7A2-6086-508F-57BED205CB7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159673" y="2534548"/>
                      <a:ext cx="164311" cy="1816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34273" h="259002">
                          <a:moveTo>
                            <a:pt x="0" y="0"/>
                          </a:moveTo>
                          <a:lnTo>
                            <a:pt x="64557" y="0"/>
                          </a:lnTo>
                          <a:lnTo>
                            <a:pt x="64557" y="141055"/>
                          </a:lnTo>
                          <a:cubicBezTo>
                            <a:pt x="64358" y="158219"/>
                            <a:pt x="67990" y="172081"/>
                            <a:pt x="75453" y="182641"/>
                          </a:cubicBezTo>
                          <a:cubicBezTo>
                            <a:pt x="82915" y="193202"/>
                            <a:pt x="95404" y="198634"/>
                            <a:pt x="112919" y="198939"/>
                          </a:cubicBezTo>
                          <a:cubicBezTo>
                            <a:pt x="123721" y="198845"/>
                            <a:pt x="134031" y="196082"/>
                            <a:pt x="143849" y="190650"/>
                          </a:cubicBezTo>
                          <a:cubicBezTo>
                            <a:pt x="153666" y="185217"/>
                            <a:pt x="162289" y="177677"/>
                            <a:pt x="169717" y="168030"/>
                          </a:cubicBezTo>
                          <a:lnTo>
                            <a:pt x="169717" y="0"/>
                          </a:lnTo>
                          <a:lnTo>
                            <a:pt x="234273" y="0"/>
                          </a:lnTo>
                          <a:lnTo>
                            <a:pt x="234273" y="252818"/>
                          </a:lnTo>
                          <a:lnTo>
                            <a:pt x="169717" y="252818"/>
                          </a:lnTo>
                          <a:lnTo>
                            <a:pt x="169717" y="221953"/>
                          </a:lnTo>
                          <a:cubicBezTo>
                            <a:pt x="162160" y="231601"/>
                            <a:pt x="151686" y="240091"/>
                            <a:pt x="138295" y="247423"/>
                          </a:cubicBezTo>
                          <a:cubicBezTo>
                            <a:pt x="124904" y="254755"/>
                            <a:pt x="108385" y="258614"/>
                            <a:pt x="88738" y="259000"/>
                          </a:cubicBezTo>
                          <a:cubicBezTo>
                            <a:pt x="63410" y="259176"/>
                            <a:pt x="42440" y="250825"/>
                            <a:pt x="25829" y="233945"/>
                          </a:cubicBezTo>
                          <a:cubicBezTo>
                            <a:pt x="9217" y="217065"/>
                            <a:pt x="607" y="190597"/>
                            <a:pt x="0" y="15454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4" name="TextBox 3273">
                      <a:extLst>
                        <a:ext uri="{FF2B5EF4-FFF2-40B4-BE49-F238E27FC236}">
                          <a16:creationId xmlns:a16="http://schemas.microsoft.com/office/drawing/2014/main" id="{09087D52-E340-3094-CACE-A67AB8CE650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785108" y="2534548"/>
                      <a:ext cx="164311" cy="1816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34273" h="259002">
                          <a:moveTo>
                            <a:pt x="0" y="0"/>
                          </a:moveTo>
                          <a:lnTo>
                            <a:pt x="64556" y="0"/>
                          </a:lnTo>
                          <a:lnTo>
                            <a:pt x="64556" y="141055"/>
                          </a:lnTo>
                          <a:cubicBezTo>
                            <a:pt x="64358" y="158219"/>
                            <a:pt x="67990" y="172081"/>
                            <a:pt x="75452" y="182641"/>
                          </a:cubicBezTo>
                          <a:cubicBezTo>
                            <a:pt x="82915" y="193202"/>
                            <a:pt x="95404" y="198634"/>
                            <a:pt x="112919" y="198939"/>
                          </a:cubicBezTo>
                          <a:cubicBezTo>
                            <a:pt x="123721" y="198845"/>
                            <a:pt x="134030" y="196082"/>
                            <a:pt x="143848" y="190650"/>
                          </a:cubicBezTo>
                          <a:cubicBezTo>
                            <a:pt x="153666" y="185217"/>
                            <a:pt x="162288" y="177677"/>
                            <a:pt x="169716" y="168030"/>
                          </a:cubicBezTo>
                          <a:lnTo>
                            <a:pt x="169716" y="0"/>
                          </a:lnTo>
                          <a:lnTo>
                            <a:pt x="234273" y="0"/>
                          </a:lnTo>
                          <a:lnTo>
                            <a:pt x="234273" y="252818"/>
                          </a:lnTo>
                          <a:lnTo>
                            <a:pt x="169716" y="252818"/>
                          </a:lnTo>
                          <a:lnTo>
                            <a:pt x="169716" y="221953"/>
                          </a:lnTo>
                          <a:cubicBezTo>
                            <a:pt x="162160" y="231601"/>
                            <a:pt x="151686" y="240091"/>
                            <a:pt x="138296" y="247423"/>
                          </a:cubicBezTo>
                          <a:cubicBezTo>
                            <a:pt x="124904" y="254755"/>
                            <a:pt x="108385" y="258614"/>
                            <a:pt x="88738" y="259000"/>
                          </a:cubicBezTo>
                          <a:cubicBezTo>
                            <a:pt x="63410" y="259176"/>
                            <a:pt x="42440" y="250825"/>
                            <a:pt x="25828" y="233945"/>
                          </a:cubicBezTo>
                          <a:cubicBezTo>
                            <a:pt x="9216" y="217065"/>
                            <a:pt x="607" y="190597"/>
                            <a:pt x="0" y="15454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3" name="TextBox 3272">
                      <a:extLst>
                        <a:ext uri="{FF2B5EF4-FFF2-40B4-BE49-F238E27FC236}">
                          <a16:creationId xmlns:a16="http://schemas.microsoft.com/office/drawing/2014/main" id="{E882877B-C656-34E0-CD72-D1BC8E5CA86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111807" y="2534548"/>
                      <a:ext cx="45277" cy="17731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64556" h="252818">
                          <a:moveTo>
                            <a:pt x="0" y="0"/>
                          </a:moveTo>
                          <a:lnTo>
                            <a:pt x="64556" y="0"/>
                          </a:lnTo>
                          <a:lnTo>
                            <a:pt x="64556" y="252818"/>
                          </a:lnTo>
                          <a:lnTo>
                            <a:pt x="0" y="25281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</p:grpSp>
              <p:grpSp>
                <p:nvGrpSpPr>
                  <p:cNvPr id="3090" name="Групувати 3089">
                    <a:extLst>
                      <a:ext uri="{FF2B5EF4-FFF2-40B4-BE49-F238E27FC236}">
                        <a16:creationId xmlns:a16="http://schemas.microsoft.com/office/drawing/2014/main" id="{5F6BC017-8F7B-BF85-6B53-95A16C9E86CD}"/>
                      </a:ext>
                    </a:extLst>
                  </p:cNvPr>
                  <p:cNvGrpSpPr/>
                  <p:nvPr/>
                </p:nvGrpSpPr>
                <p:grpSpPr>
                  <a:xfrm>
                    <a:off x="-2326467" y="2664523"/>
                    <a:ext cx="2378018" cy="246105"/>
                    <a:chOff x="1189851" y="2274297"/>
                    <a:chExt cx="2378018" cy="246105"/>
                  </a:xfrm>
                </p:grpSpPr>
                <p:sp>
                  <p:nvSpPr>
                    <p:cNvPr id="3308" name="TextBox 3307">
                      <a:extLst>
                        <a:ext uri="{FF2B5EF4-FFF2-40B4-BE49-F238E27FC236}">
                          <a16:creationId xmlns:a16="http://schemas.microsoft.com/office/drawing/2014/main" id="{41E2EA05-287A-5553-9439-B81A293D309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282215" y="2274297"/>
                      <a:ext cx="165155" cy="20384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28685" h="405676">
                          <a:moveTo>
                            <a:pt x="201116" y="0"/>
                          </a:moveTo>
                          <a:cubicBezTo>
                            <a:pt x="226862" y="187"/>
                            <a:pt x="249974" y="3883"/>
                            <a:pt x="270450" y="11087"/>
                          </a:cubicBezTo>
                          <a:cubicBezTo>
                            <a:pt x="290928" y="18291"/>
                            <a:pt x="307716" y="27881"/>
                            <a:pt x="320818" y="39857"/>
                          </a:cubicBezTo>
                          <a:lnTo>
                            <a:pt x="289909" y="90975"/>
                          </a:lnTo>
                          <a:cubicBezTo>
                            <a:pt x="278342" y="82988"/>
                            <a:pt x="265509" y="76618"/>
                            <a:pt x="251414" y="71864"/>
                          </a:cubicBezTo>
                          <a:cubicBezTo>
                            <a:pt x="237318" y="67110"/>
                            <a:pt x="220552" y="64674"/>
                            <a:pt x="201116" y="64557"/>
                          </a:cubicBezTo>
                          <a:cubicBezTo>
                            <a:pt x="163816" y="64979"/>
                            <a:pt x="133328" y="77345"/>
                            <a:pt x="109656" y="101656"/>
                          </a:cubicBezTo>
                          <a:cubicBezTo>
                            <a:pt x="85982" y="125968"/>
                            <a:pt x="73760" y="159695"/>
                            <a:pt x="72986" y="202837"/>
                          </a:cubicBezTo>
                          <a:cubicBezTo>
                            <a:pt x="73630" y="244504"/>
                            <a:pt x="86252" y="277810"/>
                            <a:pt x="110850" y="302754"/>
                          </a:cubicBezTo>
                          <a:cubicBezTo>
                            <a:pt x="135448" y="327698"/>
                            <a:pt x="168160" y="340487"/>
                            <a:pt x="208984" y="341119"/>
                          </a:cubicBezTo>
                          <a:cubicBezTo>
                            <a:pt x="225692" y="341107"/>
                            <a:pt x="242012" y="338461"/>
                            <a:pt x="257946" y="333179"/>
                          </a:cubicBezTo>
                          <a:cubicBezTo>
                            <a:pt x="273881" y="327897"/>
                            <a:pt x="288656" y="320051"/>
                            <a:pt x="302272" y="309640"/>
                          </a:cubicBezTo>
                          <a:lnTo>
                            <a:pt x="328685" y="361328"/>
                          </a:lnTo>
                          <a:cubicBezTo>
                            <a:pt x="315818" y="374719"/>
                            <a:pt x="298139" y="385408"/>
                            <a:pt x="275648" y="393396"/>
                          </a:cubicBezTo>
                          <a:cubicBezTo>
                            <a:pt x="253158" y="401384"/>
                            <a:pt x="228876" y="405477"/>
                            <a:pt x="202802" y="405676"/>
                          </a:cubicBezTo>
                          <a:cubicBezTo>
                            <a:pt x="141738" y="404883"/>
                            <a:pt x="92904" y="386394"/>
                            <a:pt x="56303" y="350210"/>
                          </a:cubicBezTo>
                          <a:cubicBezTo>
                            <a:pt x="19702" y="314025"/>
                            <a:pt x="934" y="264901"/>
                            <a:pt x="0" y="202837"/>
                          </a:cubicBezTo>
                          <a:cubicBezTo>
                            <a:pt x="79" y="164763"/>
                            <a:pt x="7844" y="130496"/>
                            <a:pt x="23293" y="100034"/>
                          </a:cubicBezTo>
                          <a:cubicBezTo>
                            <a:pt x="38744" y="69572"/>
                            <a:pt x="61406" y="45387"/>
                            <a:pt x="91280" y="27479"/>
                          </a:cubicBezTo>
                          <a:cubicBezTo>
                            <a:pt x="121154" y="9572"/>
                            <a:pt x="157766" y="412"/>
                            <a:pt x="201116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7" name="TextBox 3306">
                      <a:extLst>
                        <a:ext uri="{FF2B5EF4-FFF2-40B4-BE49-F238E27FC236}">
                          <a16:creationId xmlns:a16="http://schemas.microsoft.com/office/drawing/2014/main" id="{4F23ED33-8949-C6A5-0D42-27F2C7BA83C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210708" y="2274297"/>
                      <a:ext cx="130705" cy="20384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60124" h="405676">
                          <a:moveTo>
                            <a:pt x="131465" y="0"/>
                          </a:moveTo>
                          <a:cubicBezTo>
                            <a:pt x="155832" y="140"/>
                            <a:pt x="177660" y="3930"/>
                            <a:pt x="196947" y="11368"/>
                          </a:cubicBezTo>
                          <a:cubicBezTo>
                            <a:pt x="216235" y="18806"/>
                            <a:pt x="231866" y="29051"/>
                            <a:pt x="243842" y="42102"/>
                          </a:cubicBezTo>
                          <a:lnTo>
                            <a:pt x="206788" y="93786"/>
                          </a:lnTo>
                          <a:cubicBezTo>
                            <a:pt x="197501" y="84452"/>
                            <a:pt x="187434" y="77262"/>
                            <a:pt x="176590" y="72215"/>
                          </a:cubicBezTo>
                          <a:cubicBezTo>
                            <a:pt x="165744" y="67168"/>
                            <a:pt x="152577" y="64615"/>
                            <a:pt x="137089" y="64557"/>
                          </a:cubicBezTo>
                          <a:cubicBezTo>
                            <a:pt x="119785" y="64744"/>
                            <a:pt x="106311" y="68726"/>
                            <a:pt x="96669" y="76501"/>
                          </a:cubicBezTo>
                          <a:cubicBezTo>
                            <a:pt x="87028" y="84277"/>
                            <a:pt x="82130" y="94723"/>
                            <a:pt x="81978" y="107839"/>
                          </a:cubicBezTo>
                          <a:cubicBezTo>
                            <a:pt x="82906" y="127528"/>
                            <a:pt x="92184" y="142570"/>
                            <a:pt x="109813" y="152967"/>
                          </a:cubicBezTo>
                          <a:cubicBezTo>
                            <a:pt x="127443" y="163363"/>
                            <a:pt x="147855" y="173241"/>
                            <a:pt x="171051" y="182601"/>
                          </a:cubicBezTo>
                          <a:cubicBezTo>
                            <a:pt x="194247" y="191961"/>
                            <a:pt x="214660" y="204931"/>
                            <a:pt x="232289" y="221510"/>
                          </a:cubicBezTo>
                          <a:cubicBezTo>
                            <a:pt x="249918" y="238090"/>
                            <a:pt x="259196" y="262407"/>
                            <a:pt x="260124" y="294463"/>
                          </a:cubicBezTo>
                          <a:cubicBezTo>
                            <a:pt x="259249" y="328105"/>
                            <a:pt x="246542" y="354928"/>
                            <a:pt x="222005" y="374933"/>
                          </a:cubicBezTo>
                          <a:cubicBezTo>
                            <a:pt x="197467" y="394938"/>
                            <a:pt x="166350" y="405186"/>
                            <a:pt x="128654" y="405676"/>
                          </a:cubicBezTo>
                          <a:cubicBezTo>
                            <a:pt x="111487" y="405652"/>
                            <a:pt x="94286" y="403268"/>
                            <a:pt x="77051" y="398524"/>
                          </a:cubicBezTo>
                          <a:cubicBezTo>
                            <a:pt x="59816" y="393780"/>
                            <a:pt x="44331" y="386822"/>
                            <a:pt x="30597" y="377649"/>
                          </a:cubicBezTo>
                          <a:cubicBezTo>
                            <a:pt x="16862" y="368477"/>
                            <a:pt x="6663" y="357235"/>
                            <a:pt x="0" y="343926"/>
                          </a:cubicBezTo>
                          <a:lnTo>
                            <a:pt x="39309" y="296711"/>
                          </a:lnTo>
                          <a:cubicBezTo>
                            <a:pt x="51251" y="311596"/>
                            <a:pt x="65411" y="322721"/>
                            <a:pt x="81788" y="330087"/>
                          </a:cubicBezTo>
                          <a:cubicBezTo>
                            <a:pt x="98165" y="337453"/>
                            <a:pt x="114161" y="341131"/>
                            <a:pt x="129778" y="341119"/>
                          </a:cubicBezTo>
                          <a:cubicBezTo>
                            <a:pt x="146438" y="341060"/>
                            <a:pt x="160075" y="337102"/>
                            <a:pt x="170689" y="329244"/>
                          </a:cubicBezTo>
                          <a:cubicBezTo>
                            <a:pt x="181303" y="321386"/>
                            <a:pt x="186786" y="309980"/>
                            <a:pt x="187138" y="295025"/>
                          </a:cubicBezTo>
                          <a:cubicBezTo>
                            <a:pt x="186210" y="276267"/>
                            <a:pt x="176931" y="261646"/>
                            <a:pt x="159302" y="251162"/>
                          </a:cubicBezTo>
                          <a:cubicBezTo>
                            <a:pt x="141673" y="240678"/>
                            <a:pt x="121261" y="230519"/>
                            <a:pt x="98065" y="220685"/>
                          </a:cubicBezTo>
                          <a:cubicBezTo>
                            <a:pt x="74868" y="210850"/>
                            <a:pt x="54456" y="197529"/>
                            <a:pt x="36827" y="180721"/>
                          </a:cubicBezTo>
                          <a:cubicBezTo>
                            <a:pt x="19198" y="163913"/>
                            <a:pt x="9920" y="139807"/>
                            <a:pt x="8992" y="108401"/>
                          </a:cubicBezTo>
                          <a:cubicBezTo>
                            <a:pt x="9317" y="78071"/>
                            <a:pt x="20175" y="52629"/>
                            <a:pt x="41565" y="32075"/>
                          </a:cubicBezTo>
                          <a:cubicBezTo>
                            <a:pt x="62955" y="11521"/>
                            <a:pt x="92921" y="829"/>
                            <a:pt x="131465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5" name="TextBox 3304">
                      <a:extLst>
                        <a:ext uri="{FF2B5EF4-FFF2-40B4-BE49-F238E27FC236}">
                          <a16:creationId xmlns:a16="http://schemas.microsoft.com/office/drawing/2014/main" id="{853ECBA0-AD7E-D941-FCDE-A7078EEDB9F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761146" y="2279945"/>
                      <a:ext cx="155554" cy="19819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309577" h="394436">
                          <a:moveTo>
                            <a:pt x="119660" y="0"/>
                          </a:moveTo>
                          <a:cubicBezTo>
                            <a:pt x="172568" y="805"/>
                            <a:pt x="209771" y="12527"/>
                            <a:pt x="231268" y="35167"/>
                          </a:cubicBezTo>
                          <a:cubicBezTo>
                            <a:pt x="252766" y="57807"/>
                            <a:pt x="263134" y="86535"/>
                            <a:pt x="262371" y="121350"/>
                          </a:cubicBezTo>
                          <a:cubicBezTo>
                            <a:pt x="262039" y="143769"/>
                            <a:pt x="257901" y="162644"/>
                            <a:pt x="249957" y="177975"/>
                          </a:cubicBezTo>
                          <a:cubicBezTo>
                            <a:pt x="242014" y="193306"/>
                            <a:pt x="232261" y="205512"/>
                            <a:pt x="220699" y="214594"/>
                          </a:cubicBezTo>
                          <a:cubicBezTo>
                            <a:pt x="209137" y="223676"/>
                            <a:pt x="197762" y="230053"/>
                            <a:pt x="186573" y="233726"/>
                          </a:cubicBezTo>
                          <a:lnTo>
                            <a:pt x="309577" y="394436"/>
                          </a:lnTo>
                          <a:lnTo>
                            <a:pt x="225878" y="394436"/>
                          </a:lnTo>
                          <a:lnTo>
                            <a:pt x="117410" y="247199"/>
                          </a:lnTo>
                          <a:lnTo>
                            <a:pt x="69052" y="247199"/>
                          </a:lnTo>
                          <a:lnTo>
                            <a:pt x="69052" y="394436"/>
                          </a:lnTo>
                          <a:lnTo>
                            <a:pt x="0" y="394436"/>
                          </a:lnTo>
                          <a:lnTo>
                            <a:pt x="0" y="1122"/>
                          </a:lnTo>
                          <a:cubicBezTo>
                            <a:pt x="8161" y="1109"/>
                            <a:pt x="20912" y="1012"/>
                            <a:pt x="38254" y="831"/>
                          </a:cubicBezTo>
                          <a:cubicBezTo>
                            <a:pt x="55596" y="651"/>
                            <a:pt x="72346" y="471"/>
                            <a:pt x="88504" y="291"/>
                          </a:cubicBezTo>
                          <a:cubicBezTo>
                            <a:pt x="104662" y="111"/>
                            <a:pt x="115047" y="14"/>
                            <a:pt x="119660" y="0"/>
                          </a:cubicBezTo>
                          <a:close/>
                          <a:moveTo>
                            <a:pt x="116286" y="64557"/>
                          </a:moveTo>
                          <a:cubicBezTo>
                            <a:pt x="109819" y="64568"/>
                            <a:pt x="102650" y="64686"/>
                            <a:pt x="94778" y="64908"/>
                          </a:cubicBezTo>
                          <a:cubicBezTo>
                            <a:pt x="86905" y="65131"/>
                            <a:pt x="78330" y="65389"/>
                            <a:pt x="69052" y="65681"/>
                          </a:cubicBezTo>
                          <a:lnTo>
                            <a:pt x="69052" y="182642"/>
                          </a:lnTo>
                          <a:lnTo>
                            <a:pt x="114036" y="182642"/>
                          </a:lnTo>
                          <a:cubicBezTo>
                            <a:pt x="134642" y="182642"/>
                            <a:pt x="152191" y="177581"/>
                            <a:pt x="166682" y="167459"/>
                          </a:cubicBezTo>
                          <a:cubicBezTo>
                            <a:pt x="181173" y="157338"/>
                            <a:pt x="188741" y="142156"/>
                            <a:pt x="189385" y="121912"/>
                          </a:cubicBezTo>
                          <a:cubicBezTo>
                            <a:pt x="189854" y="105992"/>
                            <a:pt x="184699" y="92567"/>
                            <a:pt x="173922" y="81637"/>
                          </a:cubicBezTo>
                          <a:cubicBezTo>
                            <a:pt x="163144" y="70707"/>
                            <a:pt x="143932" y="65014"/>
                            <a:pt x="116286" y="64557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2" name="TextBox 3301">
                      <a:extLst>
                        <a:ext uri="{FF2B5EF4-FFF2-40B4-BE49-F238E27FC236}">
                          <a16:creationId xmlns:a16="http://schemas.microsoft.com/office/drawing/2014/main" id="{AF920A9A-A5B3-F85E-2698-E1DA326F7EB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457557" y="2280792"/>
                      <a:ext cx="275318" cy="19734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47926" h="392750">
                          <a:moveTo>
                            <a:pt x="0" y="0"/>
                          </a:moveTo>
                          <a:lnTo>
                            <a:pt x="77554" y="0"/>
                          </a:lnTo>
                          <a:lnTo>
                            <a:pt x="156792" y="279974"/>
                          </a:lnTo>
                          <a:lnTo>
                            <a:pt x="244460" y="0"/>
                          </a:lnTo>
                          <a:lnTo>
                            <a:pt x="313020" y="0"/>
                          </a:lnTo>
                          <a:lnTo>
                            <a:pt x="402936" y="280535"/>
                          </a:lnTo>
                          <a:lnTo>
                            <a:pt x="481613" y="0"/>
                          </a:lnTo>
                          <a:lnTo>
                            <a:pt x="547926" y="0"/>
                          </a:lnTo>
                          <a:lnTo>
                            <a:pt x="435531" y="392750"/>
                          </a:lnTo>
                          <a:lnTo>
                            <a:pt x="370904" y="392750"/>
                          </a:lnTo>
                          <a:lnTo>
                            <a:pt x="275930" y="108846"/>
                          </a:lnTo>
                          <a:lnTo>
                            <a:pt x="182642" y="392750"/>
                          </a:lnTo>
                          <a:lnTo>
                            <a:pt x="117453" y="39275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1" name="TextBox 3300">
                      <a:extLst>
                        <a:ext uri="{FF2B5EF4-FFF2-40B4-BE49-F238E27FC236}">
                          <a16:creationId xmlns:a16="http://schemas.microsoft.com/office/drawing/2014/main" id="{C5D616C0-ED70-44D3-D73F-6C776335657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374013" y="2280792"/>
                      <a:ext cx="121104" cy="19734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1016" h="392750">
                          <a:moveTo>
                            <a:pt x="0" y="0"/>
                          </a:moveTo>
                          <a:lnTo>
                            <a:pt x="64556" y="0"/>
                          </a:lnTo>
                          <a:lnTo>
                            <a:pt x="64556" y="162941"/>
                          </a:lnTo>
                          <a:cubicBezTo>
                            <a:pt x="72886" y="154919"/>
                            <a:pt x="83359" y="148370"/>
                            <a:pt x="95976" y="143294"/>
                          </a:cubicBezTo>
                          <a:cubicBezTo>
                            <a:pt x="108594" y="138219"/>
                            <a:pt x="122300" y="135600"/>
                            <a:pt x="137097" y="135436"/>
                          </a:cubicBezTo>
                          <a:cubicBezTo>
                            <a:pt x="168472" y="135095"/>
                            <a:pt x="193519" y="143635"/>
                            <a:pt x="212238" y="161053"/>
                          </a:cubicBezTo>
                          <a:cubicBezTo>
                            <a:pt x="230958" y="178472"/>
                            <a:pt x="240550" y="206813"/>
                            <a:pt x="241016" y="246075"/>
                          </a:cubicBezTo>
                          <a:lnTo>
                            <a:pt x="241016" y="392750"/>
                          </a:lnTo>
                          <a:lnTo>
                            <a:pt x="176460" y="392750"/>
                          </a:lnTo>
                          <a:lnTo>
                            <a:pt x="176460" y="254504"/>
                          </a:lnTo>
                          <a:cubicBezTo>
                            <a:pt x="176331" y="235596"/>
                            <a:pt x="171387" y="221149"/>
                            <a:pt x="161628" y="211162"/>
                          </a:cubicBezTo>
                          <a:cubicBezTo>
                            <a:pt x="151869" y="201175"/>
                            <a:pt x="138069" y="196141"/>
                            <a:pt x="120227" y="196059"/>
                          </a:cubicBezTo>
                          <a:cubicBezTo>
                            <a:pt x="109719" y="196106"/>
                            <a:pt x="99667" y="198119"/>
                            <a:pt x="90072" y="202100"/>
                          </a:cubicBezTo>
                          <a:cubicBezTo>
                            <a:pt x="80477" y="206081"/>
                            <a:pt x="71972" y="211747"/>
                            <a:pt x="64556" y="219100"/>
                          </a:cubicBezTo>
                          <a:lnTo>
                            <a:pt x="64556" y="392750"/>
                          </a:lnTo>
                          <a:lnTo>
                            <a:pt x="0" y="39275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300" name="TextBox 3299">
                      <a:extLst>
                        <a:ext uri="{FF2B5EF4-FFF2-40B4-BE49-F238E27FC236}">
                          <a16:creationId xmlns:a16="http://schemas.microsoft.com/office/drawing/2014/main" id="{B47AE5F2-46F6-7EBD-0C82-27E1D896226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86627" y="2280792"/>
                      <a:ext cx="121105" cy="19734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41018" h="392750">
                          <a:moveTo>
                            <a:pt x="0" y="0"/>
                          </a:moveTo>
                          <a:lnTo>
                            <a:pt x="64558" y="0"/>
                          </a:lnTo>
                          <a:lnTo>
                            <a:pt x="64558" y="162941"/>
                          </a:lnTo>
                          <a:cubicBezTo>
                            <a:pt x="72886" y="154919"/>
                            <a:pt x="83360" y="148370"/>
                            <a:pt x="95978" y="143294"/>
                          </a:cubicBezTo>
                          <a:cubicBezTo>
                            <a:pt x="108595" y="138219"/>
                            <a:pt x="122302" y="135600"/>
                            <a:pt x="137098" y="135436"/>
                          </a:cubicBezTo>
                          <a:cubicBezTo>
                            <a:pt x="168472" y="135095"/>
                            <a:pt x="193520" y="143635"/>
                            <a:pt x="212239" y="161053"/>
                          </a:cubicBezTo>
                          <a:cubicBezTo>
                            <a:pt x="230958" y="178472"/>
                            <a:pt x="240552" y="206813"/>
                            <a:pt x="241018" y="246075"/>
                          </a:cubicBezTo>
                          <a:lnTo>
                            <a:pt x="241018" y="392750"/>
                          </a:lnTo>
                          <a:lnTo>
                            <a:pt x="176460" y="392750"/>
                          </a:lnTo>
                          <a:lnTo>
                            <a:pt x="176460" y="254504"/>
                          </a:lnTo>
                          <a:cubicBezTo>
                            <a:pt x="176332" y="235596"/>
                            <a:pt x="171388" y="221149"/>
                            <a:pt x="161630" y="211162"/>
                          </a:cubicBezTo>
                          <a:cubicBezTo>
                            <a:pt x="151870" y="201175"/>
                            <a:pt x="138070" y="196141"/>
                            <a:pt x="120228" y="196059"/>
                          </a:cubicBezTo>
                          <a:cubicBezTo>
                            <a:pt x="109719" y="196106"/>
                            <a:pt x="99667" y="198119"/>
                            <a:pt x="90072" y="202100"/>
                          </a:cubicBezTo>
                          <a:cubicBezTo>
                            <a:pt x="80478" y="206081"/>
                            <a:pt x="71974" y="211747"/>
                            <a:pt x="64558" y="219100"/>
                          </a:cubicBezTo>
                          <a:lnTo>
                            <a:pt x="64558" y="392750"/>
                          </a:lnTo>
                          <a:lnTo>
                            <a:pt x="0" y="39275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9" name="TextBox 3298">
                      <a:extLst>
                        <a:ext uri="{FF2B5EF4-FFF2-40B4-BE49-F238E27FC236}">
                          <a16:creationId xmlns:a16="http://schemas.microsoft.com/office/drawing/2014/main" id="{AFF05484-0459-9510-03BB-0D5036303D2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422157" y="2277967"/>
                      <a:ext cx="63501" cy="20017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6376" h="398371">
                          <a:moveTo>
                            <a:pt x="0" y="0"/>
                          </a:moveTo>
                          <a:lnTo>
                            <a:pt x="64560" y="0"/>
                          </a:lnTo>
                          <a:lnTo>
                            <a:pt x="64560" y="296791"/>
                          </a:lnTo>
                          <a:cubicBezTo>
                            <a:pt x="64524" y="311016"/>
                            <a:pt x="66280" y="321418"/>
                            <a:pt x="69828" y="327999"/>
                          </a:cubicBezTo>
                          <a:cubicBezTo>
                            <a:pt x="73374" y="334579"/>
                            <a:pt x="78924" y="337829"/>
                            <a:pt x="86476" y="337747"/>
                          </a:cubicBezTo>
                          <a:cubicBezTo>
                            <a:pt x="91508" y="337677"/>
                            <a:pt x="96192" y="336695"/>
                            <a:pt x="100524" y="334801"/>
                          </a:cubicBezTo>
                          <a:cubicBezTo>
                            <a:pt x="104856" y="332908"/>
                            <a:pt x="108978" y="330523"/>
                            <a:pt x="112888" y="327648"/>
                          </a:cubicBezTo>
                          <a:lnTo>
                            <a:pt x="126376" y="377040"/>
                          </a:lnTo>
                          <a:cubicBezTo>
                            <a:pt x="119094" y="383085"/>
                            <a:pt x="109914" y="388114"/>
                            <a:pt x="98840" y="392125"/>
                          </a:cubicBezTo>
                          <a:cubicBezTo>
                            <a:pt x="87764" y="396136"/>
                            <a:pt x="74652" y="398218"/>
                            <a:pt x="59508" y="398370"/>
                          </a:cubicBezTo>
                          <a:cubicBezTo>
                            <a:pt x="40080" y="398463"/>
                            <a:pt x="25322" y="392383"/>
                            <a:pt x="15228" y="380128"/>
                          </a:cubicBezTo>
                          <a:cubicBezTo>
                            <a:pt x="5136" y="367873"/>
                            <a:pt x="60" y="348884"/>
                            <a:pt x="0" y="32316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7" name="TextBox 3296">
                      <a:extLst>
                        <a:ext uri="{FF2B5EF4-FFF2-40B4-BE49-F238E27FC236}">
                          <a16:creationId xmlns:a16="http://schemas.microsoft.com/office/drawing/2014/main" id="{72E3D3F4-4FC6-1FC4-3047-2F2E6ED3E67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89851" y="2277027"/>
                      <a:ext cx="77636" cy="24337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54507" h="484352">
                          <a:moveTo>
                            <a:pt x="114045" y="0"/>
                          </a:moveTo>
                          <a:lnTo>
                            <a:pt x="153945" y="35402"/>
                          </a:lnTo>
                          <a:cubicBezTo>
                            <a:pt x="123423" y="65405"/>
                            <a:pt x="100873" y="97128"/>
                            <a:pt x="86297" y="130572"/>
                          </a:cubicBezTo>
                          <a:cubicBezTo>
                            <a:pt x="71721" y="164017"/>
                            <a:pt x="64485" y="201218"/>
                            <a:pt x="64591" y="242178"/>
                          </a:cubicBezTo>
                          <a:cubicBezTo>
                            <a:pt x="65036" y="283875"/>
                            <a:pt x="73418" y="322551"/>
                            <a:pt x="89739" y="358208"/>
                          </a:cubicBezTo>
                          <a:cubicBezTo>
                            <a:pt x="106060" y="393864"/>
                            <a:pt x="127649" y="424113"/>
                            <a:pt x="154507" y="448953"/>
                          </a:cubicBezTo>
                          <a:lnTo>
                            <a:pt x="113483" y="484352"/>
                          </a:lnTo>
                          <a:cubicBezTo>
                            <a:pt x="71402" y="447220"/>
                            <a:pt x="41821" y="407982"/>
                            <a:pt x="24740" y="366636"/>
                          </a:cubicBezTo>
                          <a:cubicBezTo>
                            <a:pt x="7660" y="325290"/>
                            <a:pt x="-575" y="283804"/>
                            <a:pt x="33" y="242178"/>
                          </a:cubicBezTo>
                          <a:cubicBezTo>
                            <a:pt x="-587" y="200797"/>
                            <a:pt x="7672" y="159802"/>
                            <a:pt x="24811" y="119194"/>
                          </a:cubicBezTo>
                          <a:cubicBezTo>
                            <a:pt x="41949" y="78585"/>
                            <a:pt x="71695" y="38854"/>
                            <a:pt x="114045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6" name="TextBox 3295">
                      <a:extLst>
                        <a:ext uri="{FF2B5EF4-FFF2-40B4-BE49-F238E27FC236}">
                          <a16:creationId xmlns:a16="http://schemas.microsoft.com/office/drawing/2014/main" id="{42A44806-FE45-F1B8-EB0C-63BCEA3F084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490234" y="2277027"/>
                      <a:ext cx="77635" cy="24337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54506" h="484352">
                          <a:moveTo>
                            <a:pt x="40464" y="0"/>
                          </a:moveTo>
                          <a:cubicBezTo>
                            <a:pt x="82814" y="38854"/>
                            <a:pt x="112558" y="78585"/>
                            <a:pt x="129696" y="119194"/>
                          </a:cubicBezTo>
                          <a:cubicBezTo>
                            <a:pt x="146836" y="159802"/>
                            <a:pt x="155096" y="200797"/>
                            <a:pt x="154474" y="242178"/>
                          </a:cubicBezTo>
                          <a:cubicBezTo>
                            <a:pt x="155084" y="283804"/>
                            <a:pt x="146848" y="325290"/>
                            <a:pt x="129768" y="366636"/>
                          </a:cubicBezTo>
                          <a:cubicBezTo>
                            <a:pt x="112688" y="407982"/>
                            <a:pt x="83106" y="447220"/>
                            <a:pt x="41024" y="484352"/>
                          </a:cubicBezTo>
                          <a:lnTo>
                            <a:pt x="0" y="448953"/>
                          </a:lnTo>
                          <a:cubicBezTo>
                            <a:pt x="26858" y="424113"/>
                            <a:pt x="48448" y="393864"/>
                            <a:pt x="64768" y="358208"/>
                          </a:cubicBezTo>
                          <a:cubicBezTo>
                            <a:pt x="81090" y="322551"/>
                            <a:pt x="89472" y="283875"/>
                            <a:pt x="89916" y="242178"/>
                          </a:cubicBezTo>
                          <a:cubicBezTo>
                            <a:pt x="90024" y="201218"/>
                            <a:pt x="82788" y="164017"/>
                            <a:pt x="68210" y="130572"/>
                          </a:cubicBezTo>
                          <a:cubicBezTo>
                            <a:pt x="53636" y="97128"/>
                            <a:pt x="31084" y="65405"/>
                            <a:pt x="564" y="35402"/>
                          </a:cubicBezTo>
                          <a:lnTo>
                            <a:pt x="40464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5" name="TextBox 3294">
                      <a:extLst>
                        <a:ext uri="{FF2B5EF4-FFF2-40B4-BE49-F238E27FC236}">
                          <a16:creationId xmlns:a16="http://schemas.microsoft.com/office/drawing/2014/main" id="{2AE2E949-BFA3-834D-D4CD-9BF2D7B50E3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991693" y="2295381"/>
                      <a:ext cx="130988" cy="13098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60687" h="260686">
                          <a:moveTo>
                            <a:pt x="99470" y="0"/>
                          </a:moveTo>
                          <a:lnTo>
                            <a:pt x="160093" y="0"/>
                          </a:lnTo>
                          <a:lnTo>
                            <a:pt x="160093" y="101718"/>
                          </a:lnTo>
                          <a:lnTo>
                            <a:pt x="260687" y="101718"/>
                          </a:lnTo>
                          <a:lnTo>
                            <a:pt x="260687" y="157845"/>
                          </a:lnTo>
                          <a:lnTo>
                            <a:pt x="160093" y="157845"/>
                          </a:lnTo>
                          <a:lnTo>
                            <a:pt x="160093" y="260686"/>
                          </a:lnTo>
                          <a:lnTo>
                            <a:pt x="99470" y="260686"/>
                          </a:lnTo>
                          <a:lnTo>
                            <a:pt x="99470" y="157845"/>
                          </a:lnTo>
                          <a:lnTo>
                            <a:pt x="0" y="157845"/>
                          </a:lnTo>
                          <a:lnTo>
                            <a:pt x="0" y="101718"/>
                          </a:lnTo>
                          <a:lnTo>
                            <a:pt x="99470" y="101718"/>
                          </a:lnTo>
                          <a:lnTo>
                            <a:pt x="9947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93" name="TextBox 3292">
                      <a:extLst>
                        <a:ext uri="{FF2B5EF4-FFF2-40B4-BE49-F238E27FC236}">
                          <a16:creationId xmlns:a16="http://schemas.microsoft.com/office/drawing/2014/main" id="{F480F179-0A95-1872-1B85-A95A0D252D2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782784" y="2312983"/>
                      <a:ext cx="77059" cy="16515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53360" h="328685">
                          <a:moveTo>
                            <a:pt x="12" y="0"/>
                          </a:moveTo>
                          <a:lnTo>
                            <a:pt x="64568" y="0"/>
                          </a:lnTo>
                          <a:lnTo>
                            <a:pt x="64568" y="70247"/>
                          </a:lnTo>
                          <a:lnTo>
                            <a:pt x="146055" y="70247"/>
                          </a:lnTo>
                          <a:lnTo>
                            <a:pt x="146055" y="130870"/>
                          </a:lnTo>
                          <a:lnTo>
                            <a:pt x="64568" y="130870"/>
                          </a:lnTo>
                          <a:lnTo>
                            <a:pt x="64568" y="223081"/>
                          </a:lnTo>
                          <a:cubicBezTo>
                            <a:pt x="64498" y="237032"/>
                            <a:pt x="66887" y="248066"/>
                            <a:pt x="71734" y="256184"/>
                          </a:cubicBezTo>
                          <a:cubicBezTo>
                            <a:pt x="76581" y="264301"/>
                            <a:pt x="84308" y="268448"/>
                            <a:pt x="94915" y="268624"/>
                          </a:cubicBezTo>
                          <a:cubicBezTo>
                            <a:pt x="103591" y="268436"/>
                            <a:pt x="111107" y="266843"/>
                            <a:pt x="117465" y="263845"/>
                          </a:cubicBezTo>
                          <a:cubicBezTo>
                            <a:pt x="123822" y="260846"/>
                            <a:pt x="129230" y="257566"/>
                            <a:pt x="133692" y="254005"/>
                          </a:cubicBezTo>
                          <a:lnTo>
                            <a:pt x="153360" y="303987"/>
                          </a:lnTo>
                          <a:cubicBezTo>
                            <a:pt x="145646" y="310419"/>
                            <a:pt x="135366" y="316079"/>
                            <a:pt x="122523" y="320967"/>
                          </a:cubicBezTo>
                          <a:cubicBezTo>
                            <a:pt x="109679" y="325855"/>
                            <a:pt x="95044" y="328428"/>
                            <a:pt x="78618" y="328685"/>
                          </a:cubicBezTo>
                          <a:cubicBezTo>
                            <a:pt x="50285" y="328488"/>
                            <a:pt x="30025" y="319620"/>
                            <a:pt x="17837" y="302084"/>
                          </a:cubicBezTo>
                          <a:cubicBezTo>
                            <a:pt x="5648" y="284547"/>
                            <a:pt x="-293" y="259525"/>
                            <a:pt x="12" y="227017"/>
                          </a:cubicBezTo>
                          <a:lnTo>
                            <a:pt x="12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1" name="TextBox 3280">
                      <a:extLst>
                        <a:ext uri="{FF2B5EF4-FFF2-40B4-BE49-F238E27FC236}">
                          <a16:creationId xmlns:a16="http://schemas.microsoft.com/office/drawing/2014/main" id="{65DD5325-EC69-336C-7B67-9C30470CEA6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519260" y="2344892"/>
                      <a:ext cx="138329" cy="13324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75298" h="265182">
                          <a:moveTo>
                            <a:pt x="137649" y="0"/>
                          </a:moveTo>
                          <a:cubicBezTo>
                            <a:pt x="180026" y="781"/>
                            <a:pt x="213438" y="13392"/>
                            <a:pt x="237881" y="37834"/>
                          </a:cubicBezTo>
                          <a:cubicBezTo>
                            <a:pt x="262325" y="62276"/>
                            <a:pt x="274797" y="93861"/>
                            <a:pt x="275298" y="132591"/>
                          </a:cubicBezTo>
                          <a:cubicBezTo>
                            <a:pt x="274797" y="171321"/>
                            <a:pt x="262325" y="202907"/>
                            <a:pt x="237881" y="227348"/>
                          </a:cubicBezTo>
                          <a:cubicBezTo>
                            <a:pt x="213438" y="251790"/>
                            <a:pt x="180026" y="264401"/>
                            <a:pt x="137649" y="265182"/>
                          </a:cubicBezTo>
                          <a:cubicBezTo>
                            <a:pt x="95271" y="264401"/>
                            <a:pt x="61860" y="251790"/>
                            <a:pt x="37416" y="227348"/>
                          </a:cubicBezTo>
                          <a:cubicBezTo>
                            <a:pt x="12974" y="202907"/>
                            <a:pt x="501" y="171321"/>
                            <a:pt x="0" y="132591"/>
                          </a:cubicBezTo>
                          <a:cubicBezTo>
                            <a:pt x="501" y="93861"/>
                            <a:pt x="12974" y="62276"/>
                            <a:pt x="37416" y="37834"/>
                          </a:cubicBezTo>
                          <a:cubicBezTo>
                            <a:pt x="61860" y="13392"/>
                            <a:pt x="95271" y="781"/>
                            <a:pt x="137649" y="0"/>
                          </a:cubicBezTo>
                          <a:close/>
                          <a:moveTo>
                            <a:pt x="137649" y="60623"/>
                          </a:moveTo>
                          <a:cubicBezTo>
                            <a:pt x="118063" y="60881"/>
                            <a:pt x="101851" y="67393"/>
                            <a:pt x="89013" y="80161"/>
                          </a:cubicBezTo>
                          <a:cubicBezTo>
                            <a:pt x="76174" y="92929"/>
                            <a:pt x="69521" y="110405"/>
                            <a:pt x="69053" y="132591"/>
                          </a:cubicBezTo>
                          <a:cubicBezTo>
                            <a:pt x="69452" y="154061"/>
                            <a:pt x="75964" y="171421"/>
                            <a:pt x="88591" y="184669"/>
                          </a:cubicBezTo>
                          <a:cubicBezTo>
                            <a:pt x="101218" y="197917"/>
                            <a:pt x="117571" y="204734"/>
                            <a:pt x="137649" y="205121"/>
                          </a:cubicBezTo>
                          <a:cubicBezTo>
                            <a:pt x="157995" y="204840"/>
                            <a:pt x="174511" y="198233"/>
                            <a:pt x="187198" y="185301"/>
                          </a:cubicBezTo>
                          <a:cubicBezTo>
                            <a:pt x="199884" y="172370"/>
                            <a:pt x="206420" y="154799"/>
                            <a:pt x="206807" y="132591"/>
                          </a:cubicBezTo>
                          <a:cubicBezTo>
                            <a:pt x="206385" y="110897"/>
                            <a:pt x="199778" y="93561"/>
                            <a:pt x="186987" y="80583"/>
                          </a:cubicBezTo>
                          <a:cubicBezTo>
                            <a:pt x="174195" y="67604"/>
                            <a:pt x="157750" y="60951"/>
                            <a:pt x="137649" y="60623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80" name="TextBox 3279">
                      <a:extLst>
                        <a:ext uri="{FF2B5EF4-FFF2-40B4-BE49-F238E27FC236}">
                          <a16:creationId xmlns:a16="http://schemas.microsoft.com/office/drawing/2014/main" id="{63434F01-2022-8559-E6A8-0207893A02E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131592" y="2346304"/>
                      <a:ext cx="105583" cy="13183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10127" h="262372">
                          <a:moveTo>
                            <a:pt x="108990" y="0"/>
                          </a:moveTo>
                          <a:cubicBezTo>
                            <a:pt x="145901" y="196"/>
                            <a:pt x="172096" y="9345"/>
                            <a:pt x="187575" y="27447"/>
                          </a:cubicBezTo>
                          <a:cubicBezTo>
                            <a:pt x="203055" y="45550"/>
                            <a:pt x="210567" y="71429"/>
                            <a:pt x="210108" y="105086"/>
                          </a:cubicBezTo>
                          <a:lnTo>
                            <a:pt x="210108" y="259000"/>
                          </a:lnTo>
                          <a:lnTo>
                            <a:pt x="153976" y="259000"/>
                          </a:lnTo>
                          <a:lnTo>
                            <a:pt x="153976" y="229819"/>
                          </a:lnTo>
                          <a:cubicBezTo>
                            <a:pt x="147102" y="239524"/>
                            <a:pt x="137239" y="247335"/>
                            <a:pt x="124386" y="253252"/>
                          </a:cubicBezTo>
                          <a:cubicBezTo>
                            <a:pt x="111532" y="259168"/>
                            <a:pt x="96464" y="262208"/>
                            <a:pt x="79180" y="262372"/>
                          </a:cubicBezTo>
                          <a:cubicBezTo>
                            <a:pt x="55731" y="262198"/>
                            <a:pt x="36776" y="255390"/>
                            <a:pt x="22318" y="241949"/>
                          </a:cubicBezTo>
                          <a:cubicBezTo>
                            <a:pt x="7860" y="228509"/>
                            <a:pt x="420" y="209480"/>
                            <a:pt x="0" y="184863"/>
                          </a:cubicBezTo>
                          <a:cubicBezTo>
                            <a:pt x="642" y="157098"/>
                            <a:pt x="9603" y="136471"/>
                            <a:pt x="26882" y="122983"/>
                          </a:cubicBezTo>
                          <a:cubicBezTo>
                            <a:pt x="44162" y="109495"/>
                            <a:pt x="65906" y="102781"/>
                            <a:pt x="92117" y="102841"/>
                          </a:cubicBezTo>
                          <a:cubicBezTo>
                            <a:pt x="103577" y="102958"/>
                            <a:pt x="114403" y="104548"/>
                            <a:pt x="124597" y="107610"/>
                          </a:cubicBezTo>
                          <a:cubicBezTo>
                            <a:pt x="134792" y="110673"/>
                            <a:pt x="143088" y="114507"/>
                            <a:pt x="149485" y="119112"/>
                          </a:cubicBezTo>
                          <a:cubicBezTo>
                            <a:pt x="150609" y="97950"/>
                            <a:pt x="147655" y="81808"/>
                            <a:pt x="140626" y="70686"/>
                          </a:cubicBezTo>
                          <a:cubicBezTo>
                            <a:pt x="133596" y="59565"/>
                            <a:pt x="120801" y="53962"/>
                            <a:pt x="102241" y="53879"/>
                          </a:cubicBezTo>
                          <a:cubicBezTo>
                            <a:pt x="87840" y="54079"/>
                            <a:pt x="75447" y="55931"/>
                            <a:pt x="65064" y="59437"/>
                          </a:cubicBezTo>
                          <a:cubicBezTo>
                            <a:pt x="54680" y="62942"/>
                            <a:pt x="44967" y="66905"/>
                            <a:pt x="35927" y="71326"/>
                          </a:cubicBezTo>
                          <a:lnTo>
                            <a:pt x="19648" y="24133"/>
                          </a:lnTo>
                          <a:cubicBezTo>
                            <a:pt x="30875" y="17480"/>
                            <a:pt x="44353" y="11844"/>
                            <a:pt x="60085" y="7226"/>
                          </a:cubicBezTo>
                          <a:cubicBezTo>
                            <a:pt x="75816" y="2607"/>
                            <a:pt x="92118" y="199"/>
                            <a:pt x="108990" y="0"/>
                          </a:cubicBezTo>
                          <a:close/>
                          <a:moveTo>
                            <a:pt x="105052" y="146605"/>
                          </a:moveTo>
                          <a:cubicBezTo>
                            <a:pt x="94014" y="146582"/>
                            <a:pt x="84594" y="149160"/>
                            <a:pt x="76790" y="154341"/>
                          </a:cubicBezTo>
                          <a:cubicBezTo>
                            <a:pt x="68987" y="159522"/>
                            <a:pt x="64909" y="167446"/>
                            <a:pt x="64557" y="178112"/>
                          </a:cubicBezTo>
                          <a:cubicBezTo>
                            <a:pt x="64792" y="187723"/>
                            <a:pt x="68260" y="195084"/>
                            <a:pt x="74962" y="200195"/>
                          </a:cubicBezTo>
                          <a:cubicBezTo>
                            <a:pt x="81665" y="205305"/>
                            <a:pt x="90195" y="207884"/>
                            <a:pt x="100554" y="207931"/>
                          </a:cubicBezTo>
                          <a:cubicBezTo>
                            <a:pt x="113911" y="207673"/>
                            <a:pt x="124457" y="205235"/>
                            <a:pt x="132190" y="200617"/>
                          </a:cubicBezTo>
                          <a:cubicBezTo>
                            <a:pt x="139924" y="195998"/>
                            <a:pt x="145689" y="190747"/>
                            <a:pt x="149485" y="184863"/>
                          </a:cubicBezTo>
                          <a:lnTo>
                            <a:pt x="149485" y="158983"/>
                          </a:lnTo>
                          <a:cubicBezTo>
                            <a:pt x="143873" y="154775"/>
                            <a:pt x="137382" y="151657"/>
                            <a:pt x="130011" y="149629"/>
                          </a:cubicBezTo>
                          <a:cubicBezTo>
                            <a:pt x="122641" y="147601"/>
                            <a:pt x="114321" y="146593"/>
                            <a:pt x="105052" y="146605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6" name="TextBox 3275">
                      <a:extLst>
                        <a:ext uri="{FF2B5EF4-FFF2-40B4-BE49-F238E27FC236}">
                          <a16:creationId xmlns:a16="http://schemas.microsoft.com/office/drawing/2014/main" id="{52A6D561-0317-99AB-5BD5-C5D8C328CD8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685106" y="2348845"/>
                      <a:ext cx="81289" cy="12929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61779" h="257314">
                          <a:moveTo>
                            <a:pt x="122441" y="0"/>
                          </a:moveTo>
                          <a:cubicBezTo>
                            <a:pt x="132650" y="12"/>
                            <a:pt x="140752" y="830"/>
                            <a:pt x="146746" y="2456"/>
                          </a:cubicBezTo>
                          <a:cubicBezTo>
                            <a:pt x="152741" y="4081"/>
                            <a:pt x="157752" y="6443"/>
                            <a:pt x="161779" y="9542"/>
                          </a:cubicBezTo>
                          <a:lnTo>
                            <a:pt x="138738" y="70176"/>
                          </a:lnTo>
                          <a:cubicBezTo>
                            <a:pt x="132814" y="66582"/>
                            <a:pt x="127523" y="64077"/>
                            <a:pt x="122862" y="62660"/>
                          </a:cubicBezTo>
                          <a:cubicBezTo>
                            <a:pt x="118202" y="61243"/>
                            <a:pt x="112629" y="60564"/>
                            <a:pt x="106144" y="60623"/>
                          </a:cubicBezTo>
                          <a:cubicBezTo>
                            <a:pt x="95033" y="60834"/>
                            <a:pt x="86205" y="63503"/>
                            <a:pt x="79660" y="68631"/>
                          </a:cubicBezTo>
                          <a:cubicBezTo>
                            <a:pt x="73115" y="73759"/>
                            <a:pt x="68082" y="80081"/>
                            <a:pt x="64558" y="87598"/>
                          </a:cubicBezTo>
                          <a:lnTo>
                            <a:pt x="64558" y="257314"/>
                          </a:lnTo>
                          <a:lnTo>
                            <a:pt x="0" y="257314"/>
                          </a:lnTo>
                          <a:lnTo>
                            <a:pt x="0" y="4496"/>
                          </a:lnTo>
                          <a:lnTo>
                            <a:pt x="64558" y="4496"/>
                          </a:lnTo>
                          <a:lnTo>
                            <a:pt x="64558" y="29189"/>
                          </a:lnTo>
                          <a:cubicBezTo>
                            <a:pt x="70235" y="20851"/>
                            <a:pt x="77565" y="13951"/>
                            <a:pt x="86545" y="8490"/>
                          </a:cubicBezTo>
                          <a:cubicBezTo>
                            <a:pt x="95524" y="3029"/>
                            <a:pt x="107490" y="199"/>
                            <a:pt x="122441" y="0"/>
                          </a:cubicBez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2" name="TextBox 3271">
                      <a:extLst>
                        <a:ext uri="{FF2B5EF4-FFF2-40B4-BE49-F238E27FC236}">
                          <a16:creationId xmlns:a16="http://schemas.microsoft.com/office/drawing/2014/main" id="{606AA7C2-9AAB-02D8-37A5-CE3E4E4587C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266180" y="2347997"/>
                      <a:ext cx="117716" cy="130142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34274" h="259002">
                          <a:moveTo>
                            <a:pt x="0" y="0"/>
                          </a:moveTo>
                          <a:lnTo>
                            <a:pt x="64556" y="0"/>
                          </a:lnTo>
                          <a:lnTo>
                            <a:pt x="64556" y="141055"/>
                          </a:lnTo>
                          <a:cubicBezTo>
                            <a:pt x="64357" y="158219"/>
                            <a:pt x="67990" y="172081"/>
                            <a:pt x="75452" y="182641"/>
                          </a:cubicBezTo>
                          <a:cubicBezTo>
                            <a:pt x="82916" y="193202"/>
                            <a:pt x="95404" y="198634"/>
                            <a:pt x="112918" y="198939"/>
                          </a:cubicBezTo>
                          <a:cubicBezTo>
                            <a:pt x="123722" y="198845"/>
                            <a:pt x="134030" y="196082"/>
                            <a:pt x="143848" y="190650"/>
                          </a:cubicBezTo>
                          <a:cubicBezTo>
                            <a:pt x="153666" y="185217"/>
                            <a:pt x="162290" y="177677"/>
                            <a:pt x="169716" y="168030"/>
                          </a:cubicBezTo>
                          <a:lnTo>
                            <a:pt x="169716" y="0"/>
                          </a:lnTo>
                          <a:lnTo>
                            <a:pt x="234274" y="0"/>
                          </a:lnTo>
                          <a:lnTo>
                            <a:pt x="234274" y="252818"/>
                          </a:lnTo>
                          <a:lnTo>
                            <a:pt x="169716" y="252818"/>
                          </a:lnTo>
                          <a:lnTo>
                            <a:pt x="169716" y="221953"/>
                          </a:lnTo>
                          <a:cubicBezTo>
                            <a:pt x="162160" y="231601"/>
                            <a:pt x="151686" y="240091"/>
                            <a:pt x="138294" y="247423"/>
                          </a:cubicBezTo>
                          <a:cubicBezTo>
                            <a:pt x="124904" y="254755"/>
                            <a:pt x="108385" y="258614"/>
                            <a:pt x="88737" y="259000"/>
                          </a:cubicBezTo>
                          <a:cubicBezTo>
                            <a:pt x="63410" y="259176"/>
                            <a:pt x="42439" y="250825"/>
                            <a:pt x="25828" y="233945"/>
                          </a:cubicBezTo>
                          <a:cubicBezTo>
                            <a:pt x="9217" y="217065"/>
                            <a:pt x="607" y="190597"/>
                            <a:pt x="0" y="154543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3271" name="TextBox 3270">
                      <a:extLst>
                        <a:ext uri="{FF2B5EF4-FFF2-40B4-BE49-F238E27FC236}">
                          <a16:creationId xmlns:a16="http://schemas.microsoft.com/office/drawing/2014/main" id="{CD1D3886-A896-A963-62C2-84BD3EDF4E5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880752" y="2369930"/>
                      <a:ext cx="71159" cy="3017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41617" h="60061">
                          <a:moveTo>
                            <a:pt x="0" y="0"/>
                          </a:moveTo>
                          <a:lnTo>
                            <a:pt x="141617" y="0"/>
                          </a:lnTo>
                          <a:lnTo>
                            <a:pt x="141617" y="60061"/>
                          </a:lnTo>
                          <a:lnTo>
                            <a:pt x="0" y="6006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434343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 sz="1996" b="1" dirty="0">
                        <a:latin typeface="Circe Bold" panose="020B0602020203020203" pitchFamily="34" charset="-52"/>
                        <a:cs typeface="Calibri" panose="020F0502020204030204" pitchFamily="34" charset="0"/>
                      </a:endParaRPr>
                    </a:p>
                  </p:txBody>
                </p:sp>
              </p:grpSp>
            </p:grpSp>
            <p:sp>
              <p:nvSpPr>
                <p:cNvPr id="3093" name="TextBox 3092">
                  <a:extLst>
                    <a:ext uri="{FF2B5EF4-FFF2-40B4-BE49-F238E27FC236}">
                      <a16:creationId xmlns:a16="http://schemas.microsoft.com/office/drawing/2014/main" id="{32DF5C53-79F7-CADF-9039-1033168E8C0F}"/>
                    </a:ext>
                  </a:extLst>
                </p:cNvPr>
                <p:cNvSpPr txBox="1"/>
                <p:nvPr/>
              </p:nvSpPr>
              <p:spPr>
                <a:xfrm>
                  <a:off x="483656" y="3614558"/>
                  <a:ext cx="4992032" cy="10974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uk-UA"/>
                  </a:defPPr>
                  <a:lvl1pPr marL="342900" indent="-342900">
                    <a:buClr>
                      <a:schemeClr val="tx1">
                        <a:lumMod val="50000"/>
                        <a:lumOff val="50000"/>
                      </a:schemeClr>
                    </a:buClr>
                    <a:buSzPct val="120000"/>
                    <a:buFont typeface="Calibri Light" panose="020F0302020204030204" pitchFamily="34" charset="0"/>
                    <a:buChar char="└"/>
                    <a:defRPr>
                      <a:latin typeface="Calibri" panose="020F0502020204030204" pitchFamily="34" charset="0"/>
                      <a:cs typeface="Calibri" panose="020F0502020204030204" pitchFamily="34" charset="0"/>
                    </a:defRPr>
                  </a:lvl1pPr>
                </a:lstStyle>
                <a:p>
                  <a:pPr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CWR: gas storage for 1095 days w/o payment of taxes/customs duties</a:t>
                  </a:r>
                </a:p>
                <a:p>
                  <a:pPr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solidFill>
                        <a:srgbClr val="000000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Short-haul: access to gas storage facilities at discounted tariffs to GTS IPs</a:t>
                  </a:r>
                </a:p>
              </p:txBody>
            </p:sp>
          </p:grpSp>
          <p:grpSp>
            <p:nvGrpSpPr>
              <p:cNvPr id="3095" name="Групувати 3094">
                <a:extLst>
                  <a:ext uri="{FF2B5EF4-FFF2-40B4-BE49-F238E27FC236}">
                    <a16:creationId xmlns:a16="http://schemas.microsoft.com/office/drawing/2014/main" id="{1F1894C1-AABA-F70F-7F78-67C19DBAA890}"/>
                  </a:ext>
                </a:extLst>
              </p:cNvPr>
              <p:cNvGrpSpPr/>
              <p:nvPr/>
            </p:nvGrpSpPr>
            <p:grpSpPr>
              <a:xfrm>
                <a:off x="357104" y="5205564"/>
                <a:ext cx="8480990" cy="1393184"/>
                <a:chOff x="479834" y="5225678"/>
                <a:chExt cx="8480990" cy="1393184"/>
              </a:xfrm>
            </p:grpSpPr>
            <p:grpSp>
              <p:nvGrpSpPr>
                <p:cNvPr id="3326" name="Групувати 3325">
                  <a:extLst>
                    <a:ext uri="{FF2B5EF4-FFF2-40B4-BE49-F238E27FC236}">
                      <a16:creationId xmlns:a16="http://schemas.microsoft.com/office/drawing/2014/main" id="{B0FEBBB9-34E1-0DFB-6302-777B1DD24170}"/>
                    </a:ext>
                  </a:extLst>
                </p:cNvPr>
                <p:cNvGrpSpPr/>
                <p:nvPr/>
              </p:nvGrpSpPr>
              <p:grpSpPr>
                <a:xfrm>
                  <a:off x="583916" y="5225678"/>
                  <a:ext cx="2021390" cy="203842"/>
                  <a:chOff x="5561448" y="10537400"/>
                  <a:chExt cx="4022891" cy="405676"/>
                </a:xfrm>
                <a:solidFill>
                  <a:srgbClr val="434343"/>
                </a:solidFill>
              </p:grpSpPr>
              <p:sp>
                <p:nvSpPr>
                  <p:cNvPr id="3325" name="TextBox 3324">
                    <a:extLst>
                      <a:ext uri="{FF2B5EF4-FFF2-40B4-BE49-F238E27FC236}">
                        <a16:creationId xmlns:a16="http://schemas.microsoft.com/office/drawing/2014/main" id="{6B48B429-C978-3340-065E-4F40CFBE333F}"/>
                      </a:ext>
                    </a:extLst>
                  </p:cNvPr>
                  <p:cNvSpPr txBox="1"/>
                  <p:nvPr/>
                </p:nvSpPr>
                <p:spPr>
                  <a:xfrm>
                    <a:off x="5561448" y="10537400"/>
                    <a:ext cx="260124" cy="40567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60124" h="405676">
                        <a:moveTo>
                          <a:pt x="131465" y="0"/>
                        </a:moveTo>
                        <a:cubicBezTo>
                          <a:pt x="155833" y="140"/>
                          <a:pt x="177660" y="3930"/>
                          <a:pt x="196947" y="11368"/>
                        </a:cubicBezTo>
                        <a:cubicBezTo>
                          <a:pt x="216235" y="18806"/>
                          <a:pt x="231867" y="29051"/>
                          <a:pt x="243843" y="42102"/>
                        </a:cubicBezTo>
                        <a:lnTo>
                          <a:pt x="206788" y="93786"/>
                        </a:lnTo>
                        <a:cubicBezTo>
                          <a:pt x="197501" y="84452"/>
                          <a:pt x="187435" y="77262"/>
                          <a:pt x="176590" y="72215"/>
                        </a:cubicBezTo>
                        <a:cubicBezTo>
                          <a:pt x="165745" y="67168"/>
                          <a:pt x="152578" y="64615"/>
                          <a:pt x="137089" y="64557"/>
                        </a:cubicBezTo>
                        <a:cubicBezTo>
                          <a:pt x="119785" y="64744"/>
                          <a:pt x="106312" y="68726"/>
                          <a:pt x="96670" y="76501"/>
                        </a:cubicBezTo>
                        <a:cubicBezTo>
                          <a:pt x="87028" y="84277"/>
                          <a:pt x="82131" y="94723"/>
                          <a:pt x="81978" y="107839"/>
                        </a:cubicBezTo>
                        <a:cubicBezTo>
                          <a:pt x="82906" y="127528"/>
                          <a:pt x="92185" y="142570"/>
                          <a:pt x="109814" y="152966"/>
                        </a:cubicBezTo>
                        <a:cubicBezTo>
                          <a:pt x="127443" y="163363"/>
                          <a:pt x="147855" y="173241"/>
                          <a:pt x="171051" y="182601"/>
                        </a:cubicBezTo>
                        <a:cubicBezTo>
                          <a:pt x="194248" y="191961"/>
                          <a:pt x="214660" y="204930"/>
                          <a:pt x="232289" y="221510"/>
                        </a:cubicBezTo>
                        <a:cubicBezTo>
                          <a:pt x="249918" y="238090"/>
                          <a:pt x="259197" y="262407"/>
                          <a:pt x="260124" y="294463"/>
                        </a:cubicBezTo>
                        <a:cubicBezTo>
                          <a:pt x="259249" y="328105"/>
                          <a:pt x="246543" y="354928"/>
                          <a:pt x="222005" y="374933"/>
                        </a:cubicBezTo>
                        <a:cubicBezTo>
                          <a:pt x="197468" y="394938"/>
                          <a:pt x="166350" y="405186"/>
                          <a:pt x="128654" y="405676"/>
                        </a:cubicBezTo>
                        <a:cubicBezTo>
                          <a:pt x="111488" y="405652"/>
                          <a:pt x="94287" y="403267"/>
                          <a:pt x="77052" y="398524"/>
                        </a:cubicBezTo>
                        <a:cubicBezTo>
                          <a:pt x="59816" y="393780"/>
                          <a:pt x="44331" y="386822"/>
                          <a:pt x="30597" y="377649"/>
                        </a:cubicBezTo>
                        <a:cubicBezTo>
                          <a:pt x="16863" y="368477"/>
                          <a:pt x="6664" y="357235"/>
                          <a:pt x="0" y="343926"/>
                        </a:cubicBezTo>
                        <a:lnTo>
                          <a:pt x="39309" y="296711"/>
                        </a:lnTo>
                        <a:cubicBezTo>
                          <a:pt x="51252" y="311596"/>
                          <a:pt x="65411" y="322721"/>
                          <a:pt x="81788" y="330087"/>
                        </a:cubicBezTo>
                        <a:cubicBezTo>
                          <a:pt x="98165" y="337453"/>
                          <a:pt x="114162" y="341131"/>
                          <a:pt x="129778" y="341119"/>
                        </a:cubicBezTo>
                        <a:cubicBezTo>
                          <a:pt x="146438" y="341060"/>
                          <a:pt x="160075" y="337102"/>
                          <a:pt x="170689" y="329244"/>
                        </a:cubicBezTo>
                        <a:cubicBezTo>
                          <a:pt x="181304" y="321386"/>
                          <a:pt x="186787" y="309980"/>
                          <a:pt x="187138" y="295025"/>
                        </a:cubicBezTo>
                        <a:cubicBezTo>
                          <a:pt x="186210" y="276267"/>
                          <a:pt x="176932" y="261646"/>
                          <a:pt x="159303" y="251162"/>
                        </a:cubicBezTo>
                        <a:cubicBezTo>
                          <a:pt x="141674" y="240678"/>
                          <a:pt x="121261" y="230519"/>
                          <a:pt x="98065" y="220684"/>
                        </a:cubicBezTo>
                        <a:cubicBezTo>
                          <a:pt x="74869" y="210850"/>
                          <a:pt x="54456" y="197529"/>
                          <a:pt x="36827" y="180721"/>
                        </a:cubicBezTo>
                        <a:cubicBezTo>
                          <a:pt x="19198" y="163913"/>
                          <a:pt x="9920" y="139806"/>
                          <a:pt x="8992" y="108401"/>
                        </a:cubicBezTo>
                        <a:cubicBezTo>
                          <a:pt x="9318" y="78071"/>
                          <a:pt x="20175" y="52629"/>
                          <a:pt x="41565" y="32075"/>
                        </a:cubicBezTo>
                        <a:cubicBezTo>
                          <a:pt x="62955" y="11521"/>
                          <a:pt x="92922" y="829"/>
                          <a:pt x="13146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24" name="TextBox 3323">
                    <a:extLst>
                      <a:ext uri="{FF2B5EF4-FFF2-40B4-BE49-F238E27FC236}">
                        <a16:creationId xmlns:a16="http://schemas.microsoft.com/office/drawing/2014/main" id="{41461795-9E4D-A5DC-EFAC-E5689559531F}"/>
                      </a:ext>
                    </a:extLst>
                  </p:cNvPr>
                  <p:cNvSpPr txBox="1"/>
                  <p:nvPr/>
                </p:nvSpPr>
                <p:spPr>
                  <a:xfrm>
                    <a:off x="7458076" y="10544144"/>
                    <a:ext cx="251694" cy="39893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1694" h="398932">
                        <a:moveTo>
                          <a:pt x="0" y="0"/>
                        </a:moveTo>
                        <a:lnTo>
                          <a:pt x="64557" y="0"/>
                        </a:lnTo>
                        <a:lnTo>
                          <a:pt x="64557" y="155642"/>
                        </a:lnTo>
                        <a:cubicBezTo>
                          <a:pt x="72546" y="149327"/>
                          <a:pt x="82293" y="144134"/>
                          <a:pt x="93797" y="140065"/>
                        </a:cubicBezTo>
                        <a:cubicBezTo>
                          <a:pt x="105301" y="135995"/>
                          <a:pt x="117859" y="133890"/>
                          <a:pt x="131471" y="133750"/>
                        </a:cubicBezTo>
                        <a:cubicBezTo>
                          <a:pt x="169429" y="134437"/>
                          <a:pt x="198880" y="146534"/>
                          <a:pt x="219824" y="170039"/>
                        </a:cubicBezTo>
                        <a:cubicBezTo>
                          <a:pt x="240768" y="193545"/>
                          <a:pt x="251392" y="224333"/>
                          <a:pt x="251694" y="262405"/>
                        </a:cubicBezTo>
                        <a:cubicBezTo>
                          <a:pt x="251229" y="304494"/>
                          <a:pt x="238265" y="337649"/>
                          <a:pt x="212802" y="361869"/>
                        </a:cubicBezTo>
                        <a:cubicBezTo>
                          <a:pt x="187339" y="386089"/>
                          <a:pt x="152169" y="398443"/>
                          <a:pt x="107292" y="398932"/>
                        </a:cubicBezTo>
                        <a:cubicBezTo>
                          <a:pt x="86055" y="398675"/>
                          <a:pt x="65849" y="395821"/>
                          <a:pt x="46673" y="390372"/>
                        </a:cubicBezTo>
                        <a:cubicBezTo>
                          <a:pt x="27497" y="384922"/>
                          <a:pt x="11939" y="378420"/>
                          <a:pt x="0" y="370866"/>
                        </a:cubicBezTo>
                        <a:lnTo>
                          <a:pt x="0" y="0"/>
                        </a:lnTo>
                        <a:close/>
                        <a:moveTo>
                          <a:pt x="116289" y="194373"/>
                        </a:moveTo>
                        <a:cubicBezTo>
                          <a:pt x="104961" y="194607"/>
                          <a:pt x="94863" y="197090"/>
                          <a:pt x="85995" y="201823"/>
                        </a:cubicBezTo>
                        <a:cubicBezTo>
                          <a:pt x="77127" y="206555"/>
                          <a:pt x="69981" y="212130"/>
                          <a:pt x="64557" y="218549"/>
                        </a:cubicBezTo>
                        <a:lnTo>
                          <a:pt x="64557" y="325939"/>
                        </a:lnTo>
                        <a:cubicBezTo>
                          <a:pt x="71503" y="330414"/>
                          <a:pt x="78696" y="333693"/>
                          <a:pt x="86135" y="335778"/>
                        </a:cubicBezTo>
                        <a:cubicBezTo>
                          <a:pt x="93574" y="337863"/>
                          <a:pt x="101751" y="338894"/>
                          <a:pt x="110666" y="338871"/>
                        </a:cubicBezTo>
                        <a:cubicBezTo>
                          <a:pt x="131378" y="338718"/>
                          <a:pt x="148434" y="332417"/>
                          <a:pt x="161836" y="319965"/>
                        </a:cubicBezTo>
                        <a:cubicBezTo>
                          <a:pt x="175238" y="307514"/>
                          <a:pt x="182173" y="289826"/>
                          <a:pt x="182642" y="266903"/>
                        </a:cubicBezTo>
                        <a:cubicBezTo>
                          <a:pt x="182161" y="242726"/>
                          <a:pt x="175671" y="224594"/>
                          <a:pt x="163172" y="212505"/>
                        </a:cubicBezTo>
                        <a:cubicBezTo>
                          <a:pt x="150672" y="200417"/>
                          <a:pt x="135044" y="194373"/>
                          <a:pt x="116289" y="19437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23" name="TextBox 3322">
                    <a:extLst>
                      <a:ext uri="{FF2B5EF4-FFF2-40B4-BE49-F238E27FC236}">
                        <a16:creationId xmlns:a16="http://schemas.microsoft.com/office/drawing/2014/main" id="{AD1F6C77-EDD0-D68E-0C33-E0B2AA90F734}"/>
                      </a:ext>
                    </a:extLst>
                  </p:cNvPr>
                  <p:cNvSpPr txBox="1"/>
                  <p:nvPr/>
                </p:nvSpPr>
                <p:spPr>
                  <a:xfrm>
                    <a:off x="8801101" y="10544144"/>
                    <a:ext cx="241016" cy="39275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1016" h="392750">
                        <a:moveTo>
                          <a:pt x="0" y="0"/>
                        </a:moveTo>
                        <a:lnTo>
                          <a:pt x="64556" y="0"/>
                        </a:lnTo>
                        <a:lnTo>
                          <a:pt x="64556" y="162941"/>
                        </a:lnTo>
                        <a:cubicBezTo>
                          <a:pt x="72886" y="154918"/>
                          <a:pt x="83360" y="148370"/>
                          <a:pt x="95977" y="143294"/>
                        </a:cubicBezTo>
                        <a:cubicBezTo>
                          <a:pt x="108594" y="138219"/>
                          <a:pt x="122300" y="135599"/>
                          <a:pt x="137096" y="135436"/>
                        </a:cubicBezTo>
                        <a:cubicBezTo>
                          <a:pt x="168472" y="135095"/>
                          <a:pt x="193519" y="143635"/>
                          <a:pt x="212238" y="161053"/>
                        </a:cubicBezTo>
                        <a:cubicBezTo>
                          <a:pt x="230958" y="178472"/>
                          <a:pt x="240550" y="206813"/>
                          <a:pt x="241016" y="246075"/>
                        </a:cubicBezTo>
                        <a:lnTo>
                          <a:pt x="241016" y="392750"/>
                        </a:lnTo>
                        <a:lnTo>
                          <a:pt x="176460" y="392750"/>
                        </a:lnTo>
                        <a:lnTo>
                          <a:pt x="176460" y="254504"/>
                        </a:lnTo>
                        <a:cubicBezTo>
                          <a:pt x="176331" y="235596"/>
                          <a:pt x="171387" y="221149"/>
                          <a:pt x="161628" y="211162"/>
                        </a:cubicBezTo>
                        <a:cubicBezTo>
                          <a:pt x="151870" y="201175"/>
                          <a:pt x="138069" y="196141"/>
                          <a:pt x="120227" y="196059"/>
                        </a:cubicBezTo>
                        <a:cubicBezTo>
                          <a:pt x="109718" y="196106"/>
                          <a:pt x="99667" y="198119"/>
                          <a:pt x="90072" y="202100"/>
                        </a:cubicBezTo>
                        <a:cubicBezTo>
                          <a:pt x="80477" y="206081"/>
                          <a:pt x="71972" y="211747"/>
                          <a:pt x="64556" y="219100"/>
                        </a:cubicBezTo>
                        <a:lnTo>
                          <a:pt x="64556" y="392750"/>
                        </a:lnTo>
                        <a:lnTo>
                          <a:pt x="0" y="39275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22" name="TextBox 3321">
                    <a:extLst>
                      <a:ext uri="{FF2B5EF4-FFF2-40B4-BE49-F238E27FC236}">
                        <a16:creationId xmlns:a16="http://schemas.microsoft.com/office/drawing/2014/main" id="{B3A6A6E1-F539-754F-96C3-BC8FFC67E8D6}"/>
                      </a:ext>
                    </a:extLst>
                  </p:cNvPr>
                  <p:cNvSpPr txBox="1"/>
                  <p:nvPr/>
                </p:nvSpPr>
                <p:spPr>
                  <a:xfrm>
                    <a:off x="6641736" y="10555383"/>
                    <a:ext cx="77482" cy="780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77482" h="78045">
                        <a:moveTo>
                          <a:pt x="40425" y="0"/>
                        </a:moveTo>
                        <a:cubicBezTo>
                          <a:pt x="50076" y="129"/>
                          <a:pt x="58568" y="3521"/>
                          <a:pt x="65902" y="10177"/>
                        </a:cubicBezTo>
                        <a:cubicBezTo>
                          <a:pt x="73236" y="16833"/>
                          <a:pt x="77096" y="25980"/>
                          <a:pt x="77482" y="37619"/>
                        </a:cubicBezTo>
                        <a:cubicBezTo>
                          <a:pt x="77096" y="50603"/>
                          <a:pt x="73236" y="60569"/>
                          <a:pt x="65902" y="67517"/>
                        </a:cubicBezTo>
                        <a:cubicBezTo>
                          <a:pt x="58568" y="74465"/>
                          <a:pt x="50076" y="77974"/>
                          <a:pt x="40425" y="78045"/>
                        </a:cubicBezTo>
                        <a:cubicBezTo>
                          <a:pt x="29161" y="77974"/>
                          <a:pt x="19686" y="74465"/>
                          <a:pt x="12001" y="67517"/>
                        </a:cubicBezTo>
                        <a:cubicBezTo>
                          <a:pt x="4316" y="60569"/>
                          <a:pt x="315" y="50603"/>
                          <a:pt x="0" y="37619"/>
                        </a:cubicBezTo>
                        <a:cubicBezTo>
                          <a:pt x="315" y="25980"/>
                          <a:pt x="4316" y="16833"/>
                          <a:pt x="12001" y="10177"/>
                        </a:cubicBezTo>
                        <a:cubicBezTo>
                          <a:pt x="19686" y="3521"/>
                          <a:pt x="29161" y="129"/>
                          <a:pt x="4042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21" name="TextBox 3320">
                    <a:extLst>
                      <a:ext uri="{FF2B5EF4-FFF2-40B4-BE49-F238E27FC236}">
                        <a16:creationId xmlns:a16="http://schemas.microsoft.com/office/drawing/2014/main" id="{72F66B37-2493-37A9-BED0-BEEE21F76260}"/>
                      </a:ext>
                    </a:extLst>
                  </p:cNvPr>
                  <p:cNvSpPr txBox="1"/>
                  <p:nvPr/>
                </p:nvSpPr>
                <p:spPr>
                  <a:xfrm>
                    <a:off x="5870716" y="10677894"/>
                    <a:ext cx="253381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3381" h="265182">
                        <a:moveTo>
                          <a:pt x="133719" y="0"/>
                        </a:moveTo>
                        <a:cubicBezTo>
                          <a:pt x="167234" y="464"/>
                          <a:pt x="195329" y="11181"/>
                          <a:pt x="218004" y="32150"/>
                        </a:cubicBezTo>
                        <a:cubicBezTo>
                          <a:pt x="240678" y="53119"/>
                          <a:pt x="252471" y="81553"/>
                          <a:pt x="253381" y="117453"/>
                        </a:cubicBezTo>
                        <a:cubicBezTo>
                          <a:pt x="253393" y="125192"/>
                          <a:pt x="253089" y="131771"/>
                          <a:pt x="252469" y="137192"/>
                        </a:cubicBezTo>
                        <a:cubicBezTo>
                          <a:pt x="251849" y="142613"/>
                          <a:pt x="250843" y="147647"/>
                          <a:pt x="249452" y="152295"/>
                        </a:cubicBezTo>
                        <a:lnTo>
                          <a:pt x="66805" y="152295"/>
                        </a:lnTo>
                        <a:cubicBezTo>
                          <a:pt x="69933" y="171473"/>
                          <a:pt x="78297" y="186084"/>
                          <a:pt x="91898" y="196129"/>
                        </a:cubicBezTo>
                        <a:cubicBezTo>
                          <a:pt x="105499" y="206174"/>
                          <a:pt x="122438" y="211232"/>
                          <a:pt x="142716" y="211302"/>
                        </a:cubicBezTo>
                        <a:cubicBezTo>
                          <a:pt x="158308" y="211080"/>
                          <a:pt x="172244" y="208715"/>
                          <a:pt x="184525" y="204208"/>
                        </a:cubicBezTo>
                        <a:cubicBezTo>
                          <a:pt x="196806" y="199700"/>
                          <a:pt x="206659" y="194385"/>
                          <a:pt x="214086" y="188261"/>
                        </a:cubicBezTo>
                        <a:lnTo>
                          <a:pt x="232611" y="233752"/>
                        </a:lnTo>
                        <a:cubicBezTo>
                          <a:pt x="219746" y="244392"/>
                          <a:pt x="204909" y="252297"/>
                          <a:pt x="188101" y="257465"/>
                        </a:cubicBezTo>
                        <a:cubicBezTo>
                          <a:pt x="171292" y="262633"/>
                          <a:pt x="153915" y="265205"/>
                          <a:pt x="135968" y="265182"/>
                        </a:cubicBezTo>
                        <a:cubicBezTo>
                          <a:pt x="94641" y="264646"/>
                          <a:pt x="61790" y="252528"/>
                          <a:pt x="37417" y="228828"/>
                        </a:cubicBezTo>
                        <a:cubicBezTo>
                          <a:pt x="13043" y="205129"/>
                          <a:pt x="571" y="173061"/>
                          <a:pt x="0" y="132626"/>
                        </a:cubicBezTo>
                        <a:cubicBezTo>
                          <a:pt x="372" y="94864"/>
                          <a:pt x="12260" y="63549"/>
                          <a:pt x="35662" y="38682"/>
                        </a:cubicBezTo>
                        <a:cubicBezTo>
                          <a:pt x="59064" y="13815"/>
                          <a:pt x="91750" y="921"/>
                          <a:pt x="133719" y="0"/>
                        </a:cubicBezTo>
                        <a:close/>
                        <a:moveTo>
                          <a:pt x="130908" y="53879"/>
                        </a:moveTo>
                        <a:cubicBezTo>
                          <a:pt x="111590" y="54102"/>
                          <a:pt x="96525" y="59143"/>
                          <a:pt x="85713" y="69001"/>
                        </a:cubicBezTo>
                        <a:cubicBezTo>
                          <a:pt x="74901" y="78860"/>
                          <a:pt x="67850" y="92201"/>
                          <a:pt x="64560" y="109023"/>
                        </a:cubicBezTo>
                        <a:lnTo>
                          <a:pt x="188824" y="109023"/>
                        </a:lnTo>
                        <a:cubicBezTo>
                          <a:pt x="188976" y="93186"/>
                          <a:pt x="184032" y="80126"/>
                          <a:pt x="173993" y="69845"/>
                        </a:cubicBezTo>
                        <a:cubicBezTo>
                          <a:pt x="163954" y="59565"/>
                          <a:pt x="149592" y="54243"/>
                          <a:pt x="130908" y="5387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20" name="TextBox 3319">
                    <a:extLst>
                      <a:ext uri="{FF2B5EF4-FFF2-40B4-BE49-F238E27FC236}">
                        <a16:creationId xmlns:a16="http://schemas.microsoft.com/office/drawing/2014/main" id="{223BFEEE-306B-D5A4-C665-2568FAAEBAB5}"/>
                      </a:ext>
                    </a:extLst>
                  </p:cNvPr>
                  <p:cNvSpPr txBox="1"/>
                  <p:nvPr/>
                </p:nvSpPr>
                <p:spPr>
                  <a:xfrm>
                    <a:off x="6775590" y="10677893"/>
                    <a:ext cx="237646" cy="2651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37646" h="265183">
                        <a:moveTo>
                          <a:pt x="130870" y="1"/>
                        </a:moveTo>
                        <a:cubicBezTo>
                          <a:pt x="151827" y="-46"/>
                          <a:pt x="171028" y="2714"/>
                          <a:pt x="188473" y="8280"/>
                        </a:cubicBezTo>
                        <a:cubicBezTo>
                          <a:pt x="205918" y="13847"/>
                          <a:pt x="220623" y="22501"/>
                          <a:pt x="232588" y="34242"/>
                        </a:cubicBezTo>
                        <a:lnTo>
                          <a:pt x="202241" y="85363"/>
                        </a:lnTo>
                        <a:cubicBezTo>
                          <a:pt x="192700" y="76214"/>
                          <a:pt x="182701" y="69772"/>
                          <a:pt x="172246" y="66035"/>
                        </a:cubicBezTo>
                        <a:cubicBezTo>
                          <a:pt x="161791" y="62299"/>
                          <a:pt x="150809" y="60495"/>
                          <a:pt x="139300" y="60624"/>
                        </a:cubicBezTo>
                        <a:cubicBezTo>
                          <a:pt x="120638" y="60846"/>
                          <a:pt x="104434" y="67289"/>
                          <a:pt x="90689" y="79951"/>
                        </a:cubicBezTo>
                        <a:cubicBezTo>
                          <a:pt x="76944" y="92613"/>
                          <a:pt x="69732" y="110160"/>
                          <a:pt x="69053" y="132592"/>
                        </a:cubicBezTo>
                        <a:cubicBezTo>
                          <a:pt x="69709" y="155292"/>
                          <a:pt x="77108" y="173003"/>
                          <a:pt x="91251" y="185724"/>
                        </a:cubicBezTo>
                        <a:cubicBezTo>
                          <a:pt x="105394" y="198445"/>
                          <a:pt x="122347" y="204911"/>
                          <a:pt x="142110" y="205122"/>
                        </a:cubicBezTo>
                        <a:cubicBezTo>
                          <a:pt x="155855" y="204958"/>
                          <a:pt x="168125" y="202053"/>
                          <a:pt x="178919" y="196407"/>
                        </a:cubicBezTo>
                        <a:cubicBezTo>
                          <a:pt x="189714" y="190761"/>
                          <a:pt x="199174" y="183358"/>
                          <a:pt x="207299" y="174198"/>
                        </a:cubicBezTo>
                        <a:lnTo>
                          <a:pt x="237646" y="221400"/>
                        </a:lnTo>
                        <a:cubicBezTo>
                          <a:pt x="226676" y="235749"/>
                          <a:pt x="212369" y="246624"/>
                          <a:pt x="194725" y="254027"/>
                        </a:cubicBezTo>
                        <a:cubicBezTo>
                          <a:pt x="177081" y="261429"/>
                          <a:pt x="157857" y="265148"/>
                          <a:pt x="137052" y="265183"/>
                        </a:cubicBezTo>
                        <a:cubicBezTo>
                          <a:pt x="95452" y="264647"/>
                          <a:pt x="62355" y="252527"/>
                          <a:pt x="37764" y="228823"/>
                        </a:cubicBezTo>
                        <a:cubicBezTo>
                          <a:pt x="13172" y="205118"/>
                          <a:pt x="584" y="173041"/>
                          <a:pt x="0" y="132592"/>
                        </a:cubicBezTo>
                        <a:cubicBezTo>
                          <a:pt x="643" y="94844"/>
                          <a:pt x="12832" y="63539"/>
                          <a:pt x="36570" y="38677"/>
                        </a:cubicBezTo>
                        <a:cubicBezTo>
                          <a:pt x="60307" y="13814"/>
                          <a:pt x="91741" y="922"/>
                          <a:pt x="130870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9" name="TextBox 3318">
                    <a:extLst>
                      <a:ext uri="{FF2B5EF4-FFF2-40B4-BE49-F238E27FC236}">
                        <a16:creationId xmlns:a16="http://schemas.microsoft.com/office/drawing/2014/main" id="{3381A8A4-6149-4F63-3F41-AAB390555E74}"/>
                      </a:ext>
                    </a:extLst>
                  </p:cNvPr>
                  <p:cNvSpPr txBox="1"/>
                  <p:nvPr/>
                </p:nvSpPr>
                <p:spPr>
                  <a:xfrm>
                    <a:off x="7042291" y="10677894"/>
                    <a:ext cx="253381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3381" h="265182">
                        <a:moveTo>
                          <a:pt x="133719" y="0"/>
                        </a:moveTo>
                        <a:cubicBezTo>
                          <a:pt x="167234" y="464"/>
                          <a:pt x="195329" y="11181"/>
                          <a:pt x="218004" y="32150"/>
                        </a:cubicBezTo>
                        <a:cubicBezTo>
                          <a:pt x="240678" y="53119"/>
                          <a:pt x="252471" y="81553"/>
                          <a:pt x="253381" y="117453"/>
                        </a:cubicBezTo>
                        <a:cubicBezTo>
                          <a:pt x="253393" y="125192"/>
                          <a:pt x="253089" y="131771"/>
                          <a:pt x="252469" y="137192"/>
                        </a:cubicBezTo>
                        <a:cubicBezTo>
                          <a:pt x="251849" y="142613"/>
                          <a:pt x="250843" y="147647"/>
                          <a:pt x="249452" y="152295"/>
                        </a:cubicBezTo>
                        <a:lnTo>
                          <a:pt x="66805" y="152295"/>
                        </a:lnTo>
                        <a:cubicBezTo>
                          <a:pt x="69933" y="171473"/>
                          <a:pt x="78297" y="186084"/>
                          <a:pt x="91898" y="196129"/>
                        </a:cubicBezTo>
                        <a:cubicBezTo>
                          <a:pt x="105499" y="206174"/>
                          <a:pt x="122438" y="211232"/>
                          <a:pt x="142716" y="211302"/>
                        </a:cubicBezTo>
                        <a:cubicBezTo>
                          <a:pt x="158308" y="211080"/>
                          <a:pt x="172244" y="208715"/>
                          <a:pt x="184525" y="204208"/>
                        </a:cubicBezTo>
                        <a:cubicBezTo>
                          <a:pt x="196806" y="199700"/>
                          <a:pt x="206659" y="194385"/>
                          <a:pt x="214086" y="188261"/>
                        </a:cubicBezTo>
                        <a:lnTo>
                          <a:pt x="232611" y="233752"/>
                        </a:lnTo>
                        <a:cubicBezTo>
                          <a:pt x="219746" y="244392"/>
                          <a:pt x="204909" y="252297"/>
                          <a:pt x="188101" y="257465"/>
                        </a:cubicBezTo>
                        <a:cubicBezTo>
                          <a:pt x="171292" y="262633"/>
                          <a:pt x="153915" y="265205"/>
                          <a:pt x="135968" y="265182"/>
                        </a:cubicBezTo>
                        <a:cubicBezTo>
                          <a:pt x="94641" y="264646"/>
                          <a:pt x="61790" y="252528"/>
                          <a:pt x="37417" y="228828"/>
                        </a:cubicBezTo>
                        <a:cubicBezTo>
                          <a:pt x="13043" y="205129"/>
                          <a:pt x="571" y="173061"/>
                          <a:pt x="0" y="132626"/>
                        </a:cubicBezTo>
                        <a:cubicBezTo>
                          <a:pt x="373" y="94864"/>
                          <a:pt x="12260" y="63549"/>
                          <a:pt x="35662" y="38682"/>
                        </a:cubicBezTo>
                        <a:cubicBezTo>
                          <a:pt x="59064" y="13815"/>
                          <a:pt x="91750" y="921"/>
                          <a:pt x="133719" y="0"/>
                        </a:cubicBezTo>
                        <a:close/>
                        <a:moveTo>
                          <a:pt x="130908" y="53879"/>
                        </a:moveTo>
                        <a:cubicBezTo>
                          <a:pt x="111590" y="54102"/>
                          <a:pt x="96526" y="59143"/>
                          <a:pt x="85713" y="69001"/>
                        </a:cubicBezTo>
                        <a:cubicBezTo>
                          <a:pt x="74901" y="78860"/>
                          <a:pt x="67850" y="92201"/>
                          <a:pt x="64560" y="109023"/>
                        </a:cubicBezTo>
                        <a:lnTo>
                          <a:pt x="188824" y="109023"/>
                        </a:lnTo>
                        <a:cubicBezTo>
                          <a:pt x="188976" y="93186"/>
                          <a:pt x="184032" y="80126"/>
                          <a:pt x="173993" y="69845"/>
                        </a:cubicBezTo>
                        <a:cubicBezTo>
                          <a:pt x="163954" y="59565"/>
                          <a:pt x="149592" y="54243"/>
                          <a:pt x="130908" y="5387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8" name="TextBox 3317">
                    <a:extLst>
                      <a:ext uri="{FF2B5EF4-FFF2-40B4-BE49-F238E27FC236}">
                        <a16:creationId xmlns:a16="http://schemas.microsoft.com/office/drawing/2014/main" id="{CDE54977-740A-A1C9-2CC3-AB1A6D1FE0AF}"/>
                      </a:ext>
                    </a:extLst>
                  </p:cNvPr>
                  <p:cNvSpPr txBox="1"/>
                  <p:nvPr/>
                </p:nvSpPr>
                <p:spPr>
                  <a:xfrm>
                    <a:off x="7946605" y="10677894"/>
                    <a:ext cx="210127" cy="26237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0127" h="262372">
                        <a:moveTo>
                          <a:pt x="108989" y="0"/>
                        </a:moveTo>
                        <a:cubicBezTo>
                          <a:pt x="145899" y="196"/>
                          <a:pt x="172095" y="9345"/>
                          <a:pt x="187574" y="27447"/>
                        </a:cubicBezTo>
                        <a:cubicBezTo>
                          <a:pt x="203055" y="45549"/>
                          <a:pt x="210565" y="71429"/>
                          <a:pt x="210108" y="105086"/>
                        </a:cubicBezTo>
                        <a:lnTo>
                          <a:pt x="210108" y="259000"/>
                        </a:lnTo>
                        <a:lnTo>
                          <a:pt x="153975" y="259000"/>
                        </a:lnTo>
                        <a:lnTo>
                          <a:pt x="153975" y="229819"/>
                        </a:lnTo>
                        <a:cubicBezTo>
                          <a:pt x="147101" y="239524"/>
                          <a:pt x="137238" y="247335"/>
                          <a:pt x="124385" y="253252"/>
                        </a:cubicBezTo>
                        <a:cubicBezTo>
                          <a:pt x="111531" y="259168"/>
                          <a:pt x="96463" y="262208"/>
                          <a:pt x="79180" y="262372"/>
                        </a:cubicBezTo>
                        <a:cubicBezTo>
                          <a:pt x="55729" y="262198"/>
                          <a:pt x="36775" y="255390"/>
                          <a:pt x="22317" y="241949"/>
                        </a:cubicBezTo>
                        <a:cubicBezTo>
                          <a:pt x="7859" y="228509"/>
                          <a:pt x="420" y="209480"/>
                          <a:pt x="0" y="184863"/>
                        </a:cubicBezTo>
                        <a:cubicBezTo>
                          <a:pt x="641" y="157098"/>
                          <a:pt x="9602" y="136471"/>
                          <a:pt x="26881" y="122983"/>
                        </a:cubicBezTo>
                        <a:cubicBezTo>
                          <a:pt x="44160" y="109495"/>
                          <a:pt x="65905" y="102781"/>
                          <a:pt x="92116" y="102841"/>
                        </a:cubicBezTo>
                        <a:cubicBezTo>
                          <a:pt x="103575" y="102958"/>
                          <a:pt x="114402" y="104548"/>
                          <a:pt x="124597" y="107610"/>
                        </a:cubicBezTo>
                        <a:cubicBezTo>
                          <a:pt x="134791" y="110673"/>
                          <a:pt x="143087" y="114507"/>
                          <a:pt x="149485" y="119112"/>
                        </a:cubicBezTo>
                        <a:cubicBezTo>
                          <a:pt x="150608" y="97950"/>
                          <a:pt x="147655" y="81808"/>
                          <a:pt x="140625" y="70686"/>
                        </a:cubicBezTo>
                        <a:cubicBezTo>
                          <a:pt x="133595" y="59565"/>
                          <a:pt x="120800" y="53962"/>
                          <a:pt x="102240" y="53879"/>
                        </a:cubicBezTo>
                        <a:cubicBezTo>
                          <a:pt x="87839" y="54078"/>
                          <a:pt x="75447" y="55931"/>
                          <a:pt x="65063" y="59437"/>
                        </a:cubicBezTo>
                        <a:cubicBezTo>
                          <a:pt x="54679" y="62942"/>
                          <a:pt x="44967" y="66905"/>
                          <a:pt x="35927" y="71325"/>
                        </a:cubicBezTo>
                        <a:lnTo>
                          <a:pt x="19647" y="24133"/>
                        </a:lnTo>
                        <a:cubicBezTo>
                          <a:pt x="30874" y="17480"/>
                          <a:pt x="44353" y="11844"/>
                          <a:pt x="60084" y="7226"/>
                        </a:cubicBezTo>
                        <a:cubicBezTo>
                          <a:pt x="75815" y="2607"/>
                          <a:pt x="92117" y="199"/>
                          <a:pt x="108989" y="0"/>
                        </a:cubicBezTo>
                        <a:close/>
                        <a:moveTo>
                          <a:pt x="105052" y="146605"/>
                        </a:moveTo>
                        <a:cubicBezTo>
                          <a:pt x="94014" y="146582"/>
                          <a:pt x="84593" y="149160"/>
                          <a:pt x="76789" y="154341"/>
                        </a:cubicBezTo>
                        <a:cubicBezTo>
                          <a:pt x="68985" y="159522"/>
                          <a:pt x="64908" y="167446"/>
                          <a:pt x="64556" y="178112"/>
                        </a:cubicBezTo>
                        <a:cubicBezTo>
                          <a:pt x="64791" y="187723"/>
                          <a:pt x="68259" y="195084"/>
                          <a:pt x="74961" y="200195"/>
                        </a:cubicBezTo>
                        <a:cubicBezTo>
                          <a:pt x="81664" y="205305"/>
                          <a:pt x="90194" y="207884"/>
                          <a:pt x="100552" y="207931"/>
                        </a:cubicBezTo>
                        <a:cubicBezTo>
                          <a:pt x="113910" y="207673"/>
                          <a:pt x="124456" y="205235"/>
                          <a:pt x="132189" y="200617"/>
                        </a:cubicBezTo>
                        <a:cubicBezTo>
                          <a:pt x="139923" y="195998"/>
                          <a:pt x="145688" y="190747"/>
                          <a:pt x="149485" y="184863"/>
                        </a:cubicBezTo>
                        <a:lnTo>
                          <a:pt x="149485" y="158983"/>
                        </a:lnTo>
                        <a:cubicBezTo>
                          <a:pt x="143872" y="154775"/>
                          <a:pt x="137380" y="151657"/>
                          <a:pt x="130010" y="149629"/>
                        </a:cubicBezTo>
                        <a:cubicBezTo>
                          <a:pt x="122640" y="147601"/>
                          <a:pt x="114320" y="146593"/>
                          <a:pt x="105052" y="14660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7" name="TextBox 3316">
                    <a:extLst>
                      <a:ext uri="{FF2B5EF4-FFF2-40B4-BE49-F238E27FC236}">
                        <a16:creationId xmlns:a16="http://schemas.microsoft.com/office/drawing/2014/main" id="{D723555E-2D88-6189-8BED-C73A0AA41C68}"/>
                      </a:ext>
                    </a:extLst>
                  </p:cNvPr>
                  <p:cNvSpPr txBox="1"/>
                  <p:nvPr/>
                </p:nvSpPr>
                <p:spPr>
                  <a:xfrm>
                    <a:off x="8509141" y="10677893"/>
                    <a:ext cx="237645" cy="26518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37645" h="265183">
                        <a:moveTo>
                          <a:pt x="130870" y="1"/>
                        </a:moveTo>
                        <a:cubicBezTo>
                          <a:pt x="151827" y="-46"/>
                          <a:pt x="171028" y="2714"/>
                          <a:pt x="188473" y="8280"/>
                        </a:cubicBezTo>
                        <a:cubicBezTo>
                          <a:pt x="205917" y="13847"/>
                          <a:pt x="220622" y="22501"/>
                          <a:pt x="232588" y="34242"/>
                        </a:cubicBezTo>
                        <a:lnTo>
                          <a:pt x="202241" y="85363"/>
                        </a:lnTo>
                        <a:cubicBezTo>
                          <a:pt x="192699" y="76214"/>
                          <a:pt x="182701" y="69772"/>
                          <a:pt x="172245" y="66035"/>
                        </a:cubicBezTo>
                        <a:cubicBezTo>
                          <a:pt x="161791" y="62299"/>
                          <a:pt x="150809" y="60495"/>
                          <a:pt x="139300" y="60624"/>
                        </a:cubicBezTo>
                        <a:cubicBezTo>
                          <a:pt x="120637" y="60846"/>
                          <a:pt x="104434" y="67289"/>
                          <a:pt x="90689" y="79951"/>
                        </a:cubicBezTo>
                        <a:cubicBezTo>
                          <a:pt x="76944" y="92613"/>
                          <a:pt x="69732" y="110160"/>
                          <a:pt x="69053" y="132592"/>
                        </a:cubicBezTo>
                        <a:cubicBezTo>
                          <a:pt x="69709" y="155292"/>
                          <a:pt x="77108" y="173003"/>
                          <a:pt x="91251" y="185724"/>
                        </a:cubicBezTo>
                        <a:cubicBezTo>
                          <a:pt x="105394" y="198445"/>
                          <a:pt x="122347" y="204911"/>
                          <a:pt x="142109" y="205122"/>
                        </a:cubicBezTo>
                        <a:cubicBezTo>
                          <a:pt x="155855" y="204958"/>
                          <a:pt x="168124" y="202053"/>
                          <a:pt x="178919" y="196407"/>
                        </a:cubicBezTo>
                        <a:cubicBezTo>
                          <a:pt x="189714" y="190761"/>
                          <a:pt x="199173" y="183358"/>
                          <a:pt x="207299" y="174198"/>
                        </a:cubicBezTo>
                        <a:lnTo>
                          <a:pt x="237645" y="221400"/>
                        </a:lnTo>
                        <a:cubicBezTo>
                          <a:pt x="226675" y="235749"/>
                          <a:pt x="212369" y="246624"/>
                          <a:pt x="194725" y="254027"/>
                        </a:cubicBezTo>
                        <a:cubicBezTo>
                          <a:pt x="177081" y="261429"/>
                          <a:pt x="157857" y="265148"/>
                          <a:pt x="137052" y="265183"/>
                        </a:cubicBezTo>
                        <a:cubicBezTo>
                          <a:pt x="95451" y="264647"/>
                          <a:pt x="62355" y="252527"/>
                          <a:pt x="37763" y="228823"/>
                        </a:cubicBezTo>
                        <a:cubicBezTo>
                          <a:pt x="13171" y="205118"/>
                          <a:pt x="584" y="173041"/>
                          <a:pt x="0" y="132592"/>
                        </a:cubicBezTo>
                        <a:cubicBezTo>
                          <a:pt x="642" y="94844"/>
                          <a:pt x="12832" y="63539"/>
                          <a:pt x="36569" y="38677"/>
                        </a:cubicBezTo>
                        <a:cubicBezTo>
                          <a:pt x="60307" y="13814"/>
                          <a:pt x="91741" y="922"/>
                          <a:pt x="130870" y="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6" name="TextBox 3315">
                    <a:extLst>
                      <a:ext uri="{FF2B5EF4-FFF2-40B4-BE49-F238E27FC236}">
                        <a16:creationId xmlns:a16="http://schemas.microsoft.com/office/drawing/2014/main" id="{5BB1FFF2-915F-AA45-160F-3535012FB5C3}"/>
                      </a:ext>
                    </a:extLst>
                  </p:cNvPr>
                  <p:cNvSpPr txBox="1"/>
                  <p:nvPr/>
                </p:nvSpPr>
                <p:spPr>
                  <a:xfrm>
                    <a:off x="9090166" y="10677894"/>
                    <a:ext cx="253381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53381" h="265182">
                        <a:moveTo>
                          <a:pt x="133719" y="0"/>
                        </a:moveTo>
                        <a:cubicBezTo>
                          <a:pt x="167234" y="464"/>
                          <a:pt x="195329" y="11181"/>
                          <a:pt x="218003" y="32150"/>
                        </a:cubicBezTo>
                        <a:cubicBezTo>
                          <a:pt x="240678" y="53119"/>
                          <a:pt x="252470" y="81553"/>
                          <a:pt x="253381" y="117453"/>
                        </a:cubicBezTo>
                        <a:cubicBezTo>
                          <a:pt x="253392" y="125192"/>
                          <a:pt x="253088" y="131771"/>
                          <a:pt x="252469" y="137192"/>
                        </a:cubicBezTo>
                        <a:cubicBezTo>
                          <a:pt x="251849" y="142613"/>
                          <a:pt x="250843" y="147647"/>
                          <a:pt x="249451" y="152295"/>
                        </a:cubicBezTo>
                        <a:lnTo>
                          <a:pt x="66805" y="152295"/>
                        </a:lnTo>
                        <a:cubicBezTo>
                          <a:pt x="69933" y="171473"/>
                          <a:pt x="78297" y="186084"/>
                          <a:pt x="91898" y="196129"/>
                        </a:cubicBezTo>
                        <a:cubicBezTo>
                          <a:pt x="105498" y="206174"/>
                          <a:pt x="122438" y="211232"/>
                          <a:pt x="142716" y="211302"/>
                        </a:cubicBezTo>
                        <a:cubicBezTo>
                          <a:pt x="158308" y="211080"/>
                          <a:pt x="172244" y="208715"/>
                          <a:pt x="184525" y="204208"/>
                        </a:cubicBezTo>
                        <a:cubicBezTo>
                          <a:pt x="196806" y="199700"/>
                          <a:pt x="206659" y="194385"/>
                          <a:pt x="214086" y="188261"/>
                        </a:cubicBezTo>
                        <a:lnTo>
                          <a:pt x="232610" y="233752"/>
                        </a:lnTo>
                        <a:cubicBezTo>
                          <a:pt x="219746" y="244392"/>
                          <a:pt x="204909" y="252297"/>
                          <a:pt x="188101" y="257465"/>
                        </a:cubicBezTo>
                        <a:cubicBezTo>
                          <a:pt x="171292" y="262633"/>
                          <a:pt x="153915" y="265205"/>
                          <a:pt x="135968" y="265182"/>
                        </a:cubicBezTo>
                        <a:cubicBezTo>
                          <a:pt x="94640" y="264646"/>
                          <a:pt x="61790" y="252528"/>
                          <a:pt x="37416" y="228828"/>
                        </a:cubicBezTo>
                        <a:cubicBezTo>
                          <a:pt x="13043" y="205129"/>
                          <a:pt x="571" y="173061"/>
                          <a:pt x="0" y="132626"/>
                        </a:cubicBezTo>
                        <a:cubicBezTo>
                          <a:pt x="372" y="94864"/>
                          <a:pt x="12260" y="63549"/>
                          <a:pt x="35662" y="38682"/>
                        </a:cubicBezTo>
                        <a:cubicBezTo>
                          <a:pt x="59064" y="13815"/>
                          <a:pt x="91750" y="921"/>
                          <a:pt x="133719" y="0"/>
                        </a:cubicBezTo>
                        <a:close/>
                        <a:moveTo>
                          <a:pt x="130908" y="53879"/>
                        </a:moveTo>
                        <a:cubicBezTo>
                          <a:pt x="111590" y="54102"/>
                          <a:pt x="96525" y="59143"/>
                          <a:pt x="85713" y="69001"/>
                        </a:cubicBezTo>
                        <a:cubicBezTo>
                          <a:pt x="74901" y="78860"/>
                          <a:pt x="67850" y="92201"/>
                          <a:pt x="64560" y="109023"/>
                        </a:cubicBezTo>
                        <a:lnTo>
                          <a:pt x="188824" y="109023"/>
                        </a:lnTo>
                        <a:cubicBezTo>
                          <a:pt x="188976" y="93186"/>
                          <a:pt x="184032" y="80126"/>
                          <a:pt x="173993" y="69845"/>
                        </a:cubicBezTo>
                        <a:cubicBezTo>
                          <a:pt x="163954" y="59565"/>
                          <a:pt x="149592" y="54243"/>
                          <a:pt x="130908" y="5387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5" name="TextBox 3314">
                    <a:extLst>
                      <a:ext uri="{FF2B5EF4-FFF2-40B4-BE49-F238E27FC236}">
                        <a16:creationId xmlns:a16="http://schemas.microsoft.com/office/drawing/2014/main" id="{9C376991-7861-64AF-61F3-0FB07F655755}"/>
                      </a:ext>
                    </a:extLst>
                  </p:cNvPr>
                  <p:cNvSpPr txBox="1"/>
                  <p:nvPr/>
                </p:nvSpPr>
                <p:spPr>
                  <a:xfrm>
                    <a:off x="9376478" y="10677894"/>
                    <a:ext cx="207861" cy="26518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7861" h="265182">
                        <a:moveTo>
                          <a:pt x="99427" y="0"/>
                        </a:moveTo>
                        <a:cubicBezTo>
                          <a:pt x="123855" y="421"/>
                          <a:pt x="144020" y="3928"/>
                          <a:pt x="159923" y="10523"/>
                        </a:cubicBezTo>
                        <a:cubicBezTo>
                          <a:pt x="175826" y="17118"/>
                          <a:pt x="187689" y="24273"/>
                          <a:pt x="195511" y="31991"/>
                        </a:cubicBezTo>
                        <a:lnTo>
                          <a:pt x="171372" y="78055"/>
                        </a:lnTo>
                        <a:cubicBezTo>
                          <a:pt x="163572" y="71883"/>
                          <a:pt x="153624" y="66377"/>
                          <a:pt x="141529" y="61540"/>
                        </a:cubicBezTo>
                        <a:cubicBezTo>
                          <a:pt x="129434" y="56702"/>
                          <a:pt x="116525" y="54149"/>
                          <a:pt x="102802" y="53879"/>
                        </a:cubicBezTo>
                        <a:cubicBezTo>
                          <a:pt x="92876" y="54090"/>
                          <a:pt x="85164" y="56339"/>
                          <a:pt x="79668" y="60626"/>
                        </a:cubicBezTo>
                        <a:cubicBezTo>
                          <a:pt x="74172" y="64913"/>
                          <a:pt x="71383" y="69973"/>
                          <a:pt x="71301" y="75806"/>
                        </a:cubicBezTo>
                        <a:cubicBezTo>
                          <a:pt x="72012" y="85886"/>
                          <a:pt x="79125" y="93276"/>
                          <a:pt x="92638" y="97979"/>
                        </a:cubicBezTo>
                        <a:cubicBezTo>
                          <a:pt x="106152" y="102682"/>
                          <a:pt x="121800" y="107473"/>
                          <a:pt x="139581" y="112351"/>
                        </a:cubicBezTo>
                        <a:cubicBezTo>
                          <a:pt x="157362" y="117230"/>
                          <a:pt x="173010" y="124972"/>
                          <a:pt x="186523" y="135578"/>
                        </a:cubicBezTo>
                        <a:cubicBezTo>
                          <a:pt x="200037" y="146184"/>
                          <a:pt x="207150" y="162430"/>
                          <a:pt x="207861" y="184316"/>
                        </a:cubicBezTo>
                        <a:cubicBezTo>
                          <a:pt x="207464" y="209559"/>
                          <a:pt x="198152" y="229286"/>
                          <a:pt x="179923" y="243498"/>
                        </a:cubicBezTo>
                        <a:cubicBezTo>
                          <a:pt x="161694" y="257709"/>
                          <a:pt x="136925" y="264937"/>
                          <a:pt x="105615" y="265182"/>
                        </a:cubicBezTo>
                        <a:cubicBezTo>
                          <a:pt x="81536" y="264504"/>
                          <a:pt x="59575" y="259546"/>
                          <a:pt x="39732" y="250309"/>
                        </a:cubicBezTo>
                        <a:cubicBezTo>
                          <a:pt x="19889" y="241072"/>
                          <a:pt x="6646" y="231624"/>
                          <a:pt x="0" y="221966"/>
                        </a:cubicBezTo>
                        <a:lnTo>
                          <a:pt x="31444" y="179818"/>
                        </a:lnTo>
                        <a:cubicBezTo>
                          <a:pt x="39771" y="188263"/>
                          <a:pt x="51614" y="195549"/>
                          <a:pt x="66971" y="201674"/>
                        </a:cubicBezTo>
                        <a:cubicBezTo>
                          <a:pt x="82328" y="207800"/>
                          <a:pt x="96710" y="211010"/>
                          <a:pt x="110115" y="211302"/>
                        </a:cubicBezTo>
                        <a:cubicBezTo>
                          <a:pt x="119619" y="211302"/>
                          <a:pt x="127471" y="209335"/>
                          <a:pt x="133670" y="205399"/>
                        </a:cubicBezTo>
                        <a:cubicBezTo>
                          <a:pt x="139870" y="201464"/>
                          <a:pt x="143081" y="195560"/>
                          <a:pt x="143304" y="187689"/>
                        </a:cubicBezTo>
                        <a:cubicBezTo>
                          <a:pt x="142592" y="177893"/>
                          <a:pt x="135480" y="170674"/>
                          <a:pt x="121966" y="166035"/>
                        </a:cubicBezTo>
                        <a:cubicBezTo>
                          <a:pt x="108453" y="161395"/>
                          <a:pt x="92805" y="156549"/>
                          <a:pt x="75024" y="151496"/>
                        </a:cubicBezTo>
                        <a:cubicBezTo>
                          <a:pt x="57243" y="146443"/>
                          <a:pt x="41595" y="138399"/>
                          <a:pt x="28082" y="127364"/>
                        </a:cubicBezTo>
                        <a:cubicBezTo>
                          <a:pt x="14568" y="116329"/>
                          <a:pt x="7455" y="99518"/>
                          <a:pt x="6744" y="76931"/>
                        </a:cubicBezTo>
                        <a:cubicBezTo>
                          <a:pt x="7339" y="52100"/>
                          <a:pt x="16253" y="33099"/>
                          <a:pt x="33486" y="19929"/>
                        </a:cubicBezTo>
                        <a:cubicBezTo>
                          <a:pt x="50719" y="6759"/>
                          <a:pt x="72700" y="116"/>
                          <a:pt x="9942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4" name="TextBox 3313">
                    <a:extLst>
                      <a:ext uri="{FF2B5EF4-FFF2-40B4-BE49-F238E27FC236}">
                        <a16:creationId xmlns:a16="http://schemas.microsoft.com/office/drawing/2014/main" id="{3385A2CF-89A9-8BFA-D161-1CC6679A0804}"/>
                      </a:ext>
                    </a:extLst>
                  </p:cNvPr>
                  <p:cNvSpPr txBox="1"/>
                  <p:nvPr/>
                </p:nvSpPr>
                <p:spPr>
                  <a:xfrm>
                    <a:off x="6172201" y="10679580"/>
                    <a:ext cx="161778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1778" h="257314">
                        <a:moveTo>
                          <a:pt x="122440" y="0"/>
                        </a:moveTo>
                        <a:cubicBezTo>
                          <a:pt x="132649" y="11"/>
                          <a:pt x="140751" y="830"/>
                          <a:pt x="146746" y="2456"/>
                        </a:cubicBezTo>
                        <a:cubicBezTo>
                          <a:pt x="152740" y="4081"/>
                          <a:pt x="157751" y="6443"/>
                          <a:pt x="161778" y="9542"/>
                        </a:cubicBezTo>
                        <a:lnTo>
                          <a:pt x="138737" y="70176"/>
                        </a:lnTo>
                        <a:cubicBezTo>
                          <a:pt x="132813" y="66582"/>
                          <a:pt x="127521" y="64077"/>
                          <a:pt x="122862" y="62660"/>
                        </a:cubicBezTo>
                        <a:cubicBezTo>
                          <a:pt x="118202" y="61243"/>
                          <a:pt x="112629" y="60564"/>
                          <a:pt x="106143" y="60623"/>
                        </a:cubicBezTo>
                        <a:cubicBezTo>
                          <a:pt x="95032" y="60834"/>
                          <a:pt x="86204" y="63503"/>
                          <a:pt x="79660" y="68631"/>
                        </a:cubicBezTo>
                        <a:cubicBezTo>
                          <a:pt x="73115" y="73759"/>
                          <a:pt x="68081" y="80081"/>
                          <a:pt x="64557" y="87598"/>
                        </a:cubicBezTo>
                        <a:lnTo>
                          <a:pt x="64557" y="257314"/>
                        </a:lnTo>
                        <a:lnTo>
                          <a:pt x="0" y="257314"/>
                        </a:lnTo>
                        <a:lnTo>
                          <a:pt x="0" y="4496"/>
                        </a:lnTo>
                        <a:lnTo>
                          <a:pt x="64557" y="4496"/>
                        </a:lnTo>
                        <a:lnTo>
                          <a:pt x="64557" y="29189"/>
                        </a:lnTo>
                        <a:cubicBezTo>
                          <a:pt x="70235" y="20851"/>
                          <a:pt x="77564" y="13951"/>
                          <a:pt x="86544" y="8490"/>
                        </a:cubicBezTo>
                        <a:cubicBezTo>
                          <a:pt x="95524" y="3029"/>
                          <a:pt x="107489" y="199"/>
                          <a:pt x="12244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3" name="TextBox 3312">
                    <a:extLst>
                      <a:ext uri="{FF2B5EF4-FFF2-40B4-BE49-F238E27FC236}">
                        <a16:creationId xmlns:a16="http://schemas.microsoft.com/office/drawing/2014/main" id="{AD284B5D-C091-8805-F9C2-0CB31B5B6BBE}"/>
                      </a:ext>
                    </a:extLst>
                  </p:cNvPr>
                  <p:cNvSpPr txBox="1"/>
                  <p:nvPr/>
                </p:nvSpPr>
                <p:spPr>
                  <a:xfrm>
                    <a:off x="7762876" y="10679580"/>
                    <a:ext cx="161778" cy="25731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61778" h="257314">
                        <a:moveTo>
                          <a:pt x="122440" y="0"/>
                        </a:moveTo>
                        <a:cubicBezTo>
                          <a:pt x="132649" y="11"/>
                          <a:pt x="140751" y="830"/>
                          <a:pt x="146745" y="2456"/>
                        </a:cubicBezTo>
                        <a:cubicBezTo>
                          <a:pt x="152740" y="4081"/>
                          <a:pt x="157751" y="6443"/>
                          <a:pt x="161778" y="9542"/>
                        </a:cubicBezTo>
                        <a:lnTo>
                          <a:pt x="138737" y="70176"/>
                        </a:lnTo>
                        <a:cubicBezTo>
                          <a:pt x="132813" y="66582"/>
                          <a:pt x="127521" y="64077"/>
                          <a:pt x="122861" y="62660"/>
                        </a:cubicBezTo>
                        <a:cubicBezTo>
                          <a:pt x="118202" y="61243"/>
                          <a:pt x="112629" y="60564"/>
                          <a:pt x="106143" y="60623"/>
                        </a:cubicBezTo>
                        <a:cubicBezTo>
                          <a:pt x="95032" y="60834"/>
                          <a:pt x="86205" y="63503"/>
                          <a:pt x="79660" y="68631"/>
                        </a:cubicBezTo>
                        <a:cubicBezTo>
                          <a:pt x="73115" y="73759"/>
                          <a:pt x="68081" y="80081"/>
                          <a:pt x="64557" y="87598"/>
                        </a:cubicBezTo>
                        <a:lnTo>
                          <a:pt x="64557" y="257314"/>
                        </a:lnTo>
                        <a:lnTo>
                          <a:pt x="0" y="257314"/>
                        </a:lnTo>
                        <a:lnTo>
                          <a:pt x="0" y="4496"/>
                        </a:lnTo>
                        <a:lnTo>
                          <a:pt x="64557" y="4496"/>
                        </a:lnTo>
                        <a:lnTo>
                          <a:pt x="64557" y="29189"/>
                        </a:lnTo>
                        <a:cubicBezTo>
                          <a:pt x="70235" y="20851"/>
                          <a:pt x="77564" y="13951"/>
                          <a:pt x="86544" y="8490"/>
                        </a:cubicBezTo>
                        <a:cubicBezTo>
                          <a:pt x="95524" y="3029"/>
                          <a:pt x="107489" y="199"/>
                          <a:pt x="12244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2" name="TextBox 3311">
                    <a:extLst>
                      <a:ext uri="{FF2B5EF4-FFF2-40B4-BE49-F238E27FC236}">
                        <a16:creationId xmlns:a16="http://schemas.microsoft.com/office/drawing/2014/main" id="{07512A08-E4B7-5282-7891-AC086CD0763E}"/>
                      </a:ext>
                    </a:extLst>
                  </p:cNvPr>
                  <p:cNvSpPr txBox="1"/>
                  <p:nvPr/>
                </p:nvSpPr>
                <p:spPr>
                  <a:xfrm>
                    <a:off x="8220077" y="10679565"/>
                    <a:ext cx="241017" cy="25732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41017" h="257329">
                        <a:moveTo>
                          <a:pt x="137097" y="15"/>
                        </a:moveTo>
                        <a:cubicBezTo>
                          <a:pt x="168472" y="-396"/>
                          <a:pt x="193519" y="7863"/>
                          <a:pt x="212239" y="24790"/>
                        </a:cubicBezTo>
                        <a:cubicBezTo>
                          <a:pt x="230958" y="41718"/>
                          <a:pt x="240550" y="69777"/>
                          <a:pt x="241017" y="108968"/>
                        </a:cubicBezTo>
                        <a:lnTo>
                          <a:pt x="241017" y="257329"/>
                        </a:lnTo>
                        <a:lnTo>
                          <a:pt x="176459" y="257329"/>
                        </a:lnTo>
                        <a:lnTo>
                          <a:pt x="176459" y="120207"/>
                        </a:lnTo>
                        <a:cubicBezTo>
                          <a:pt x="176342" y="100023"/>
                          <a:pt x="171375" y="85037"/>
                          <a:pt x="161558" y="75249"/>
                        </a:cubicBezTo>
                        <a:cubicBezTo>
                          <a:pt x="151741" y="65461"/>
                          <a:pt x="137776" y="60591"/>
                          <a:pt x="119665" y="60638"/>
                        </a:cubicBezTo>
                        <a:cubicBezTo>
                          <a:pt x="108722" y="60696"/>
                          <a:pt x="98695" y="62827"/>
                          <a:pt x="89580" y="67030"/>
                        </a:cubicBezTo>
                        <a:cubicBezTo>
                          <a:pt x="80466" y="71233"/>
                          <a:pt x="72124" y="77158"/>
                          <a:pt x="64557" y="84803"/>
                        </a:cubicBezTo>
                        <a:lnTo>
                          <a:pt x="64557" y="257329"/>
                        </a:lnTo>
                        <a:lnTo>
                          <a:pt x="0" y="257329"/>
                        </a:lnTo>
                        <a:lnTo>
                          <a:pt x="0" y="4511"/>
                        </a:lnTo>
                        <a:lnTo>
                          <a:pt x="64557" y="4511"/>
                        </a:lnTo>
                        <a:lnTo>
                          <a:pt x="64557" y="29765"/>
                        </a:lnTo>
                        <a:cubicBezTo>
                          <a:pt x="72324" y="21404"/>
                          <a:pt x="82516" y="14410"/>
                          <a:pt x="95133" y="8785"/>
                        </a:cubicBezTo>
                        <a:cubicBezTo>
                          <a:pt x="107750" y="3160"/>
                          <a:pt x="121738" y="237"/>
                          <a:pt x="137097" y="1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1" name="TextBox 3310">
                    <a:extLst>
                      <a:ext uri="{FF2B5EF4-FFF2-40B4-BE49-F238E27FC236}">
                        <a16:creationId xmlns:a16="http://schemas.microsoft.com/office/drawing/2014/main" id="{A4BA74F8-5D12-42BD-0E89-59DFD99A4AFC}"/>
                      </a:ext>
                    </a:extLst>
                  </p:cNvPr>
                  <p:cNvSpPr txBox="1"/>
                  <p:nvPr/>
                </p:nvSpPr>
                <p:spPr>
                  <a:xfrm>
                    <a:off x="6334538" y="10684076"/>
                    <a:ext cx="273120" cy="25394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73120" h="253942">
                        <a:moveTo>
                          <a:pt x="0" y="0"/>
                        </a:moveTo>
                        <a:lnTo>
                          <a:pt x="76991" y="0"/>
                        </a:lnTo>
                        <a:lnTo>
                          <a:pt x="123635" y="108431"/>
                        </a:lnTo>
                        <a:cubicBezTo>
                          <a:pt x="127100" y="116226"/>
                          <a:pt x="130566" y="125215"/>
                          <a:pt x="134031" y="135398"/>
                        </a:cubicBezTo>
                        <a:cubicBezTo>
                          <a:pt x="137497" y="145581"/>
                          <a:pt x="140400" y="155694"/>
                          <a:pt x="142742" y="165736"/>
                        </a:cubicBezTo>
                        <a:cubicBezTo>
                          <a:pt x="145060" y="155963"/>
                          <a:pt x="147870" y="145874"/>
                          <a:pt x="151172" y="135468"/>
                        </a:cubicBezTo>
                        <a:cubicBezTo>
                          <a:pt x="154473" y="125063"/>
                          <a:pt x="157845" y="115676"/>
                          <a:pt x="161287" y="107307"/>
                        </a:cubicBezTo>
                        <a:lnTo>
                          <a:pt x="205121" y="0"/>
                        </a:lnTo>
                        <a:lnTo>
                          <a:pt x="273120" y="0"/>
                        </a:lnTo>
                        <a:lnTo>
                          <a:pt x="164097" y="253942"/>
                        </a:lnTo>
                        <a:lnTo>
                          <a:pt x="116329" y="25394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3310" name="TextBox 3309">
                    <a:extLst>
                      <a:ext uri="{FF2B5EF4-FFF2-40B4-BE49-F238E27FC236}">
                        <a16:creationId xmlns:a16="http://schemas.microsoft.com/office/drawing/2014/main" id="{180F0F27-9810-09BD-C34C-5F3FAD3BA2F8}"/>
                      </a:ext>
                    </a:extLst>
                  </p:cNvPr>
                  <p:cNvSpPr txBox="1"/>
                  <p:nvPr/>
                </p:nvSpPr>
                <p:spPr>
                  <a:xfrm>
                    <a:off x="6648480" y="10684076"/>
                    <a:ext cx="64557" cy="2528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4557" h="252818">
                        <a:moveTo>
                          <a:pt x="0" y="0"/>
                        </a:moveTo>
                        <a:lnTo>
                          <a:pt x="64557" y="0"/>
                        </a:lnTo>
                        <a:lnTo>
                          <a:pt x="64557" y="252818"/>
                        </a:lnTo>
                        <a:lnTo>
                          <a:pt x="0" y="25281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996" b="1" dirty="0">
                      <a:solidFill>
                        <a:srgbClr val="434343"/>
                      </a:solidFill>
                      <a:latin typeface="Circe Bold" panose="020B0602020203020203" pitchFamily="34" charset="-52"/>
                      <a:cs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3094" name="TextBox 3093">
                  <a:extLst>
                    <a:ext uri="{FF2B5EF4-FFF2-40B4-BE49-F238E27FC236}">
                      <a16:creationId xmlns:a16="http://schemas.microsoft.com/office/drawing/2014/main" id="{4779DD24-7A11-9710-5948-060803C8076E}"/>
                    </a:ext>
                  </a:extLst>
                </p:cNvPr>
                <p:cNvSpPr txBox="1"/>
                <p:nvPr/>
              </p:nvSpPr>
              <p:spPr>
                <a:xfrm>
                  <a:off x="479834" y="5521382"/>
                  <a:ext cx="8480990" cy="10974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uk-UA"/>
                  </a:defPPr>
                  <a:lvl1pPr marL="342900" indent="-342900">
                    <a:buClr>
                      <a:schemeClr val="tx1">
                        <a:lumMod val="50000"/>
                        <a:lumOff val="50000"/>
                      </a:schemeClr>
                    </a:buClr>
                    <a:buSzPct val="120000"/>
                    <a:buFont typeface="Calibri Light" panose="020F0302020204030204" pitchFamily="34" charset="0"/>
                    <a:buChar char="└"/>
                    <a:defRPr>
                      <a:latin typeface="Calibri" panose="020F0502020204030204" pitchFamily="34" charset="0"/>
                      <a:cs typeface="Calibri" panose="020F0502020204030204" pitchFamily="34" charset="0"/>
                    </a:defRPr>
                  </a:lvl1pPr>
                </a:lstStyle>
                <a:p>
                  <a:pPr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Constructions, reconstructions and repairs of oil &amp; gas pipelines and ground equipment</a:t>
                  </a:r>
                </a:p>
                <a:p>
                  <a:pPr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Repairs &amp; maintenance of gas compressor stations and other gas installations</a:t>
                  </a:r>
                </a:p>
                <a:p>
                  <a:pPr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Expert &amp; technical inspections of gas industry facilities</a:t>
                  </a:r>
                </a:p>
                <a:p>
                  <a:pPr>
                    <a:buFont typeface="Calibri Light" panose="020F0302020204030204" pitchFamily="34" charset="0"/>
                    <a:buChar char="›"/>
                  </a:pPr>
                  <a:r>
                    <a:rPr lang="en-US" sz="1633" dirty="0">
                      <a:solidFill>
                        <a:srgbClr val="000000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R&amp;D </a:t>
                  </a:r>
                  <a:r>
                    <a:rPr lang="en-US" sz="1633" dirty="0"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institute of gas transportation </a:t>
                  </a:r>
                </a:p>
              </p:txBody>
            </p:sp>
          </p:grpSp>
          <p:grpSp>
            <p:nvGrpSpPr>
              <p:cNvPr id="3123" name="Групувати 3122">
                <a:extLst>
                  <a:ext uri="{FF2B5EF4-FFF2-40B4-BE49-F238E27FC236}">
                    <a16:creationId xmlns:a16="http://schemas.microsoft.com/office/drawing/2014/main" id="{28961C82-5B33-C20D-3EBA-1CE03F20CA0B}"/>
                  </a:ext>
                </a:extLst>
              </p:cNvPr>
              <p:cNvGrpSpPr/>
              <p:nvPr/>
            </p:nvGrpSpPr>
            <p:grpSpPr>
              <a:xfrm>
                <a:off x="-8528" y="806799"/>
                <a:ext cx="121430" cy="5736877"/>
                <a:chOff x="-8528" y="806799"/>
                <a:chExt cx="121430" cy="5736877"/>
              </a:xfrm>
            </p:grpSpPr>
            <p:sp>
              <p:nvSpPr>
                <p:cNvPr id="3120" name="Прямокутник 3119">
                  <a:extLst>
                    <a:ext uri="{FF2B5EF4-FFF2-40B4-BE49-F238E27FC236}">
                      <a16:creationId xmlns:a16="http://schemas.microsoft.com/office/drawing/2014/main" id="{A7C6BE7B-4983-9EA5-AFF4-D1003785AF91}"/>
                    </a:ext>
                  </a:extLst>
                </p:cNvPr>
                <p:cNvSpPr/>
                <p:nvPr/>
              </p:nvSpPr>
              <p:spPr>
                <a:xfrm>
                  <a:off x="-1" y="806799"/>
                  <a:ext cx="112903" cy="1362969"/>
                </a:xfrm>
                <a:prstGeom prst="rect">
                  <a:avLst/>
                </a:prstGeom>
                <a:solidFill>
                  <a:srgbClr val="0BA4DE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121" name="Прямокутник 3120">
                  <a:extLst>
                    <a:ext uri="{FF2B5EF4-FFF2-40B4-BE49-F238E27FC236}">
                      <a16:creationId xmlns:a16="http://schemas.microsoft.com/office/drawing/2014/main" id="{1DED5786-15F0-EE11-B1A0-D8AAD49DC838}"/>
                    </a:ext>
                  </a:extLst>
                </p:cNvPr>
                <p:cNvSpPr/>
                <p:nvPr/>
              </p:nvSpPr>
              <p:spPr>
                <a:xfrm>
                  <a:off x="-8528" y="2691500"/>
                  <a:ext cx="120466" cy="1728099"/>
                </a:xfrm>
                <a:prstGeom prst="rect">
                  <a:avLst/>
                </a:prstGeom>
                <a:solidFill>
                  <a:srgbClr val="0BA4DE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122" name="Прямокутник 3121">
                  <a:extLst>
                    <a:ext uri="{FF2B5EF4-FFF2-40B4-BE49-F238E27FC236}">
                      <a16:creationId xmlns:a16="http://schemas.microsoft.com/office/drawing/2014/main" id="{57201B14-69C0-E0C3-8748-F7F3ECAB7264}"/>
                    </a:ext>
                  </a:extLst>
                </p:cNvPr>
                <p:cNvSpPr/>
                <p:nvPr/>
              </p:nvSpPr>
              <p:spPr>
                <a:xfrm>
                  <a:off x="1040" y="5223460"/>
                  <a:ext cx="110898" cy="1320216"/>
                </a:xfrm>
                <a:prstGeom prst="rect">
                  <a:avLst/>
                </a:prstGeom>
                <a:solidFill>
                  <a:srgbClr val="0BA4DE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</p:grpSp>
          <p:grpSp>
            <p:nvGrpSpPr>
              <p:cNvPr id="2" name="Групувати 1">
                <a:extLst>
                  <a:ext uri="{FF2B5EF4-FFF2-40B4-BE49-F238E27FC236}">
                    <a16:creationId xmlns:a16="http://schemas.microsoft.com/office/drawing/2014/main" id="{518A1F0C-8E0E-AFCE-C0C9-702A15EC7F30}"/>
                  </a:ext>
                </a:extLst>
              </p:cNvPr>
              <p:cNvGrpSpPr/>
              <p:nvPr/>
            </p:nvGrpSpPr>
            <p:grpSpPr>
              <a:xfrm>
                <a:off x="8182611" y="972298"/>
                <a:ext cx="3670440" cy="2121434"/>
                <a:chOff x="8450461" y="972298"/>
                <a:chExt cx="3670440" cy="2121434"/>
              </a:xfrm>
            </p:grpSpPr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123E1C58-6EAD-DB76-B40B-DD17A4602947}"/>
                    </a:ext>
                  </a:extLst>
                </p:cNvPr>
                <p:cNvSpPr txBox="1"/>
                <p:nvPr/>
              </p:nvSpPr>
              <p:spPr>
                <a:xfrm>
                  <a:off x="10165125" y="1122970"/>
                  <a:ext cx="1713560" cy="42493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noAutofit/>
                </a:bodyPr>
                <a:lstStyle>
                  <a:defPPr>
                    <a:defRPr lang="uk-UA"/>
                  </a:defPPr>
                  <a:lvl1pPr>
                    <a:spcAft>
                      <a:spcPts val="300"/>
                    </a:spcAft>
                    <a:tabLst>
                      <a:tab pos="177782" algn="l"/>
                    </a:tabLst>
                    <a:defRPr sz="1600"/>
                  </a:lvl1pPr>
                </a:lstStyle>
                <a:p>
                  <a: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Firm import capacities </a:t>
                  </a:r>
                  <a:b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</a:br>
                  <a: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to Ukraine</a:t>
                  </a:r>
                  <a:endParaRPr lang="uk-UA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CE1470CF-80A2-1F23-5E30-F597E8795FA6}"/>
                    </a:ext>
                  </a:extLst>
                </p:cNvPr>
                <p:cNvSpPr txBox="1"/>
                <p:nvPr/>
              </p:nvSpPr>
              <p:spPr>
                <a:xfrm>
                  <a:off x="10184851" y="2616696"/>
                  <a:ext cx="1791294" cy="42493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noAutofit/>
                </a:bodyPr>
                <a:lstStyle/>
                <a:p>
                  <a:pPr>
                    <a:spcAft>
                      <a:spcPts val="239"/>
                    </a:spcAft>
                    <a:tabLst>
                      <a:tab pos="141438" algn="l"/>
                    </a:tabLst>
                  </a:pPr>
                  <a: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Firm export capacities from Ukraine</a:t>
                  </a:r>
                  <a:endParaRPr lang="uk-UA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grpSp>
              <p:nvGrpSpPr>
                <p:cNvPr id="28" name="Групувати 27">
                  <a:extLst>
                    <a:ext uri="{FF2B5EF4-FFF2-40B4-BE49-F238E27FC236}">
                      <a16:creationId xmlns:a16="http://schemas.microsoft.com/office/drawing/2014/main" id="{C6AC8274-7524-73F8-1FCE-55EB70C8F7F0}"/>
                    </a:ext>
                  </a:extLst>
                </p:cNvPr>
                <p:cNvGrpSpPr/>
                <p:nvPr/>
              </p:nvGrpSpPr>
              <p:grpSpPr>
                <a:xfrm>
                  <a:off x="8450461" y="2398131"/>
                  <a:ext cx="2154029" cy="695601"/>
                  <a:chOff x="8291385" y="1843421"/>
                  <a:chExt cx="2149229" cy="755623"/>
                </a:xfrm>
              </p:grpSpPr>
              <p:sp>
                <p:nvSpPr>
                  <p:cNvPr id="29" name="TextBox 28">
                    <a:extLst>
                      <a:ext uri="{FF2B5EF4-FFF2-40B4-BE49-F238E27FC236}">
                        <a16:creationId xmlns:a16="http://schemas.microsoft.com/office/drawing/2014/main" id="{67C7FA4E-CB6B-732B-4FE0-580AF4E8D549}"/>
                      </a:ext>
                    </a:extLst>
                  </p:cNvPr>
                  <p:cNvSpPr txBox="1"/>
                  <p:nvPr/>
                </p:nvSpPr>
                <p:spPr>
                  <a:xfrm>
                    <a:off x="8291385" y="2303227"/>
                    <a:ext cx="2149229" cy="295817"/>
                  </a:xfrm>
                  <a:prstGeom prst="rect">
                    <a:avLst/>
                  </a:prstGeom>
                  <a:noFill/>
                </p:spPr>
                <p:txBody>
                  <a:bodyPr wrap="square" anchor="ctr">
                    <a:spAutoFit/>
                  </a:bodyPr>
                  <a:lstStyle/>
                  <a:p>
                    <a:pPr algn="ctr">
                      <a:lnSpc>
                        <a:spcPts val="875"/>
                      </a:lnSpc>
                    </a:pPr>
                    <a:r>
                      <a:rPr lang="uk-UA" sz="3200" b="1" dirty="0">
                        <a:solidFill>
                          <a:srgbClr val="00A1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</a:t>
                    </a:r>
                    <a:r>
                      <a:rPr lang="en-US" sz="3200" b="1" dirty="0">
                        <a:solidFill>
                          <a:srgbClr val="00A1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00</a:t>
                    </a:r>
                    <a:r>
                      <a:rPr lang="en-US" sz="2400" b="1" spc="-119" dirty="0">
                        <a:solidFill>
                          <a:srgbClr val="00A1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+</a:t>
                    </a:r>
                    <a:endParaRPr lang="uk-UA" sz="1200" dirty="0">
                      <a:solidFill>
                        <a:srgbClr val="00A1E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0" name="TextBox 29">
                    <a:extLst>
                      <a:ext uri="{FF2B5EF4-FFF2-40B4-BE49-F238E27FC236}">
                        <a16:creationId xmlns:a16="http://schemas.microsoft.com/office/drawing/2014/main" id="{E59E3729-C401-B1B5-8818-F2697C5C6F58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9518210" y="2092357"/>
                    <a:ext cx="728189" cy="230318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sz="900" b="1" dirty="0">
                        <a:solidFill>
                          <a:srgbClr val="00A1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mcm/d</a:t>
                    </a:r>
                    <a:endParaRPr lang="uk-UA" sz="900" b="1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31" name="Групувати 30">
                  <a:extLst>
                    <a:ext uri="{FF2B5EF4-FFF2-40B4-BE49-F238E27FC236}">
                      <a16:creationId xmlns:a16="http://schemas.microsoft.com/office/drawing/2014/main" id="{9F15FF1C-34A2-7978-2643-B9F0CAB9831E}"/>
                    </a:ext>
                  </a:extLst>
                </p:cNvPr>
                <p:cNvGrpSpPr/>
                <p:nvPr/>
              </p:nvGrpSpPr>
              <p:grpSpPr>
                <a:xfrm>
                  <a:off x="8992124" y="972298"/>
                  <a:ext cx="1334319" cy="824784"/>
                  <a:chOff x="9004038" y="872479"/>
                  <a:chExt cx="1331345" cy="895954"/>
                </a:xfrm>
              </p:grpSpPr>
              <p:sp>
                <p:nvSpPr>
                  <p:cNvPr id="32" name="TextBox 31">
                    <a:extLst>
                      <a:ext uri="{FF2B5EF4-FFF2-40B4-BE49-F238E27FC236}">
                        <a16:creationId xmlns:a16="http://schemas.microsoft.com/office/drawing/2014/main" id="{197A8777-769E-F6C0-8A92-6728F40AD546}"/>
                      </a:ext>
                    </a:extLst>
                  </p:cNvPr>
                  <p:cNvSpPr txBox="1"/>
                  <p:nvPr/>
                </p:nvSpPr>
                <p:spPr>
                  <a:xfrm>
                    <a:off x="9004038" y="1298484"/>
                    <a:ext cx="1331345" cy="469949"/>
                  </a:xfrm>
                  <a:prstGeom prst="rect">
                    <a:avLst/>
                  </a:prstGeom>
                  <a:noFill/>
                </p:spPr>
                <p:txBody>
                  <a:bodyPr wrap="square" anchor="ctr">
                    <a:spAutoFit/>
                  </a:bodyPr>
                  <a:lstStyle>
                    <a:defPPr>
                      <a:defRPr lang="uk-UA"/>
                    </a:defPPr>
                    <a:lvl1pPr algn="ctr">
                      <a:lnSpc>
                        <a:spcPts val="1100"/>
                      </a:lnSpc>
                      <a:defRPr sz="6000" b="1">
                        <a:solidFill>
                          <a:srgbClr val="00A1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r>
                      <a:rPr lang="uk-UA" sz="32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54</a:t>
                    </a:r>
                    <a:br>
                      <a:rPr lang="en-US" sz="32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</a:br>
                    <a:endParaRPr lang="uk-UA" sz="3200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p:txBody>
              </p:sp>
              <p:sp>
                <p:nvSpPr>
                  <p:cNvPr id="33" name="TextBox 32">
                    <a:extLst>
                      <a:ext uri="{FF2B5EF4-FFF2-40B4-BE49-F238E27FC236}">
                        <a16:creationId xmlns:a16="http://schemas.microsoft.com/office/drawing/2014/main" id="{DE0C0C6D-737C-51BE-3220-933F04EEE914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9698485" y="1100741"/>
                    <a:ext cx="686841" cy="230318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mcm/d</a:t>
                    </a:r>
                    <a:endParaRPr lang="uk-UA" sz="900" b="1" dirty="0">
                      <a:solidFill>
                        <a:schemeClr val="accent1">
                          <a:lumMod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3124" name="Групувати 3123">
                  <a:extLst>
                    <a:ext uri="{FF2B5EF4-FFF2-40B4-BE49-F238E27FC236}">
                      <a16:creationId xmlns:a16="http://schemas.microsoft.com/office/drawing/2014/main" id="{DDC637E2-1390-C8DC-40D1-B7FBEA515237}"/>
                    </a:ext>
                  </a:extLst>
                </p:cNvPr>
                <p:cNvGrpSpPr/>
                <p:nvPr/>
              </p:nvGrpSpPr>
              <p:grpSpPr>
                <a:xfrm>
                  <a:off x="8915733" y="1530746"/>
                  <a:ext cx="1334319" cy="814409"/>
                  <a:chOff x="8919030" y="872479"/>
                  <a:chExt cx="1331345" cy="884684"/>
                </a:xfrm>
              </p:grpSpPr>
              <p:sp>
                <p:nvSpPr>
                  <p:cNvPr id="3125" name="TextBox 3124">
                    <a:extLst>
                      <a:ext uri="{FF2B5EF4-FFF2-40B4-BE49-F238E27FC236}">
                        <a16:creationId xmlns:a16="http://schemas.microsoft.com/office/drawing/2014/main" id="{89732F8C-BE4B-526F-DDE8-2B2D30AC77DD}"/>
                      </a:ext>
                    </a:extLst>
                  </p:cNvPr>
                  <p:cNvSpPr txBox="1"/>
                  <p:nvPr/>
                </p:nvSpPr>
                <p:spPr>
                  <a:xfrm>
                    <a:off x="8919030" y="1287213"/>
                    <a:ext cx="1331345" cy="469950"/>
                  </a:xfrm>
                  <a:prstGeom prst="rect">
                    <a:avLst/>
                  </a:prstGeom>
                  <a:noFill/>
                </p:spPr>
                <p:txBody>
                  <a:bodyPr wrap="square" anchor="ctr">
                    <a:spAutoFit/>
                  </a:bodyPr>
                  <a:lstStyle>
                    <a:defPPr>
                      <a:defRPr lang="uk-UA"/>
                    </a:defPPr>
                    <a:lvl1pPr algn="ctr">
                      <a:lnSpc>
                        <a:spcPts val="1100"/>
                      </a:lnSpc>
                      <a:defRPr sz="6000" b="1">
                        <a:solidFill>
                          <a:srgbClr val="00A1E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</a:lstStyle>
                  <a:p>
                    <a:r>
                      <a:rPr lang="en-US" sz="32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113</a:t>
                    </a:r>
                    <a:br>
                      <a:rPr lang="en-US" sz="32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</a:br>
                    <a:endParaRPr lang="uk-UA" sz="3200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p:txBody>
              </p:sp>
              <p:sp>
                <p:nvSpPr>
                  <p:cNvPr id="3126" name="TextBox 3125">
                    <a:extLst>
                      <a:ext uri="{FF2B5EF4-FFF2-40B4-BE49-F238E27FC236}">
                        <a16:creationId xmlns:a16="http://schemas.microsoft.com/office/drawing/2014/main" id="{F11843FA-4ACC-4074-29C8-5E45D88DFECA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9698485" y="1100741"/>
                    <a:ext cx="686841" cy="230318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r>
                      <a: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mcm/d</a:t>
                    </a:r>
                    <a:endParaRPr lang="uk-UA" sz="900" b="1" dirty="0">
                      <a:solidFill>
                        <a:schemeClr val="accent1">
                          <a:lumMod val="50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3127" name="TextBox 3126">
                  <a:extLst>
                    <a:ext uri="{FF2B5EF4-FFF2-40B4-BE49-F238E27FC236}">
                      <a16:creationId xmlns:a16="http://schemas.microsoft.com/office/drawing/2014/main" id="{5EA59BA2-0826-F204-9B77-FBFFA02B286D}"/>
                    </a:ext>
                  </a:extLst>
                </p:cNvPr>
                <p:cNvSpPr txBox="1"/>
                <p:nvPr/>
              </p:nvSpPr>
              <p:spPr>
                <a:xfrm>
                  <a:off x="10186590" y="1744830"/>
                  <a:ext cx="1934311" cy="42493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noAutofit/>
                </a:bodyPr>
                <a:lstStyle>
                  <a:defPPr>
                    <a:defRPr lang="uk-UA"/>
                  </a:defPPr>
                  <a:lvl1pPr>
                    <a:spcAft>
                      <a:spcPts val="300"/>
                    </a:spcAft>
                    <a:tabLst>
                      <a:tab pos="177782" algn="l"/>
                    </a:tabLst>
                    <a:defRPr sz="1600"/>
                  </a:lvl1pPr>
                </a:lstStyle>
                <a:p>
                  <a:r>
                    <a:rPr lang="en-US" sz="1200" dirty="0"/>
                    <a:t>Interruptible</a:t>
                  </a:r>
                  <a: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 import capacities </a:t>
                  </a:r>
                  <a:b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</a:br>
                  <a: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to Ukraine</a:t>
                  </a:r>
                  <a:endParaRPr lang="uk-UA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21" name="Групувати 20">
                <a:extLst>
                  <a:ext uri="{FF2B5EF4-FFF2-40B4-BE49-F238E27FC236}">
                    <a16:creationId xmlns:a16="http://schemas.microsoft.com/office/drawing/2014/main" id="{969710FC-0C11-613E-3857-F573FEE3540F}"/>
                  </a:ext>
                </a:extLst>
              </p:cNvPr>
              <p:cNvGrpSpPr/>
              <p:nvPr/>
            </p:nvGrpSpPr>
            <p:grpSpPr>
              <a:xfrm>
                <a:off x="9833612" y="6486996"/>
                <a:ext cx="2675681" cy="307778"/>
                <a:chOff x="10724128" y="3806596"/>
                <a:chExt cx="2669719" cy="334335"/>
              </a:xfrm>
            </p:grpSpPr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E9C18F2B-8811-E24D-5920-D0F4E94B5C79}"/>
                    </a:ext>
                  </a:extLst>
                </p:cNvPr>
                <p:cNvSpPr txBox="1"/>
                <p:nvPr/>
              </p:nvSpPr>
              <p:spPr>
                <a:xfrm>
                  <a:off x="10918824" y="3806596"/>
                  <a:ext cx="2475023" cy="33433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uk-UA"/>
                  </a:defPPr>
                  <a:lvl1pPr>
                    <a:defRPr sz="1400" b="0" i="0" u="none" strike="noStrike">
                      <a:solidFill>
                        <a:srgbClr val="000000"/>
                      </a:solidFill>
                      <a:effectLst/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lvl1pPr>
                </a:lstStyle>
                <a:p>
                  <a:r>
                    <a:rPr lang="en-US" dirty="0"/>
                    <a:t>Entry</a:t>
                  </a:r>
                  <a:r>
                    <a:rPr lang="uk-UA" dirty="0"/>
                    <a:t>/</a:t>
                  </a:r>
                  <a:r>
                    <a:rPr lang="en-US" dirty="0"/>
                    <a:t>exit points</a:t>
                  </a:r>
                  <a:endParaRPr lang="uk-UA" dirty="0"/>
                </a:p>
              </p:txBody>
            </p:sp>
            <p:sp>
              <p:nvSpPr>
                <p:cNvPr id="23" name="Овал 22">
                  <a:extLst>
                    <a:ext uri="{FF2B5EF4-FFF2-40B4-BE49-F238E27FC236}">
                      <a16:creationId xmlns:a16="http://schemas.microsoft.com/office/drawing/2014/main" id="{ED80FA0C-23B0-421A-85D4-AD0D78734076}"/>
                    </a:ext>
                  </a:extLst>
                </p:cNvPr>
                <p:cNvSpPr/>
                <p:nvPr/>
              </p:nvSpPr>
              <p:spPr>
                <a:xfrm>
                  <a:off x="10724128" y="3904135"/>
                  <a:ext cx="161914" cy="161914"/>
                </a:xfrm>
                <a:prstGeom prst="ellipse">
                  <a:avLst/>
                </a:prstGeom>
                <a:solidFill>
                  <a:schemeClr val="bg1"/>
                </a:solidFill>
                <a:ln w="82550">
                  <a:solidFill>
                    <a:srgbClr val="FFC637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 sz="2744"/>
                </a:p>
              </p:txBody>
            </p:sp>
          </p:grpSp>
          <p:grpSp>
            <p:nvGrpSpPr>
              <p:cNvPr id="3415" name="Групувати 3414">
                <a:extLst>
                  <a:ext uri="{FF2B5EF4-FFF2-40B4-BE49-F238E27FC236}">
                    <a16:creationId xmlns:a16="http://schemas.microsoft.com/office/drawing/2014/main" id="{183821D7-E922-B5C9-EA4A-49177A68CEE9}"/>
                  </a:ext>
                </a:extLst>
              </p:cNvPr>
              <p:cNvGrpSpPr/>
              <p:nvPr/>
            </p:nvGrpSpPr>
            <p:grpSpPr>
              <a:xfrm>
                <a:off x="10570261" y="104129"/>
                <a:ext cx="1405132" cy="300056"/>
                <a:chOff x="8944864" y="1776832"/>
                <a:chExt cx="1022457" cy="221924"/>
              </a:xfrm>
            </p:grpSpPr>
            <p:sp>
              <p:nvSpPr>
                <p:cNvPr id="3416" name="TextBox 3415">
                  <a:extLst>
                    <a:ext uri="{FF2B5EF4-FFF2-40B4-BE49-F238E27FC236}">
                      <a16:creationId xmlns:a16="http://schemas.microsoft.com/office/drawing/2014/main" id="{6D27A265-634A-C248-1ABC-773AAA62152A}"/>
                    </a:ext>
                  </a:extLst>
                </p:cNvPr>
                <p:cNvSpPr txBox="1"/>
                <p:nvPr/>
              </p:nvSpPr>
              <p:spPr>
                <a:xfrm>
                  <a:off x="9569202" y="1795187"/>
                  <a:ext cx="97196" cy="96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196" h="96262">
                      <a:moveTo>
                        <a:pt x="48531" y="0"/>
                      </a:moveTo>
                      <a:cubicBezTo>
                        <a:pt x="57866" y="55"/>
                        <a:pt x="66182" y="2061"/>
                        <a:pt x="73479" y="6016"/>
                      </a:cubicBezTo>
                      <a:cubicBezTo>
                        <a:pt x="80775" y="9972"/>
                        <a:pt x="86530" y="15542"/>
                        <a:pt x="90744" y="22729"/>
                      </a:cubicBezTo>
                      <a:cubicBezTo>
                        <a:pt x="94958" y="29915"/>
                        <a:pt x="97109" y="38382"/>
                        <a:pt x="97196" y="48130"/>
                      </a:cubicBezTo>
                      <a:cubicBezTo>
                        <a:pt x="97109" y="57543"/>
                        <a:pt x="94958" y="65852"/>
                        <a:pt x="90744" y="73058"/>
                      </a:cubicBezTo>
                      <a:cubicBezTo>
                        <a:pt x="86530" y="80264"/>
                        <a:pt x="80775" y="85914"/>
                        <a:pt x="73479" y="90008"/>
                      </a:cubicBezTo>
                      <a:cubicBezTo>
                        <a:pt x="66182" y="94102"/>
                        <a:pt x="57866" y="96186"/>
                        <a:pt x="48531" y="96262"/>
                      </a:cubicBezTo>
                      <a:cubicBezTo>
                        <a:pt x="39198" y="96206"/>
                        <a:pt x="30894" y="94200"/>
                        <a:pt x="23618" y="90245"/>
                      </a:cubicBezTo>
                      <a:cubicBezTo>
                        <a:pt x="16343" y="86290"/>
                        <a:pt x="10610" y="80719"/>
                        <a:pt x="6417" y="73532"/>
                      </a:cubicBezTo>
                      <a:cubicBezTo>
                        <a:pt x="2225" y="66346"/>
                        <a:pt x="86" y="57879"/>
                        <a:pt x="0" y="48130"/>
                      </a:cubicBezTo>
                      <a:cubicBezTo>
                        <a:pt x="68" y="39012"/>
                        <a:pt x="2138" y="30841"/>
                        <a:pt x="6210" y="23618"/>
                      </a:cubicBezTo>
                      <a:cubicBezTo>
                        <a:pt x="10281" y="16395"/>
                        <a:pt x="15946" y="10676"/>
                        <a:pt x="23203" y="6461"/>
                      </a:cubicBezTo>
                      <a:cubicBezTo>
                        <a:pt x="30461" y="2246"/>
                        <a:pt x="38904" y="92"/>
                        <a:pt x="48531" y="0"/>
                      </a:cubicBezTo>
                      <a:close/>
                      <a:moveTo>
                        <a:pt x="48531" y="15318"/>
                      </a:moveTo>
                      <a:cubicBezTo>
                        <a:pt x="39411" y="15477"/>
                        <a:pt x="31975" y="18528"/>
                        <a:pt x="26223" y="24472"/>
                      </a:cubicBezTo>
                      <a:cubicBezTo>
                        <a:pt x="20470" y="30415"/>
                        <a:pt x="17503" y="38302"/>
                        <a:pt x="17319" y="48130"/>
                      </a:cubicBezTo>
                      <a:cubicBezTo>
                        <a:pt x="17528" y="57667"/>
                        <a:pt x="20545" y="65470"/>
                        <a:pt x="26373" y="71539"/>
                      </a:cubicBezTo>
                      <a:cubicBezTo>
                        <a:pt x="32200" y="77608"/>
                        <a:pt x="39586" y="80743"/>
                        <a:pt x="48531" y="80943"/>
                      </a:cubicBezTo>
                      <a:cubicBezTo>
                        <a:pt x="58415" y="80726"/>
                        <a:pt x="66091" y="77558"/>
                        <a:pt x="71557" y="71439"/>
                      </a:cubicBezTo>
                      <a:cubicBezTo>
                        <a:pt x="77023" y="65320"/>
                        <a:pt x="79796" y="57551"/>
                        <a:pt x="79877" y="48130"/>
                      </a:cubicBezTo>
                      <a:cubicBezTo>
                        <a:pt x="79671" y="38302"/>
                        <a:pt x="76648" y="30415"/>
                        <a:pt x="70807" y="24472"/>
                      </a:cubicBezTo>
                      <a:cubicBezTo>
                        <a:pt x="64965" y="18528"/>
                        <a:pt x="57540" y="15477"/>
                        <a:pt x="48531" y="1531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17" name="TextBox 3416">
                  <a:extLst>
                    <a:ext uri="{FF2B5EF4-FFF2-40B4-BE49-F238E27FC236}">
                      <a16:creationId xmlns:a16="http://schemas.microsoft.com/office/drawing/2014/main" id="{7E72FDE0-B7EC-A81A-38F6-AA2B50353B8A}"/>
                    </a:ext>
                  </a:extLst>
                </p:cNvPr>
                <p:cNvSpPr txBox="1"/>
                <p:nvPr/>
              </p:nvSpPr>
              <p:spPr>
                <a:xfrm>
                  <a:off x="9683502" y="1795187"/>
                  <a:ext cx="83594" cy="962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94" h="96262">
                      <a:moveTo>
                        <a:pt x="46532" y="0"/>
                      </a:moveTo>
                      <a:cubicBezTo>
                        <a:pt x="53144" y="19"/>
                        <a:pt x="58862" y="846"/>
                        <a:pt x="63688" y="2481"/>
                      </a:cubicBezTo>
                      <a:cubicBezTo>
                        <a:pt x="68514" y="4115"/>
                        <a:pt x="72796" y="6441"/>
                        <a:pt x="76534" y="9457"/>
                      </a:cubicBezTo>
                      <a:lnTo>
                        <a:pt x="69608" y="22523"/>
                      </a:lnTo>
                      <a:cubicBezTo>
                        <a:pt x="67196" y="20297"/>
                        <a:pt x="64117" y="18546"/>
                        <a:pt x="60371" y="17270"/>
                      </a:cubicBezTo>
                      <a:cubicBezTo>
                        <a:pt x="56625" y="15994"/>
                        <a:pt x="52679" y="15343"/>
                        <a:pt x="48533" y="15318"/>
                      </a:cubicBezTo>
                      <a:cubicBezTo>
                        <a:pt x="39354" y="15385"/>
                        <a:pt x="31901" y="18253"/>
                        <a:pt x="26173" y="23923"/>
                      </a:cubicBezTo>
                      <a:cubicBezTo>
                        <a:pt x="20446" y="29593"/>
                        <a:pt x="17494" y="37664"/>
                        <a:pt x="17319" y="48135"/>
                      </a:cubicBezTo>
                      <a:cubicBezTo>
                        <a:pt x="17453" y="58192"/>
                        <a:pt x="20354" y="66143"/>
                        <a:pt x="26023" y="71988"/>
                      </a:cubicBezTo>
                      <a:cubicBezTo>
                        <a:pt x="31692" y="77832"/>
                        <a:pt x="39329" y="80817"/>
                        <a:pt x="48933" y="80943"/>
                      </a:cubicBezTo>
                      <a:cubicBezTo>
                        <a:pt x="52674" y="80885"/>
                        <a:pt x="56364" y="80234"/>
                        <a:pt x="60005" y="78991"/>
                      </a:cubicBezTo>
                      <a:cubicBezTo>
                        <a:pt x="63645" y="77748"/>
                        <a:pt x="66402" y="76264"/>
                        <a:pt x="68276" y="74537"/>
                      </a:cubicBezTo>
                      <a:lnTo>
                        <a:pt x="68276" y="59857"/>
                      </a:lnTo>
                      <a:lnTo>
                        <a:pt x="45732" y="59857"/>
                      </a:lnTo>
                      <a:lnTo>
                        <a:pt x="45732" y="44539"/>
                      </a:lnTo>
                      <a:lnTo>
                        <a:pt x="83594" y="44539"/>
                      </a:lnTo>
                      <a:lnTo>
                        <a:pt x="83594" y="83208"/>
                      </a:lnTo>
                      <a:cubicBezTo>
                        <a:pt x="79251" y="87365"/>
                        <a:pt x="73848" y="90573"/>
                        <a:pt x="67385" y="92832"/>
                      </a:cubicBezTo>
                      <a:cubicBezTo>
                        <a:pt x="60922" y="95091"/>
                        <a:pt x="54683" y="96234"/>
                        <a:pt x="48666" y="96262"/>
                      </a:cubicBezTo>
                      <a:cubicBezTo>
                        <a:pt x="33274" y="96073"/>
                        <a:pt x="21345" y="91686"/>
                        <a:pt x="12878" y="83100"/>
                      </a:cubicBezTo>
                      <a:cubicBezTo>
                        <a:pt x="4412" y="74514"/>
                        <a:pt x="119" y="62859"/>
                        <a:pt x="0" y="48135"/>
                      </a:cubicBezTo>
                      <a:cubicBezTo>
                        <a:pt x="46" y="39100"/>
                        <a:pt x="1953" y="30968"/>
                        <a:pt x="5721" y="23739"/>
                      </a:cubicBezTo>
                      <a:cubicBezTo>
                        <a:pt x="9488" y="16510"/>
                        <a:pt x="14842" y="10771"/>
                        <a:pt x="21781" y="6521"/>
                      </a:cubicBezTo>
                      <a:cubicBezTo>
                        <a:pt x="28721" y="2271"/>
                        <a:pt x="36971" y="97"/>
                        <a:pt x="46532" y="0"/>
                      </a:cubicBezTo>
                      <a:close/>
                    </a:path>
                  </a:pathLst>
                </a:custGeom>
                <a:solidFill>
                  <a:srgbClr val="00A1DF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solidFill>
                      <a:srgbClr val="3399FF"/>
                    </a:solidFill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18" name="TextBox 3417">
                  <a:extLst>
                    <a:ext uri="{FF2B5EF4-FFF2-40B4-BE49-F238E27FC236}">
                      <a16:creationId xmlns:a16="http://schemas.microsoft.com/office/drawing/2014/main" id="{6CE8AFEB-9DEA-C334-6547-9A7115B1746B}"/>
                    </a:ext>
                  </a:extLst>
                </p:cNvPr>
                <p:cNvSpPr txBox="1"/>
                <p:nvPr/>
              </p:nvSpPr>
              <p:spPr>
                <a:xfrm>
                  <a:off x="9287903" y="1796388"/>
                  <a:ext cx="93345" cy="93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345" h="93595">
                      <a:moveTo>
                        <a:pt x="39471" y="0"/>
                      </a:moveTo>
                      <a:lnTo>
                        <a:pt x="53873" y="0"/>
                      </a:lnTo>
                      <a:lnTo>
                        <a:pt x="93345" y="93595"/>
                      </a:lnTo>
                      <a:lnTo>
                        <a:pt x="75876" y="93595"/>
                      </a:lnTo>
                      <a:lnTo>
                        <a:pt x="66141" y="69725"/>
                      </a:lnTo>
                      <a:lnTo>
                        <a:pt x="26270" y="69725"/>
                      </a:lnTo>
                      <a:lnTo>
                        <a:pt x="16535" y="93595"/>
                      </a:lnTo>
                      <a:lnTo>
                        <a:pt x="0" y="93595"/>
                      </a:lnTo>
                      <a:lnTo>
                        <a:pt x="39471" y="0"/>
                      </a:lnTo>
                      <a:close/>
                      <a:moveTo>
                        <a:pt x="46272" y="21202"/>
                      </a:moveTo>
                      <a:lnTo>
                        <a:pt x="32537" y="54407"/>
                      </a:lnTo>
                      <a:lnTo>
                        <a:pt x="59874" y="54407"/>
                      </a:lnTo>
                      <a:lnTo>
                        <a:pt x="46272" y="2120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19" name="TextBox 3418">
                  <a:extLst>
                    <a:ext uri="{FF2B5EF4-FFF2-40B4-BE49-F238E27FC236}">
                      <a16:creationId xmlns:a16="http://schemas.microsoft.com/office/drawing/2014/main" id="{CCEC90D5-F097-75D3-3A6B-0F64C6DC8FDD}"/>
                    </a:ext>
                  </a:extLst>
                </p:cNvPr>
                <p:cNvSpPr txBox="1"/>
                <p:nvPr/>
              </p:nvSpPr>
              <p:spPr>
                <a:xfrm>
                  <a:off x="9783203" y="1796388"/>
                  <a:ext cx="93345" cy="935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345" h="93595">
                      <a:moveTo>
                        <a:pt x="39471" y="0"/>
                      </a:moveTo>
                      <a:lnTo>
                        <a:pt x="53873" y="0"/>
                      </a:lnTo>
                      <a:lnTo>
                        <a:pt x="93345" y="93595"/>
                      </a:lnTo>
                      <a:lnTo>
                        <a:pt x="75876" y="93595"/>
                      </a:lnTo>
                      <a:lnTo>
                        <a:pt x="66141" y="69725"/>
                      </a:lnTo>
                      <a:lnTo>
                        <a:pt x="26270" y="69725"/>
                      </a:lnTo>
                      <a:lnTo>
                        <a:pt x="16535" y="93595"/>
                      </a:lnTo>
                      <a:lnTo>
                        <a:pt x="0" y="93595"/>
                      </a:lnTo>
                      <a:lnTo>
                        <a:pt x="39471" y="0"/>
                      </a:lnTo>
                      <a:close/>
                      <a:moveTo>
                        <a:pt x="46272" y="21202"/>
                      </a:moveTo>
                      <a:lnTo>
                        <a:pt x="32537" y="54407"/>
                      </a:lnTo>
                      <a:lnTo>
                        <a:pt x="59874" y="54407"/>
                      </a:lnTo>
                      <a:lnTo>
                        <a:pt x="46272" y="21202"/>
                      </a:lnTo>
                      <a:close/>
                    </a:path>
                  </a:pathLst>
                </a:custGeom>
                <a:solidFill>
                  <a:srgbClr val="00A1DF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solidFill>
                      <a:srgbClr val="3399FF"/>
                    </a:solidFill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20" name="TextBox 3419">
                  <a:extLst>
                    <a:ext uri="{FF2B5EF4-FFF2-40B4-BE49-F238E27FC236}">
                      <a16:creationId xmlns:a16="http://schemas.microsoft.com/office/drawing/2014/main" id="{E3AE6085-8FEC-FD69-9013-0AA4F46FBBE1}"/>
                    </a:ext>
                  </a:extLst>
                </p:cNvPr>
                <p:cNvSpPr txBox="1"/>
                <p:nvPr/>
              </p:nvSpPr>
              <p:spPr>
                <a:xfrm>
                  <a:off x="9185612" y="1796788"/>
                  <a:ext cx="79726" cy="93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726" h="93195">
                      <a:moveTo>
                        <a:pt x="0" y="0"/>
                      </a:moveTo>
                      <a:lnTo>
                        <a:pt x="13054" y="0"/>
                      </a:lnTo>
                      <a:lnTo>
                        <a:pt x="64408" y="64837"/>
                      </a:lnTo>
                      <a:lnTo>
                        <a:pt x="64408" y="0"/>
                      </a:lnTo>
                      <a:lnTo>
                        <a:pt x="79726" y="0"/>
                      </a:lnTo>
                      <a:lnTo>
                        <a:pt x="79726" y="93195"/>
                      </a:lnTo>
                      <a:lnTo>
                        <a:pt x="66672" y="93195"/>
                      </a:lnTo>
                      <a:lnTo>
                        <a:pt x="15318" y="28624"/>
                      </a:lnTo>
                      <a:lnTo>
                        <a:pt x="15318" y="93195"/>
                      </a:lnTo>
                      <a:lnTo>
                        <a:pt x="0" y="931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21" name="TextBox 3420">
                  <a:extLst>
                    <a:ext uri="{FF2B5EF4-FFF2-40B4-BE49-F238E27FC236}">
                      <a16:creationId xmlns:a16="http://schemas.microsoft.com/office/drawing/2014/main" id="{A660DCFA-D658-C4A6-7355-C21C4618AC17}"/>
                    </a:ext>
                  </a:extLst>
                </p:cNvPr>
                <p:cNvSpPr txBox="1"/>
                <p:nvPr/>
              </p:nvSpPr>
              <p:spPr>
                <a:xfrm>
                  <a:off x="9404688" y="1796788"/>
                  <a:ext cx="53323" cy="93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23" h="93195">
                      <a:moveTo>
                        <a:pt x="0" y="0"/>
                      </a:moveTo>
                      <a:lnTo>
                        <a:pt x="53323" y="0"/>
                      </a:lnTo>
                      <a:lnTo>
                        <a:pt x="53323" y="15318"/>
                      </a:lnTo>
                      <a:lnTo>
                        <a:pt x="16385" y="15318"/>
                      </a:lnTo>
                      <a:lnTo>
                        <a:pt x="16385" y="41605"/>
                      </a:lnTo>
                      <a:lnTo>
                        <a:pt x="49322" y="41605"/>
                      </a:lnTo>
                      <a:lnTo>
                        <a:pt x="49322" y="56924"/>
                      </a:lnTo>
                      <a:lnTo>
                        <a:pt x="16385" y="56924"/>
                      </a:lnTo>
                      <a:lnTo>
                        <a:pt x="16385" y="93195"/>
                      </a:lnTo>
                      <a:lnTo>
                        <a:pt x="0" y="931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22" name="TextBox 3421">
                  <a:extLst>
                    <a:ext uri="{FF2B5EF4-FFF2-40B4-BE49-F238E27FC236}">
                      <a16:creationId xmlns:a16="http://schemas.microsoft.com/office/drawing/2014/main" id="{C4F51959-3793-9F75-388F-6996F601F665}"/>
                    </a:ext>
                  </a:extLst>
                </p:cNvPr>
                <p:cNvSpPr txBox="1"/>
                <p:nvPr/>
              </p:nvSpPr>
              <p:spPr>
                <a:xfrm>
                  <a:off x="9478810" y="1796788"/>
                  <a:ext cx="76926" cy="93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926" h="93195">
                      <a:moveTo>
                        <a:pt x="0" y="0"/>
                      </a:moveTo>
                      <a:lnTo>
                        <a:pt x="76926" y="0"/>
                      </a:lnTo>
                      <a:lnTo>
                        <a:pt x="76926" y="15318"/>
                      </a:lnTo>
                      <a:lnTo>
                        <a:pt x="46656" y="15318"/>
                      </a:lnTo>
                      <a:lnTo>
                        <a:pt x="46656" y="93195"/>
                      </a:lnTo>
                      <a:lnTo>
                        <a:pt x="30270" y="93195"/>
                      </a:lnTo>
                      <a:lnTo>
                        <a:pt x="30270" y="15318"/>
                      </a:lnTo>
                      <a:lnTo>
                        <a:pt x="0" y="153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23" name="TextBox 3422">
                  <a:extLst>
                    <a:ext uri="{FF2B5EF4-FFF2-40B4-BE49-F238E27FC236}">
                      <a16:creationId xmlns:a16="http://schemas.microsoft.com/office/drawing/2014/main" id="{522CF3A1-C562-E65B-8C5F-A5A9D4B194B8}"/>
                    </a:ext>
                  </a:extLst>
                </p:cNvPr>
                <p:cNvSpPr txBox="1"/>
                <p:nvPr/>
              </p:nvSpPr>
              <p:spPr>
                <a:xfrm>
                  <a:off x="9892378" y="1796788"/>
                  <a:ext cx="74943" cy="931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943" h="93195">
                      <a:moveTo>
                        <a:pt x="2667" y="0"/>
                      </a:moveTo>
                      <a:lnTo>
                        <a:pt x="73609" y="0"/>
                      </a:lnTo>
                      <a:lnTo>
                        <a:pt x="73609" y="11322"/>
                      </a:lnTo>
                      <a:lnTo>
                        <a:pt x="21870" y="77876"/>
                      </a:lnTo>
                      <a:lnTo>
                        <a:pt x="74943" y="77876"/>
                      </a:lnTo>
                      <a:lnTo>
                        <a:pt x="74943" y="93195"/>
                      </a:lnTo>
                      <a:lnTo>
                        <a:pt x="0" y="93195"/>
                      </a:lnTo>
                      <a:lnTo>
                        <a:pt x="0" y="82006"/>
                      </a:lnTo>
                      <a:lnTo>
                        <a:pt x="51607" y="15318"/>
                      </a:lnTo>
                      <a:lnTo>
                        <a:pt x="2667" y="15318"/>
                      </a:lnTo>
                      <a:lnTo>
                        <a:pt x="2667" y="0"/>
                      </a:lnTo>
                      <a:close/>
                    </a:path>
                  </a:pathLst>
                </a:custGeom>
                <a:solidFill>
                  <a:srgbClr val="00A1DF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solidFill>
                      <a:srgbClr val="3399FF"/>
                    </a:solidFill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3424" name="Freeform 218">
                  <a:extLst>
                    <a:ext uri="{FF2B5EF4-FFF2-40B4-BE49-F238E27FC236}">
                      <a16:creationId xmlns:a16="http://schemas.microsoft.com/office/drawing/2014/main" id="{42897154-2DDE-8504-7107-FCDCC04C62A5}"/>
                    </a:ext>
                  </a:extLst>
                </p:cNvPr>
                <p:cNvSpPr/>
                <p:nvPr/>
              </p:nvSpPr>
              <p:spPr>
                <a:xfrm>
                  <a:off x="9064800" y="1991655"/>
                  <a:ext cx="4609" cy="13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3665" h="3962">
                      <a:moveTo>
                        <a:pt x="0" y="3962"/>
                      </a:moveTo>
                      <a:cubicBezTo>
                        <a:pt x="4610" y="2731"/>
                        <a:pt x="9169" y="1626"/>
                        <a:pt x="13665" y="0"/>
                      </a:cubicBezTo>
                      <a:cubicBezTo>
                        <a:pt x="8978" y="1384"/>
                        <a:pt x="4508" y="2731"/>
                        <a:pt x="0" y="3962"/>
                      </a:cubicBezTo>
                    </a:path>
                  </a:pathLst>
                </a:custGeom>
                <a:solidFill>
                  <a:srgbClr val="000000">
                    <a:alpha val="100000"/>
                  </a:srgbClr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  <p:pic>
              <p:nvPicPr>
                <p:cNvPr id="3425" name="Picture 219">
                  <a:extLst>
                    <a:ext uri="{FF2B5EF4-FFF2-40B4-BE49-F238E27FC236}">
                      <a16:creationId xmlns:a16="http://schemas.microsoft.com/office/drawing/2014/main" id="{A4AE4D1D-1BA6-1C38-0649-45A594E3F325}"/>
                    </a:ext>
                  </a:extLst>
                </p:cNvPr>
                <p:cNvPicPr/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9058175" y="1988501"/>
                  <a:ext cx="15518" cy="10255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3426" name="Групувати 3425">
                  <a:extLst>
                    <a:ext uri="{FF2B5EF4-FFF2-40B4-BE49-F238E27FC236}">
                      <a16:creationId xmlns:a16="http://schemas.microsoft.com/office/drawing/2014/main" id="{E3D62715-1FE8-C85A-AC8A-8A9410425980}"/>
                    </a:ext>
                  </a:extLst>
                </p:cNvPr>
                <p:cNvGrpSpPr/>
                <p:nvPr/>
              </p:nvGrpSpPr>
              <p:grpSpPr>
                <a:xfrm>
                  <a:off x="8944864" y="1776832"/>
                  <a:ext cx="207633" cy="206717"/>
                  <a:chOff x="5192198" y="3302281"/>
                  <a:chExt cx="207633" cy="206717"/>
                </a:xfrm>
              </p:grpSpPr>
              <p:sp>
                <p:nvSpPr>
                  <p:cNvPr id="3440" name="Freeform 220">
                    <a:extLst>
                      <a:ext uri="{FF2B5EF4-FFF2-40B4-BE49-F238E27FC236}">
                        <a16:creationId xmlns:a16="http://schemas.microsoft.com/office/drawing/2014/main" id="{9C045EF4-4F49-BC98-D65B-C3AB60E5DF8C}"/>
                      </a:ext>
                    </a:extLst>
                  </p:cNvPr>
                  <p:cNvSpPr/>
                  <p:nvPr/>
                </p:nvSpPr>
                <p:spPr>
                  <a:xfrm>
                    <a:off x="5309209" y="3316368"/>
                    <a:ext cx="90622" cy="178639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268693" h="529665">
                        <a:moveTo>
                          <a:pt x="249186" y="162356"/>
                        </a:moveTo>
                        <a:cubicBezTo>
                          <a:pt x="249490" y="162482"/>
                          <a:pt x="249770" y="162521"/>
                          <a:pt x="250049" y="162724"/>
                        </a:cubicBezTo>
                        <a:cubicBezTo>
                          <a:pt x="233972" y="106400"/>
                          <a:pt x="199834" y="59042"/>
                          <a:pt x="150126" y="24841"/>
                        </a:cubicBezTo>
                        <a:cubicBezTo>
                          <a:pt x="127165" y="9055"/>
                          <a:pt x="100622" y="0"/>
                          <a:pt x="77356" y="0"/>
                        </a:cubicBezTo>
                        <a:cubicBezTo>
                          <a:pt x="63970" y="0"/>
                          <a:pt x="51701" y="2844"/>
                          <a:pt x="41008" y="8661"/>
                        </a:cubicBezTo>
                        <a:cubicBezTo>
                          <a:pt x="13894" y="24498"/>
                          <a:pt x="0" y="46990"/>
                          <a:pt x="0" y="75565"/>
                        </a:cubicBezTo>
                        <a:cubicBezTo>
                          <a:pt x="0" y="122174"/>
                          <a:pt x="27051" y="149669"/>
                          <a:pt x="67932" y="191324"/>
                        </a:cubicBezTo>
                        <a:cubicBezTo>
                          <a:pt x="89205" y="213003"/>
                          <a:pt x="113068" y="237336"/>
                          <a:pt x="136474" y="268591"/>
                        </a:cubicBezTo>
                        <a:cubicBezTo>
                          <a:pt x="174879" y="319785"/>
                          <a:pt x="184366" y="391375"/>
                          <a:pt x="161239" y="455687"/>
                        </a:cubicBezTo>
                        <a:cubicBezTo>
                          <a:pt x="151143" y="483754"/>
                          <a:pt x="135737" y="508431"/>
                          <a:pt x="115798" y="528992"/>
                        </a:cubicBezTo>
                        <a:cubicBezTo>
                          <a:pt x="115519" y="529068"/>
                          <a:pt x="115468" y="529462"/>
                          <a:pt x="115214" y="529665"/>
                        </a:cubicBezTo>
                        <a:cubicBezTo>
                          <a:pt x="163931" y="502233"/>
                          <a:pt x="200685" y="463269"/>
                          <a:pt x="223342" y="414768"/>
                        </a:cubicBezTo>
                        <a:cubicBezTo>
                          <a:pt x="268693" y="317359"/>
                          <a:pt x="235026" y="249795"/>
                          <a:pt x="214922" y="209384"/>
                        </a:cubicBezTo>
                        <a:cubicBezTo>
                          <a:pt x="204610" y="188670"/>
                          <a:pt x="197193" y="173531"/>
                          <a:pt x="204711" y="162191"/>
                        </a:cubicBezTo>
                        <a:cubicBezTo>
                          <a:pt x="213411" y="149098"/>
                          <a:pt x="229451" y="148463"/>
                          <a:pt x="249186" y="162356"/>
                        </a:cubicBezTo>
                      </a:path>
                    </a:pathLst>
                  </a:custGeom>
                  <a:solidFill>
                    <a:srgbClr val="00A1DF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uk-UA" sz="426"/>
                  </a:p>
                </p:txBody>
              </p:sp>
              <p:sp>
                <p:nvSpPr>
                  <p:cNvPr id="3441" name="Freeform 221">
                    <a:extLst>
                      <a:ext uri="{FF2B5EF4-FFF2-40B4-BE49-F238E27FC236}">
                        <a16:creationId xmlns:a16="http://schemas.microsoft.com/office/drawing/2014/main" id="{389EAB04-EBE0-52D2-EB06-06B93B0B4109}"/>
                      </a:ext>
                    </a:extLst>
                  </p:cNvPr>
                  <p:cNvSpPr/>
                  <p:nvPr/>
                </p:nvSpPr>
                <p:spPr>
                  <a:xfrm>
                    <a:off x="5192198" y="3326401"/>
                    <a:ext cx="131219" cy="179925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89064" h="533476">
                        <a:moveTo>
                          <a:pt x="374561" y="363639"/>
                        </a:moveTo>
                        <a:cubicBezTo>
                          <a:pt x="345733" y="318936"/>
                          <a:pt x="304800" y="303162"/>
                          <a:pt x="261519" y="286563"/>
                        </a:cubicBezTo>
                        <a:cubicBezTo>
                          <a:pt x="219050" y="270142"/>
                          <a:pt x="175095" y="253251"/>
                          <a:pt x="137757" y="209398"/>
                        </a:cubicBezTo>
                        <a:cubicBezTo>
                          <a:pt x="101156" y="166739"/>
                          <a:pt x="85764" y="111430"/>
                          <a:pt x="94044" y="53988"/>
                        </a:cubicBezTo>
                        <a:cubicBezTo>
                          <a:pt x="96635" y="36322"/>
                          <a:pt x="101651" y="19495"/>
                          <a:pt x="108243" y="3988"/>
                        </a:cubicBezTo>
                        <a:cubicBezTo>
                          <a:pt x="108509" y="3214"/>
                          <a:pt x="108801" y="2451"/>
                          <a:pt x="108827" y="2439"/>
                        </a:cubicBezTo>
                        <a:cubicBezTo>
                          <a:pt x="109182" y="1486"/>
                          <a:pt x="109386" y="788"/>
                          <a:pt x="109703" y="0"/>
                        </a:cubicBezTo>
                        <a:cubicBezTo>
                          <a:pt x="104902" y="3988"/>
                          <a:pt x="100559" y="8408"/>
                          <a:pt x="96063" y="12675"/>
                        </a:cubicBezTo>
                        <a:cubicBezTo>
                          <a:pt x="96139" y="12599"/>
                          <a:pt x="96241" y="12535"/>
                          <a:pt x="96330" y="12459"/>
                        </a:cubicBezTo>
                        <a:cubicBezTo>
                          <a:pt x="96241" y="12535"/>
                          <a:pt x="96139" y="12612"/>
                          <a:pt x="96063" y="12688"/>
                        </a:cubicBezTo>
                        <a:cubicBezTo>
                          <a:pt x="35345" y="69977"/>
                          <a:pt x="0" y="149556"/>
                          <a:pt x="0" y="234925"/>
                        </a:cubicBezTo>
                        <a:cubicBezTo>
                          <a:pt x="0" y="369468"/>
                          <a:pt x="90031" y="490258"/>
                          <a:pt x="218974" y="528586"/>
                        </a:cubicBezTo>
                        <a:cubicBezTo>
                          <a:pt x="231445" y="531837"/>
                          <a:pt x="244221" y="533476"/>
                          <a:pt x="256972" y="533476"/>
                        </a:cubicBezTo>
                        <a:cubicBezTo>
                          <a:pt x="300482" y="533476"/>
                          <a:pt x="339344" y="514349"/>
                          <a:pt x="363881" y="480910"/>
                        </a:cubicBezTo>
                        <a:cubicBezTo>
                          <a:pt x="376135" y="464070"/>
                          <a:pt x="383044" y="444995"/>
                          <a:pt x="385800" y="426034"/>
                        </a:cubicBezTo>
                        <a:cubicBezTo>
                          <a:pt x="389064" y="403453"/>
                          <a:pt x="385838" y="381190"/>
                          <a:pt x="374561" y="363639"/>
                        </a:cubicBezTo>
                      </a:path>
                    </a:pathLst>
                  </a:custGeom>
                  <a:solidFill>
                    <a:schemeClr val="tx1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uk-UA" sz="426" dirty="0"/>
                  </a:p>
                </p:txBody>
              </p:sp>
              <p:sp>
                <p:nvSpPr>
                  <p:cNvPr id="3442" name="Freeform 222">
                    <a:extLst>
                      <a:ext uri="{FF2B5EF4-FFF2-40B4-BE49-F238E27FC236}">
                        <a16:creationId xmlns:a16="http://schemas.microsoft.com/office/drawing/2014/main" id="{9A189232-F218-6EAF-5365-1EDB9A069AF9}"/>
                      </a:ext>
                    </a:extLst>
                  </p:cNvPr>
                  <p:cNvSpPr/>
                  <p:nvPr/>
                </p:nvSpPr>
                <p:spPr>
                  <a:xfrm>
                    <a:off x="5231948" y="3302281"/>
                    <a:ext cx="129163" cy="206717"/>
                  </a:xfrm>
                  <a:custGeom>
                    <a:avLst/>
                    <a:gdLst/>
                    <a:ahLst/>
                    <a:cxnLst/>
                    <a:rect l="0" t="0" r="0" b="0"/>
                    <a:pathLst>
                      <a:path w="382967" h="612914">
                        <a:moveTo>
                          <a:pt x="342366" y="327609"/>
                        </a:moveTo>
                        <a:cubicBezTo>
                          <a:pt x="320078" y="297904"/>
                          <a:pt x="296850" y="274142"/>
                          <a:pt x="276352" y="253340"/>
                        </a:cubicBezTo>
                        <a:cubicBezTo>
                          <a:pt x="233743" y="209868"/>
                          <a:pt x="200215" y="175692"/>
                          <a:pt x="200215" y="117323"/>
                        </a:cubicBezTo>
                        <a:cubicBezTo>
                          <a:pt x="200215" y="57811"/>
                          <a:pt x="243726" y="25121"/>
                          <a:pt x="284543" y="15316"/>
                        </a:cubicBezTo>
                        <a:cubicBezTo>
                          <a:pt x="282499" y="14656"/>
                          <a:pt x="280162" y="14313"/>
                          <a:pt x="278054" y="13742"/>
                        </a:cubicBezTo>
                        <a:cubicBezTo>
                          <a:pt x="249555" y="5157"/>
                          <a:pt x="218605" y="0"/>
                          <a:pt x="188531" y="0"/>
                        </a:cubicBezTo>
                        <a:cubicBezTo>
                          <a:pt x="138582" y="0"/>
                          <a:pt x="99174" y="10275"/>
                          <a:pt x="60719" y="33389"/>
                        </a:cubicBezTo>
                        <a:cubicBezTo>
                          <a:pt x="32842" y="50127"/>
                          <a:pt x="10960" y="87922"/>
                          <a:pt x="4864" y="129718"/>
                        </a:cubicBezTo>
                        <a:cubicBezTo>
                          <a:pt x="686" y="158141"/>
                          <a:pt x="0" y="213157"/>
                          <a:pt x="41846" y="262065"/>
                        </a:cubicBezTo>
                        <a:cubicBezTo>
                          <a:pt x="74536" y="300393"/>
                          <a:pt x="114948" y="316002"/>
                          <a:pt x="153987" y="331038"/>
                        </a:cubicBezTo>
                        <a:cubicBezTo>
                          <a:pt x="199809" y="348652"/>
                          <a:pt x="247002" y="366953"/>
                          <a:pt x="280975" y="419442"/>
                        </a:cubicBezTo>
                        <a:cubicBezTo>
                          <a:pt x="304025" y="455091"/>
                          <a:pt x="303886" y="505104"/>
                          <a:pt x="282499" y="547801"/>
                        </a:cubicBezTo>
                        <a:cubicBezTo>
                          <a:pt x="281102" y="550659"/>
                          <a:pt x="279552" y="553415"/>
                          <a:pt x="277952" y="556132"/>
                        </a:cubicBezTo>
                        <a:cubicBezTo>
                          <a:pt x="277520" y="556932"/>
                          <a:pt x="277038" y="557745"/>
                          <a:pt x="276581" y="558545"/>
                        </a:cubicBezTo>
                        <a:cubicBezTo>
                          <a:pt x="259715" y="585304"/>
                          <a:pt x="231902" y="606069"/>
                          <a:pt x="204165" y="612914"/>
                        </a:cubicBezTo>
                        <a:cubicBezTo>
                          <a:pt x="219011" y="610793"/>
                          <a:pt x="233401" y="607555"/>
                          <a:pt x="247307" y="602856"/>
                        </a:cubicBezTo>
                        <a:cubicBezTo>
                          <a:pt x="248679" y="602462"/>
                          <a:pt x="250038" y="602043"/>
                          <a:pt x="251435" y="601649"/>
                        </a:cubicBezTo>
                        <a:cubicBezTo>
                          <a:pt x="253213" y="601001"/>
                          <a:pt x="254864" y="600100"/>
                          <a:pt x="256603" y="599427"/>
                        </a:cubicBezTo>
                        <a:cubicBezTo>
                          <a:pt x="259804" y="598157"/>
                          <a:pt x="262979" y="596823"/>
                          <a:pt x="266103" y="595375"/>
                        </a:cubicBezTo>
                        <a:cubicBezTo>
                          <a:pt x="268084" y="594448"/>
                          <a:pt x="270091" y="593559"/>
                          <a:pt x="272110" y="592505"/>
                        </a:cubicBezTo>
                        <a:cubicBezTo>
                          <a:pt x="276936" y="590092"/>
                          <a:pt x="281686" y="587336"/>
                          <a:pt x="286334" y="584453"/>
                        </a:cubicBezTo>
                        <a:cubicBezTo>
                          <a:pt x="287007" y="584022"/>
                          <a:pt x="287642" y="583590"/>
                          <a:pt x="288252" y="583183"/>
                        </a:cubicBezTo>
                        <a:cubicBezTo>
                          <a:pt x="293408" y="579894"/>
                          <a:pt x="298386" y="576198"/>
                          <a:pt x="303301" y="572274"/>
                        </a:cubicBezTo>
                        <a:cubicBezTo>
                          <a:pt x="303695" y="571944"/>
                          <a:pt x="304101" y="571601"/>
                          <a:pt x="304495" y="571296"/>
                        </a:cubicBezTo>
                        <a:cubicBezTo>
                          <a:pt x="308991" y="567575"/>
                          <a:pt x="313398" y="563587"/>
                          <a:pt x="317716" y="559282"/>
                        </a:cubicBezTo>
                        <a:cubicBezTo>
                          <a:pt x="318795" y="558139"/>
                          <a:pt x="319900" y="556932"/>
                          <a:pt x="321018" y="555789"/>
                        </a:cubicBezTo>
                        <a:cubicBezTo>
                          <a:pt x="323939" y="552703"/>
                          <a:pt x="326796" y="549477"/>
                          <a:pt x="329565" y="546087"/>
                        </a:cubicBezTo>
                        <a:cubicBezTo>
                          <a:pt x="331787" y="543470"/>
                          <a:pt x="333832" y="540753"/>
                          <a:pt x="335877" y="538022"/>
                        </a:cubicBezTo>
                        <a:cubicBezTo>
                          <a:pt x="338036" y="535114"/>
                          <a:pt x="340182" y="532091"/>
                          <a:pt x="342265" y="529005"/>
                        </a:cubicBezTo>
                        <a:cubicBezTo>
                          <a:pt x="343255" y="527494"/>
                          <a:pt x="344283" y="526046"/>
                          <a:pt x="345210" y="524535"/>
                        </a:cubicBezTo>
                        <a:cubicBezTo>
                          <a:pt x="345502" y="524141"/>
                          <a:pt x="345782" y="523709"/>
                          <a:pt x="346087" y="523239"/>
                        </a:cubicBezTo>
                        <a:lnTo>
                          <a:pt x="346036" y="523062"/>
                        </a:lnTo>
                        <a:cubicBezTo>
                          <a:pt x="352792" y="511949"/>
                          <a:pt x="358609" y="500176"/>
                          <a:pt x="363092" y="487616"/>
                        </a:cubicBezTo>
                        <a:cubicBezTo>
                          <a:pt x="382967" y="432472"/>
                          <a:pt x="374992" y="371144"/>
                          <a:pt x="342366" y="327609"/>
                        </a:cubicBezTo>
                      </a:path>
                    </a:pathLst>
                  </a:custGeom>
                  <a:solidFill>
                    <a:srgbClr val="00A1DF"/>
                  </a:solidFill>
                  <a:ln w="127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endParaRPr lang="uk-UA" sz="426"/>
                  </a:p>
                </p:txBody>
              </p:sp>
            </p:grpSp>
            <p:grpSp>
              <p:nvGrpSpPr>
                <p:cNvPr id="3427" name="Групувати 3426">
                  <a:extLst>
                    <a:ext uri="{FF2B5EF4-FFF2-40B4-BE49-F238E27FC236}">
                      <a16:creationId xmlns:a16="http://schemas.microsoft.com/office/drawing/2014/main" id="{C43F0C8E-FC2A-A496-670C-9FBBFBFB17FE}"/>
                    </a:ext>
                  </a:extLst>
                </p:cNvPr>
                <p:cNvGrpSpPr/>
                <p:nvPr/>
              </p:nvGrpSpPr>
              <p:grpSpPr>
                <a:xfrm>
                  <a:off x="9192478" y="1930875"/>
                  <a:ext cx="575419" cy="50379"/>
                  <a:chOff x="4220435" y="3738620"/>
                  <a:chExt cx="575419" cy="50379"/>
                </a:xfrm>
              </p:grpSpPr>
              <p:sp>
                <p:nvSpPr>
                  <p:cNvPr id="3428" name="TextBox 3427">
                    <a:extLst>
                      <a:ext uri="{FF2B5EF4-FFF2-40B4-BE49-F238E27FC236}">
                        <a16:creationId xmlns:a16="http://schemas.microsoft.com/office/drawing/2014/main" id="{05725C8C-2D24-9832-4876-1A16C8D1800E}"/>
                      </a:ext>
                    </a:extLst>
                  </p:cNvPr>
                  <p:cNvSpPr txBox="1"/>
                  <p:nvPr/>
                </p:nvSpPr>
                <p:spPr>
                  <a:xfrm>
                    <a:off x="4600817" y="3741001"/>
                    <a:ext cx="29929" cy="479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9929" h="47998">
                        <a:moveTo>
                          <a:pt x="15198" y="0"/>
                        </a:moveTo>
                        <a:cubicBezTo>
                          <a:pt x="17931" y="19"/>
                          <a:pt x="20418" y="463"/>
                          <a:pt x="22659" y="1331"/>
                        </a:cubicBezTo>
                        <a:cubicBezTo>
                          <a:pt x="24899" y="2200"/>
                          <a:pt x="26701" y="3376"/>
                          <a:pt x="28065" y="4860"/>
                        </a:cubicBezTo>
                        <a:lnTo>
                          <a:pt x="25002" y="9127"/>
                        </a:lnTo>
                        <a:cubicBezTo>
                          <a:pt x="23783" y="7889"/>
                          <a:pt x="22405" y="6947"/>
                          <a:pt x="20868" y="6301"/>
                        </a:cubicBezTo>
                        <a:cubicBezTo>
                          <a:pt x="19331" y="5655"/>
                          <a:pt x="17552" y="5330"/>
                          <a:pt x="15531" y="5326"/>
                        </a:cubicBezTo>
                        <a:cubicBezTo>
                          <a:pt x="12905" y="5353"/>
                          <a:pt x="10853" y="5981"/>
                          <a:pt x="9377" y="7210"/>
                        </a:cubicBezTo>
                        <a:cubicBezTo>
                          <a:pt x="7902" y="8438"/>
                          <a:pt x="7151" y="10099"/>
                          <a:pt x="7126" y="12195"/>
                        </a:cubicBezTo>
                        <a:cubicBezTo>
                          <a:pt x="7187" y="14454"/>
                          <a:pt x="7977" y="16223"/>
                          <a:pt x="9498" y="17502"/>
                        </a:cubicBezTo>
                        <a:cubicBezTo>
                          <a:pt x="11018" y="18780"/>
                          <a:pt x="12903" y="19858"/>
                          <a:pt x="15153" y="20734"/>
                        </a:cubicBezTo>
                        <a:cubicBezTo>
                          <a:pt x="17403" y="21611"/>
                          <a:pt x="19652" y="22575"/>
                          <a:pt x="21902" y="23627"/>
                        </a:cubicBezTo>
                        <a:cubicBezTo>
                          <a:pt x="24152" y="24680"/>
                          <a:pt x="26037" y="26110"/>
                          <a:pt x="27557" y="27916"/>
                        </a:cubicBezTo>
                        <a:cubicBezTo>
                          <a:pt x="29078" y="29723"/>
                          <a:pt x="29868" y="32197"/>
                          <a:pt x="29929" y="35336"/>
                        </a:cubicBezTo>
                        <a:cubicBezTo>
                          <a:pt x="29825" y="39219"/>
                          <a:pt x="28351" y="42288"/>
                          <a:pt x="25507" y="44543"/>
                        </a:cubicBezTo>
                        <a:cubicBezTo>
                          <a:pt x="22663" y="46798"/>
                          <a:pt x="19071" y="47949"/>
                          <a:pt x="14731" y="47998"/>
                        </a:cubicBezTo>
                        <a:cubicBezTo>
                          <a:pt x="11753" y="47981"/>
                          <a:pt x="8872" y="47365"/>
                          <a:pt x="6089" y="46150"/>
                        </a:cubicBezTo>
                        <a:cubicBezTo>
                          <a:pt x="3305" y="44935"/>
                          <a:pt x="1276" y="43220"/>
                          <a:pt x="0" y="41005"/>
                        </a:cubicBezTo>
                        <a:lnTo>
                          <a:pt x="3264" y="37137"/>
                        </a:lnTo>
                        <a:cubicBezTo>
                          <a:pt x="4693" y="38943"/>
                          <a:pt x="6465" y="40316"/>
                          <a:pt x="8579" y="41255"/>
                        </a:cubicBezTo>
                        <a:cubicBezTo>
                          <a:pt x="10693" y="42194"/>
                          <a:pt x="12766" y="42666"/>
                          <a:pt x="14798" y="42672"/>
                        </a:cubicBezTo>
                        <a:cubicBezTo>
                          <a:pt x="17309" y="42665"/>
                          <a:pt x="19441" y="42045"/>
                          <a:pt x="21193" y="40813"/>
                        </a:cubicBezTo>
                        <a:cubicBezTo>
                          <a:pt x="22946" y="39581"/>
                          <a:pt x="23860" y="37777"/>
                          <a:pt x="23936" y="35403"/>
                        </a:cubicBezTo>
                        <a:cubicBezTo>
                          <a:pt x="23876" y="33168"/>
                          <a:pt x="23085" y="31398"/>
                          <a:pt x="21565" y="30095"/>
                        </a:cubicBezTo>
                        <a:cubicBezTo>
                          <a:pt x="20045" y="28792"/>
                          <a:pt x="18160" y="27681"/>
                          <a:pt x="15910" y="26763"/>
                        </a:cubicBezTo>
                        <a:cubicBezTo>
                          <a:pt x="13660" y="25844"/>
                          <a:pt x="11410" y="24845"/>
                          <a:pt x="9160" y="23763"/>
                        </a:cubicBezTo>
                        <a:cubicBezTo>
                          <a:pt x="6910" y="22682"/>
                          <a:pt x="5025" y="21246"/>
                          <a:pt x="3505" y="19455"/>
                        </a:cubicBezTo>
                        <a:cubicBezTo>
                          <a:pt x="1985" y="17663"/>
                          <a:pt x="1194" y="15243"/>
                          <a:pt x="1134" y="12195"/>
                        </a:cubicBezTo>
                        <a:cubicBezTo>
                          <a:pt x="1165" y="8740"/>
                          <a:pt x="2400" y="5865"/>
                          <a:pt x="4839" y="3571"/>
                        </a:cubicBezTo>
                        <a:cubicBezTo>
                          <a:pt x="7278" y="1278"/>
                          <a:pt x="10731" y="87"/>
                          <a:pt x="15198" y="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29" name="TextBox 3428">
                    <a:extLst>
                      <a:ext uri="{FF2B5EF4-FFF2-40B4-BE49-F238E27FC236}">
                        <a16:creationId xmlns:a16="http://schemas.microsoft.com/office/drawing/2014/main" id="{CE9C95A5-C516-7E4F-A751-74F26DAABB44}"/>
                      </a:ext>
                    </a:extLst>
                  </p:cNvPr>
                  <p:cNvSpPr txBox="1"/>
                  <p:nvPr/>
                </p:nvSpPr>
                <p:spPr>
                  <a:xfrm>
                    <a:off x="4646060" y="3741001"/>
                    <a:ext cx="41130" cy="479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1130" h="47998">
                        <a:moveTo>
                          <a:pt x="22933" y="0"/>
                        </a:moveTo>
                        <a:cubicBezTo>
                          <a:pt x="26078" y="1"/>
                          <a:pt x="28840" y="381"/>
                          <a:pt x="31219" y="1140"/>
                        </a:cubicBezTo>
                        <a:cubicBezTo>
                          <a:pt x="33597" y="1899"/>
                          <a:pt x="35725" y="3028"/>
                          <a:pt x="37602" y="4527"/>
                        </a:cubicBezTo>
                        <a:lnTo>
                          <a:pt x="35138" y="9061"/>
                        </a:lnTo>
                        <a:cubicBezTo>
                          <a:pt x="33740" y="7826"/>
                          <a:pt x="32033" y="6895"/>
                          <a:pt x="30019" y="6268"/>
                        </a:cubicBezTo>
                        <a:cubicBezTo>
                          <a:pt x="28004" y="5641"/>
                          <a:pt x="25864" y="5327"/>
                          <a:pt x="23600" y="5326"/>
                        </a:cubicBezTo>
                        <a:cubicBezTo>
                          <a:pt x="18314" y="5399"/>
                          <a:pt x="14079" y="7103"/>
                          <a:pt x="10895" y="10437"/>
                        </a:cubicBezTo>
                        <a:cubicBezTo>
                          <a:pt x="7710" y="13771"/>
                          <a:pt x="6076" y="18293"/>
                          <a:pt x="5993" y="24002"/>
                        </a:cubicBezTo>
                        <a:cubicBezTo>
                          <a:pt x="6072" y="29738"/>
                          <a:pt x="7714" y="34266"/>
                          <a:pt x="10920" y="37586"/>
                        </a:cubicBezTo>
                        <a:cubicBezTo>
                          <a:pt x="14125" y="40907"/>
                          <a:pt x="18418" y="42602"/>
                          <a:pt x="23800" y="42672"/>
                        </a:cubicBezTo>
                        <a:cubicBezTo>
                          <a:pt x="26071" y="42650"/>
                          <a:pt x="28314" y="42261"/>
                          <a:pt x="30527" y="41505"/>
                        </a:cubicBezTo>
                        <a:cubicBezTo>
                          <a:pt x="32741" y="40748"/>
                          <a:pt x="34500" y="39759"/>
                          <a:pt x="35805" y="38536"/>
                        </a:cubicBezTo>
                        <a:lnTo>
                          <a:pt x="35805" y="28929"/>
                        </a:lnTo>
                        <a:lnTo>
                          <a:pt x="23199" y="28929"/>
                        </a:lnTo>
                        <a:lnTo>
                          <a:pt x="23199" y="23603"/>
                        </a:lnTo>
                        <a:lnTo>
                          <a:pt x="41130" y="23603"/>
                        </a:lnTo>
                        <a:lnTo>
                          <a:pt x="41130" y="41538"/>
                        </a:lnTo>
                        <a:cubicBezTo>
                          <a:pt x="38960" y="43614"/>
                          <a:pt x="36258" y="45207"/>
                          <a:pt x="33026" y="46316"/>
                        </a:cubicBezTo>
                        <a:cubicBezTo>
                          <a:pt x="29795" y="47426"/>
                          <a:pt x="26675" y="47987"/>
                          <a:pt x="23666" y="47998"/>
                        </a:cubicBezTo>
                        <a:cubicBezTo>
                          <a:pt x="16319" y="47906"/>
                          <a:pt x="10558" y="45724"/>
                          <a:pt x="6381" y="41450"/>
                        </a:cubicBezTo>
                        <a:cubicBezTo>
                          <a:pt x="2204" y="37176"/>
                          <a:pt x="78" y="31361"/>
                          <a:pt x="0" y="24002"/>
                        </a:cubicBezTo>
                        <a:cubicBezTo>
                          <a:pt x="25" y="19485"/>
                          <a:pt x="974" y="15425"/>
                          <a:pt x="2848" y="11821"/>
                        </a:cubicBezTo>
                        <a:cubicBezTo>
                          <a:pt x="4722" y="8217"/>
                          <a:pt x="7370" y="5358"/>
                          <a:pt x="10792" y="3244"/>
                        </a:cubicBezTo>
                        <a:cubicBezTo>
                          <a:pt x="14215" y="1129"/>
                          <a:pt x="18261" y="48"/>
                          <a:pt x="22933" y="0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0" name="TextBox 3429">
                    <a:extLst>
                      <a:ext uri="{FF2B5EF4-FFF2-40B4-BE49-F238E27FC236}">
                        <a16:creationId xmlns:a16="http://schemas.microsoft.com/office/drawing/2014/main" id="{CDEED17D-9F1F-CF20-BC3D-774DBBE1E491}"/>
                      </a:ext>
                    </a:extLst>
                  </p:cNvPr>
                  <p:cNvSpPr txBox="1"/>
                  <p:nvPr/>
                </p:nvSpPr>
                <p:spPr>
                  <a:xfrm>
                    <a:off x="4479416" y="3741001"/>
                    <a:ext cx="45006" cy="469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5006" h="46931">
                        <a:moveTo>
                          <a:pt x="20070" y="0"/>
                        </a:moveTo>
                        <a:lnTo>
                          <a:pt x="24937" y="0"/>
                        </a:lnTo>
                        <a:lnTo>
                          <a:pt x="45006" y="46931"/>
                        </a:lnTo>
                        <a:lnTo>
                          <a:pt x="38939" y="46931"/>
                        </a:lnTo>
                        <a:lnTo>
                          <a:pt x="32938" y="32796"/>
                        </a:lnTo>
                        <a:lnTo>
                          <a:pt x="11668" y="32796"/>
                        </a:lnTo>
                        <a:lnTo>
                          <a:pt x="5734" y="46931"/>
                        </a:lnTo>
                        <a:lnTo>
                          <a:pt x="0" y="46931"/>
                        </a:lnTo>
                        <a:lnTo>
                          <a:pt x="20070" y="0"/>
                        </a:lnTo>
                        <a:close/>
                        <a:moveTo>
                          <a:pt x="22336" y="7534"/>
                        </a:moveTo>
                        <a:lnTo>
                          <a:pt x="13935" y="27470"/>
                        </a:lnTo>
                        <a:lnTo>
                          <a:pt x="30737" y="27470"/>
                        </a:lnTo>
                        <a:lnTo>
                          <a:pt x="22336" y="753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1" name="TextBox 3430">
                    <a:extLst>
                      <a:ext uri="{FF2B5EF4-FFF2-40B4-BE49-F238E27FC236}">
                        <a16:creationId xmlns:a16="http://schemas.microsoft.com/office/drawing/2014/main" id="{ABDF5380-0FA6-6D16-01CF-99B71D3C754B}"/>
                      </a:ext>
                    </a:extLst>
                  </p:cNvPr>
                  <p:cNvSpPr txBox="1"/>
                  <p:nvPr/>
                </p:nvSpPr>
                <p:spPr>
                  <a:xfrm>
                    <a:off x="4700872" y="3741001"/>
                    <a:ext cx="45006" cy="4693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5006" h="46931">
                        <a:moveTo>
                          <a:pt x="20069" y="0"/>
                        </a:moveTo>
                        <a:lnTo>
                          <a:pt x="24937" y="0"/>
                        </a:lnTo>
                        <a:lnTo>
                          <a:pt x="45006" y="46931"/>
                        </a:lnTo>
                        <a:lnTo>
                          <a:pt x="38939" y="46931"/>
                        </a:lnTo>
                        <a:lnTo>
                          <a:pt x="32938" y="32796"/>
                        </a:lnTo>
                        <a:lnTo>
                          <a:pt x="11668" y="32796"/>
                        </a:lnTo>
                        <a:lnTo>
                          <a:pt x="5734" y="46931"/>
                        </a:lnTo>
                        <a:lnTo>
                          <a:pt x="0" y="46931"/>
                        </a:lnTo>
                        <a:lnTo>
                          <a:pt x="20069" y="0"/>
                        </a:lnTo>
                        <a:close/>
                        <a:moveTo>
                          <a:pt x="22336" y="7534"/>
                        </a:moveTo>
                        <a:lnTo>
                          <a:pt x="13935" y="27470"/>
                        </a:lnTo>
                        <a:lnTo>
                          <a:pt x="30738" y="27470"/>
                        </a:lnTo>
                        <a:lnTo>
                          <a:pt x="22336" y="7534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2" name="TextBox 3431">
                    <a:extLst>
                      <a:ext uri="{FF2B5EF4-FFF2-40B4-BE49-F238E27FC236}">
                        <a16:creationId xmlns:a16="http://schemas.microsoft.com/office/drawing/2014/main" id="{2DE7C196-2B70-307D-81D0-1EF8C49037C5}"/>
                      </a:ext>
                    </a:extLst>
                  </p:cNvPr>
                  <p:cNvSpPr txBox="1"/>
                  <p:nvPr/>
                </p:nvSpPr>
                <p:spPr>
                  <a:xfrm>
                    <a:off x="4330639" y="3738620"/>
                    <a:ext cx="34530" cy="467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530" h="46798">
                        <a:moveTo>
                          <a:pt x="12530" y="0"/>
                        </a:moveTo>
                        <a:cubicBezTo>
                          <a:pt x="18794" y="107"/>
                          <a:pt x="23153" y="1475"/>
                          <a:pt x="25606" y="4106"/>
                        </a:cubicBezTo>
                        <a:cubicBezTo>
                          <a:pt x="28059" y="6736"/>
                          <a:pt x="29233" y="9989"/>
                          <a:pt x="29129" y="13865"/>
                        </a:cubicBezTo>
                        <a:cubicBezTo>
                          <a:pt x="29028" y="17512"/>
                          <a:pt x="27982" y="20455"/>
                          <a:pt x="25990" y="22692"/>
                        </a:cubicBezTo>
                        <a:cubicBezTo>
                          <a:pt x="23999" y="24928"/>
                          <a:pt x="21669" y="26386"/>
                          <a:pt x="19001" y="27064"/>
                        </a:cubicBezTo>
                        <a:lnTo>
                          <a:pt x="34530" y="46798"/>
                        </a:lnTo>
                        <a:lnTo>
                          <a:pt x="27598" y="46798"/>
                        </a:lnTo>
                        <a:lnTo>
                          <a:pt x="13264" y="28129"/>
                        </a:lnTo>
                        <a:lnTo>
                          <a:pt x="5659" y="28129"/>
                        </a:lnTo>
                        <a:lnTo>
                          <a:pt x="5659" y="46798"/>
                        </a:lnTo>
                        <a:lnTo>
                          <a:pt x="0" y="46798"/>
                        </a:lnTo>
                        <a:lnTo>
                          <a:pt x="0" y="134"/>
                        </a:lnTo>
                        <a:cubicBezTo>
                          <a:pt x="948" y="132"/>
                          <a:pt x="2316" y="120"/>
                          <a:pt x="4106" y="99"/>
                        </a:cubicBezTo>
                        <a:cubicBezTo>
                          <a:pt x="5896" y="78"/>
                          <a:pt x="7616" y="56"/>
                          <a:pt x="9266" y="35"/>
                        </a:cubicBezTo>
                        <a:cubicBezTo>
                          <a:pt x="10915" y="14"/>
                          <a:pt x="12003" y="2"/>
                          <a:pt x="12530" y="0"/>
                        </a:cubicBezTo>
                        <a:close/>
                        <a:moveTo>
                          <a:pt x="12197" y="5326"/>
                        </a:moveTo>
                        <a:cubicBezTo>
                          <a:pt x="11420" y="5328"/>
                          <a:pt x="10422" y="5341"/>
                          <a:pt x="9203" y="5368"/>
                        </a:cubicBezTo>
                        <a:cubicBezTo>
                          <a:pt x="7984" y="5394"/>
                          <a:pt x="6803" y="5425"/>
                          <a:pt x="5659" y="5460"/>
                        </a:cubicBezTo>
                        <a:lnTo>
                          <a:pt x="5659" y="22803"/>
                        </a:lnTo>
                        <a:lnTo>
                          <a:pt x="12530" y="22803"/>
                        </a:lnTo>
                        <a:cubicBezTo>
                          <a:pt x="15336" y="22780"/>
                          <a:pt x="17779" y="21993"/>
                          <a:pt x="19860" y="20444"/>
                        </a:cubicBezTo>
                        <a:cubicBezTo>
                          <a:pt x="21940" y="18894"/>
                          <a:pt x="23032" y="16723"/>
                          <a:pt x="23137" y="13931"/>
                        </a:cubicBezTo>
                        <a:cubicBezTo>
                          <a:pt x="23198" y="11472"/>
                          <a:pt x="22408" y="9437"/>
                          <a:pt x="20768" y="7828"/>
                        </a:cubicBezTo>
                        <a:cubicBezTo>
                          <a:pt x="19129" y="6218"/>
                          <a:pt x="16271" y="5384"/>
                          <a:pt x="12197" y="5326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3" name="TextBox 3432">
                    <a:extLst>
                      <a:ext uri="{FF2B5EF4-FFF2-40B4-BE49-F238E27FC236}">
                        <a16:creationId xmlns:a16="http://schemas.microsoft.com/office/drawing/2014/main" id="{992227D6-167A-CDCC-6314-AC15F26DF10C}"/>
                      </a:ext>
                    </a:extLst>
                  </p:cNvPr>
                  <p:cNvSpPr txBox="1"/>
                  <p:nvPr/>
                </p:nvSpPr>
                <p:spPr>
                  <a:xfrm>
                    <a:off x="4428271" y="3741001"/>
                    <a:ext cx="34530" cy="467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4530" h="46798">
                        <a:moveTo>
                          <a:pt x="12530" y="0"/>
                        </a:moveTo>
                        <a:cubicBezTo>
                          <a:pt x="18794" y="107"/>
                          <a:pt x="23153" y="1475"/>
                          <a:pt x="25606" y="4106"/>
                        </a:cubicBezTo>
                        <a:cubicBezTo>
                          <a:pt x="28059" y="6736"/>
                          <a:pt x="29233" y="9989"/>
                          <a:pt x="29129" y="13865"/>
                        </a:cubicBezTo>
                        <a:cubicBezTo>
                          <a:pt x="29028" y="17512"/>
                          <a:pt x="27982" y="20455"/>
                          <a:pt x="25990" y="22692"/>
                        </a:cubicBezTo>
                        <a:cubicBezTo>
                          <a:pt x="23999" y="24928"/>
                          <a:pt x="21669" y="26386"/>
                          <a:pt x="19001" y="27064"/>
                        </a:cubicBezTo>
                        <a:lnTo>
                          <a:pt x="34530" y="46798"/>
                        </a:lnTo>
                        <a:lnTo>
                          <a:pt x="27598" y="46798"/>
                        </a:lnTo>
                        <a:lnTo>
                          <a:pt x="13264" y="28129"/>
                        </a:lnTo>
                        <a:lnTo>
                          <a:pt x="5659" y="28129"/>
                        </a:lnTo>
                        <a:lnTo>
                          <a:pt x="5659" y="46798"/>
                        </a:lnTo>
                        <a:lnTo>
                          <a:pt x="0" y="46798"/>
                        </a:lnTo>
                        <a:lnTo>
                          <a:pt x="0" y="134"/>
                        </a:lnTo>
                        <a:cubicBezTo>
                          <a:pt x="948" y="132"/>
                          <a:pt x="2316" y="120"/>
                          <a:pt x="4106" y="99"/>
                        </a:cubicBezTo>
                        <a:cubicBezTo>
                          <a:pt x="5896" y="78"/>
                          <a:pt x="7616" y="56"/>
                          <a:pt x="9266" y="35"/>
                        </a:cubicBezTo>
                        <a:cubicBezTo>
                          <a:pt x="10915" y="14"/>
                          <a:pt x="12003" y="2"/>
                          <a:pt x="12530" y="0"/>
                        </a:cubicBezTo>
                        <a:close/>
                        <a:moveTo>
                          <a:pt x="12197" y="5326"/>
                        </a:moveTo>
                        <a:cubicBezTo>
                          <a:pt x="11420" y="5328"/>
                          <a:pt x="10422" y="5341"/>
                          <a:pt x="9203" y="5368"/>
                        </a:cubicBezTo>
                        <a:cubicBezTo>
                          <a:pt x="7984" y="5394"/>
                          <a:pt x="6803" y="5425"/>
                          <a:pt x="5659" y="5460"/>
                        </a:cubicBezTo>
                        <a:lnTo>
                          <a:pt x="5659" y="22803"/>
                        </a:lnTo>
                        <a:lnTo>
                          <a:pt x="12530" y="22803"/>
                        </a:lnTo>
                        <a:cubicBezTo>
                          <a:pt x="15336" y="22780"/>
                          <a:pt x="17779" y="21993"/>
                          <a:pt x="19859" y="20444"/>
                        </a:cubicBezTo>
                        <a:cubicBezTo>
                          <a:pt x="21940" y="18894"/>
                          <a:pt x="23032" y="16723"/>
                          <a:pt x="23137" y="13931"/>
                        </a:cubicBezTo>
                        <a:cubicBezTo>
                          <a:pt x="23198" y="11472"/>
                          <a:pt x="22408" y="9437"/>
                          <a:pt x="20768" y="7828"/>
                        </a:cubicBezTo>
                        <a:cubicBezTo>
                          <a:pt x="19128" y="6218"/>
                          <a:pt x="16271" y="5384"/>
                          <a:pt x="12197" y="5326"/>
                        </a:cubicBez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4" name="TextBox 3433">
                    <a:extLst>
                      <a:ext uri="{FF2B5EF4-FFF2-40B4-BE49-F238E27FC236}">
                        <a16:creationId xmlns:a16="http://schemas.microsoft.com/office/drawing/2014/main" id="{B5975529-7AFD-E6EA-6448-B9CADC4638CF}"/>
                      </a:ext>
                    </a:extLst>
                  </p:cNvPr>
                  <p:cNvSpPr txBox="1"/>
                  <p:nvPr/>
                </p:nvSpPr>
                <p:spPr>
                  <a:xfrm>
                    <a:off x="4220435" y="3738620"/>
                    <a:ext cx="37396" cy="472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396" h="47264">
                        <a:moveTo>
                          <a:pt x="0" y="0"/>
                        </a:moveTo>
                        <a:lnTo>
                          <a:pt x="5659" y="0"/>
                        </a:lnTo>
                        <a:lnTo>
                          <a:pt x="5659" y="25670"/>
                        </a:lnTo>
                        <a:cubicBezTo>
                          <a:pt x="5682" y="30781"/>
                          <a:pt x="6869" y="34760"/>
                          <a:pt x="9219" y="37604"/>
                        </a:cubicBezTo>
                        <a:cubicBezTo>
                          <a:pt x="11568" y="40449"/>
                          <a:pt x="14939" y="41894"/>
                          <a:pt x="19331" y="41938"/>
                        </a:cubicBezTo>
                        <a:cubicBezTo>
                          <a:pt x="23204" y="41940"/>
                          <a:pt x="26230" y="40620"/>
                          <a:pt x="28410" y="37980"/>
                        </a:cubicBezTo>
                        <a:cubicBezTo>
                          <a:pt x="30591" y="35339"/>
                          <a:pt x="31699" y="31369"/>
                          <a:pt x="31737" y="26070"/>
                        </a:cubicBezTo>
                        <a:lnTo>
                          <a:pt x="31737" y="0"/>
                        </a:lnTo>
                        <a:lnTo>
                          <a:pt x="37396" y="0"/>
                        </a:lnTo>
                        <a:lnTo>
                          <a:pt x="37396" y="27203"/>
                        </a:lnTo>
                        <a:cubicBezTo>
                          <a:pt x="37349" y="31943"/>
                          <a:pt x="36495" y="35790"/>
                          <a:pt x="34832" y="38746"/>
                        </a:cubicBezTo>
                        <a:cubicBezTo>
                          <a:pt x="33169" y="41701"/>
                          <a:pt x="30976" y="43864"/>
                          <a:pt x="28254" y="45234"/>
                        </a:cubicBezTo>
                        <a:cubicBezTo>
                          <a:pt x="25531" y="46604"/>
                          <a:pt x="22557" y="47281"/>
                          <a:pt x="19331" y="47264"/>
                        </a:cubicBezTo>
                        <a:cubicBezTo>
                          <a:pt x="13624" y="47263"/>
                          <a:pt x="9001" y="45550"/>
                          <a:pt x="5464" y="42126"/>
                        </a:cubicBezTo>
                        <a:cubicBezTo>
                          <a:pt x="1926" y="38702"/>
                          <a:pt x="105" y="33572"/>
                          <a:pt x="0" y="26736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5" name="TextBox 3434">
                    <a:extLst>
                      <a:ext uri="{FF2B5EF4-FFF2-40B4-BE49-F238E27FC236}">
                        <a16:creationId xmlns:a16="http://schemas.microsoft.com/office/drawing/2014/main" id="{C399F809-822F-ED00-B68E-5525E78E4357}"/>
                      </a:ext>
                    </a:extLst>
                  </p:cNvPr>
                  <p:cNvSpPr txBox="1"/>
                  <p:nvPr/>
                </p:nvSpPr>
                <p:spPr>
                  <a:xfrm>
                    <a:off x="4278251" y="3738620"/>
                    <a:ext cx="5659" cy="466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659" h="46664">
                        <a:moveTo>
                          <a:pt x="0" y="0"/>
                        </a:moveTo>
                        <a:lnTo>
                          <a:pt x="5659" y="0"/>
                        </a:lnTo>
                        <a:lnTo>
                          <a:pt x="5659" y="46664"/>
                        </a:lnTo>
                        <a:lnTo>
                          <a:pt x="0" y="4666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6" name="TextBox 3435">
                    <a:extLst>
                      <a:ext uri="{FF2B5EF4-FFF2-40B4-BE49-F238E27FC236}">
                        <a16:creationId xmlns:a16="http://schemas.microsoft.com/office/drawing/2014/main" id="{34304E35-F624-291E-B74D-F2C9DEF76254}"/>
                      </a:ext>
                    </a:extLst>
                  </p:cNvPr>
                  <p:cNvSpPr txBox="1"/>
                  <p:nvPr/>
                </p:nvSpPr>
                <p:spPr>
                  <a:xfrm>
                    <a:off x="4285044" y="3738620"/>
                    <a:ext cx="28403" cy="466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8403" h="46664">
                        <a:moveTo>
                          <a:pt x="20469" y="0"/>
                        </a:moveTo>
                        <a:lnTo>
                          <a:pt x="27337" y="0"/>
                        </a:lnTo>
                        <a:lnTo>
                          <a:pt x="6534" y="21932"/>
                        </a:lnTo>
                        <a:lnTo>
                          <a:pt x="28403" y="46664"/>
                        </a:lnTo>
                        <a:lnTo>
                          <a:pt x="21136" y="46664"/>
                        </a:lnTo>
                        <a:lnTo>
                          <a:pt x="0" y="22332"/>
                        </a:lnTo>
                        <a:lnTo>
                          <a:pt x="20469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7" name="TextBox 3436">
                    <a:extLst>
                      <a:ext uri="{FF2B5EF4-FFF2-40B4-BE49-F238E27FC236}">
                        <a16:creationId xmlns:a16="http://schemas.microsoft.com/office/drawing/2014/main" id="{08ADC0F9-2D1F-146E-1DEC-2C4C77B186FB}"/>
                      </a:ext>
                    </a:extLst>
                  </p:cNvPr>
                  <p:cNvSpPr txBox="1"/>
                  <p:nvPr/>
                </p:nvSpPr>
                <p:spPr>
                  <a:xfrm>
                    <a:off x="4374312" y="3741001"/>
                    <a:ext cx="38330" cy="466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8330" h="46664">
                        <a:moveTo>
                          <a:pt x="0" y="0"/>
                        </a:moveTo>
                        <a:lnTo>
                          <a:pt x="38330" y="0"/>
                        </a:lnTo>
                        <a:lnTo>
                          <a:pt x="38330" y="5325"/>
                        </a:lnTo>
                        <a:lnTo>
                          <a:pt x="21995" y="5325"/>
                        </a:lnTo>
                        <a:lnTo>
                          <a:pt x="21995" y="46664"/>
                        </a:lnTo>
                        <a:lnTo>
                          <a:pt x="16336" y="46664"/>
                        </a:lnTo>
                        <a:lnTo>
                          <a:pt x="16336" y="5325"/>
                        </a:lnTo>
                        <a:lnTo>
                          <a:pt x="0" y="532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8" name="TextBox 3437">
                    <a:extLst>
                      <a:ext uri="{FF2B5EF4-FFF2-40B4-BE49-F238E27FC236}">
                        <a16:creationId xmlns:a16="http://schemas.microsoft.com/office/drawing/2014/main" id="{5CA29A78-B51F-CBA1-29B9-6905DC324A2F}"/>
                      </a:ext>
                    </a:extLst>
                  </p:cNvPr>
                  <p:cNvSpPr txBox="1"/>
                  <p:nvPr/>
                </p:nvSpPr>
                <p:spPr>
                  <a:xfrm>
                    <a:off x="4542571" y="3741001"/>
                    <a:ext cx="38997" cy="466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8997" h="46664">
                        <a:moveTo>
                          <a:pt x="0" y="0"/>
                        </a:moveTo>
                        <a:lnTo>
                          <a:pt x="4527" y="0"/>
                        </a:lnTo>
                        <a:lnTo>
                          <a:pt x="33671" y="36798"/>
                        </a:lnTo>
                        <a:lnTo>
                          <a:pt x="33671" y="0"/>
                        </a:lnTo>
                        <a:lnTo>
                          <a:pt x="38997" y="0"/>
                        </a:lnTo>
                        <a:lnTo>
                          <a:pt x="38997" y="46664"/>
                        </a:lnTo>
                        <a:lnTo>
                          <a:pt x="34470" y="46664"/>
                        </a:lnTo>
                        <a:lnTo>
                          <a:pt x="5326" y="9999"/>
                        </a:lnTo>
                        <a:lnTo>
                          <a:pt x="5326" y="46664"/>
                        </a:lnTo>
                        <a:lnTo>
                          <a:pt x="0" y="4666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spc="32" dirty="0">
                      <a:latin typeface="Circe" panose="020B0502020203020203" pitchFamily="34" charset="-52"/>
                    </a:endParaRPr>
                  </a:p>
                </p:txBody>
              </p:sp>
              <p:sp>
                <p:nvSpPr>
                  <p:cNvPr id="3439" name="TextBox 3438">
                    <a:extLst>
                      <a:ext uri="{FF2B5EF4-FFF2-40B4-BE49-F238E27FC236}">
                        <a16:creationId xmlns:a16="http://schemas.microsoft.com/office/drawing/2014/main" id="{5A816CD4-BCC0-AE2E-0B36-B9E0F193F415}"/>
                      </a:ext>
                    </a:extLst>
                  </p:cNvPr>
                  <p:cNvSpPr txBox="1"/>
                  <p:nvPr/>
                </p:nvSpPr>
                <p:spPr>
                  <a:xfrm>
                    <a:off x="4758121" y="3741001"/>
                    <a:ext cx="37733" cy="4772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7733" h="47727">
                        <a:moveTo>
                          <a:pt x="2767" y="0"/>
                        </a:moveTo>
                        <a:lnTo>
                          <a:pt x="36951" y="0"/>
                        </a:lnTo>
                        <a:lnTo>
                          <a:pt x="36951" y="5632"/>
                        </a:lnTo>
                        <a:lnTo>
                          <a:pt x="10158" y="38742"/>
                        </a:lnTo>
                        <a:lnTo>
                          <a:pt x="7260" y="42095"/>
                        </a:lnTo>
                        <a:lnTo>
                          <a:pt x="37733" y="42095"/>
                        </a:lnTo>
                        <a:lnTo>
                          <a:pt x="37733" y="47727"/>
                        </a:lnTo>
                        <a:lnTo>
                          <a:pt x="0" y="47727"/>
                        </a:lnTo>
                        <a:lnTo>
                          <a:pt x="0" y="41867"/>
                        </a:lnTo>
                        <a:lnTo>
                          <a:pt x="24450" y="11297"/>
                        </a:lnTo>
                        <a:cubicBezTo>
                          <a:pt x="26186" y="9126"/>
                          <a:pt x="27836" y="7238"/>
                          <a:pt x="29398" y="5632"/>
                        </a:cubicBezTo>
                        <a:lnTo>
                          <a:pt x="2767" y="5632"/>
                        </a:lnTo>
                        <a:lnTo>
                          <a:pt x="2767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sz="227" dirty="0"/>
                  </a:p>
                </p:txBody>
              </p:sp>
            </p:grpSp>
          </p:grpSp>
          <p:sp>
            <p:nvSpPr>
              <p:cNvPr id="3450" name="Полілінія: фігура 3449">
                <a:extLst>
                  <a:ext uri="{FF2B5EF4-FFF2-40B4-BE49-F238E27FC236}">
                    <a16:creationId xmlns:a16="http://schemas.microsoft.com/office/drawing/2014/main" id="{C4012894-49E5-A776-255F-62D2D64F6E6A}"/>
                  </a:ext>
                </a:extLst>
              </p:cNvPr>
              <p:cNvSpPr/>
              <p:nvPr/>
            </p:nvSpPr>
            <p:spPr>
              <a:xfrm>
                <a:off x="2302035" y="188657"/>
                <a:ext cx="1275266" cy="206275"/>
              </a:xfrm>
              <a:custGeom>
                <a:avLst/>
                <a:gdLst/>
                <a:ahLst/>
                <a:cxnLst/>
                <a:rect l="l" t="t" r="r" b="b"/>
                <a:pathLst>
                  <a:path w="1275266" h="206275">
                    <a:moveTo>
                      <a:pt x="397837" y="35397"/>
                    </a:moveTo>
                    <a:cubicBezTo>
                      <a:pt x="394549" y="35403"/>
                      <a:pt x="390904" y="35462"/>
                      <a:pt x="386901" y="35576"/>
                    </a:cubicBezTo>
                    <a:cubicBezTo>
                      <a:pt x="382898" y="35689"/>
                      <a:pt x="378538" y="35820"/>
                      <a:pt x="373820" y="35969"/>
                    </a:cubicBezTo>
                    <a:lnTo>
                      <a:pt x="373820" y="95440"/>
                    </a:lnTo>
                    <a:lnTo>
                      <a:pt x="396694" y="95440"/>
                    </a:lnTo>
                    <a:cubicBezTo>
                      <a:pt x="407171" y="95440"/>
                      <a:pt x="416094" y="92867"/>
                      <a:pt x="423463" y="87720"/>
                    </a:cubicBezTo>
                    <a:cubicBezTo>
                      <a:pt x="430831" y="82574"/>
                      <a:pt x="434679" y="74854"/>
                      <a:pt x="435007" y="64561"/>
                    </a:cubicBezTo>
                    <a:cubicBezTo>
                      <a:pt x="435245" y="56466"/>
                      <a:pt x="432624" y="49639"/>
                      <a:pt x="427144" y="44082"/>
                    </a:cubicBezTo>
                    <a:cubicBezTo>
                      <a:pt x="421664" y="38524"/>
                      <a:pt x="411895" y="35629"/>
                      <a:pt x="397837" y="35397"/>
                    </a:cubicBezTo>
                    <a:close/>
                    <a:moveTo>
                      <a:pt x="995934" y="3429"/>
                    </a:moveTo>
                    <a:lnTo>
                      <a:pt x="1111627" y="3429"/>
                    </a:lnTo>
                    <a:lnTo>
                      <a:pt x="1111627" y="36254"/>
                    </a:lnTo>
                    <a:lnTo>
                      <a:pt x="1031045" y="36254"/>
                    </a:lnTo>
                    <a:lnTo>
                      <a:pt x="1031045" y="85725"/>
                    </a:lnTo>
                    <a:lnTo>
                      <a:pt x="1103054" y="85725"/>
                    </a:lnTo>
                    <a:lnTo>
                      <a:pt x="1103054" y="118550"/>
                    </a:lnTo>
                    <a:lnTo>
                      <a:pt x="1031045" y="118550"/>
                    </a:lnTo>
                    <a:lnTo>
                      <a:pt x="1031045" y="170307"/>
                    </a:lnTo>
                    <a:lnTo>
                      <a:pt x="1114484" y="170307"/>
                    </a:lnTo>
                    <a:lnTo>
                      <a:pt x="1114484" y="203132"/>
                    </a:lnTo>
                    <a:lnTo>
                      <a:pt x="995934" y="203132"/>
                    </a:lnTo>
                    <a:close/>
                    <a:moveTo>
                      <a:pt x="714470" y="3429"/>
                    </a:moveTo>
                    <a:lnTo>
                      <a:pt x="749582" y="3429"/>
                    </a:lnTo>
                    <a:lnTo>
                      <a:pt x="749582" y="203132"/>
                    </a:lnTo>
                    <a:lnTo>
                      <a:pt x="714470" y="203132"/>
                    </a:lnTo>
                    <a:close/>
                    <a:moveTo>
                      <a:pt x="491091" y="3429"/>
                    </a:moveTo>
                    <a:lnTo>
                      <a:pt x="528524" y="3429"/>
                    </a:lnTo>
                    <a:lnTo>
                      <a:pt x="587960" y="151495"/>
                    </a:lnTo>
                    <a:lnTo>
                      <a:pt x="644824" y="3429"/>
                    </a:lnTo>
                    <a:lnTo>
                      <a:pt x="679972" y="3429"/>
                    </a:lnTo>
                    <a:lnTo>
                      <a:pt x="599962" y="203704"/>
                    </a:lnTo>
                    <a:lnTo>
                      <a:pt x="573387" y="203704"/>
                    </a:lnTo>
                    <a:close/>
                    <a:moveTo>
                      <a:pt x="176784" y="3429"/>
                    </a:moveTo>
                    <a:lnTo>
                      <a:pt x="292477" y="3429"/>
                    </a:lnTo>
                    <a:lnTo>
                      <a:pt x="292477" y="36254"/>
                    </a:lnTo>
                    <a:lnTo>
                      <a:pt x="211895" y="36254"/>
                    </a:lnTo>
                    <a:lnTo>
                      <a:pt x="211895" y="85725"/>
                    </a:lnTo>
                    <a:lnTo>
                      <a:pt x="283904" y="85725"/>
                    </a:lnTo>
                    <a:lnTo>
                      <a:pt x="283904" y="118550"/>
                    </a:lnTo>
                    <a:lnTo>
                      <a:pt x="211895" y="118550"/>
                    </a:lnTo>
                    <a:lnTo>
                      <a:pt x="211895" y="170307"/>
                    </a:lnTo>
                    <a:lnTo>
                      <a:pt x="295334" y="170307"/>
                    </a:lnTo>
                    <a:lnTo>
                      <a:pt x="295334" y="203132"/>
                    </a:lnTo>
                    <a:lnTo>
                      <a:pt x="176784" y="203132"/>
                    </a:lnTo>
                    <a:close/>
                    <a:moveTo>
                      <a:pt x="399553" y="2571"/>
                    </a:moveTo>
                    <a:cubicBezTo>
                      <a:pt x="426455" y="2981"/>
                      <a:pt x="445372" y="8941"/>
                      <a:pt x="456303" y="20453"/>
                    </a:cubicBezTo>
                    <a:cubicBezTo>
                      <a:pt x="467234" y="31965"/>
                      <a:pt x="472506" y="46572"/>
                      <a:pt x="472118" y="64275"/>
                    </a:cubicBezTo>
                    <a:cubicBezTo>
                      <a:pt x="471949" y="75674"/>
                      <a:pt x="469845" y="85272"/>
                      <a:pt x="465806" y="93067"/>
                    </a:cubicBezTo>
                    <a:cubicBezTo>
                      <a:pt x="461767" y="100862"/>
                      <a:pt x="456808" y="107069"/>
                      <a:pt x="450929" y="111687"/>
                    </a:cubicBezTo>
                    <a:cubicBezTo>
                      <a:pt x="445050" y="116305"/>
                      <a:pt x="439266" y="119548"/>
                      <a:pt x="433577" y="121415"/>
                    </a:cubicBezTo>
                    <a:lnTo>
                      <a:pt x="496121" y="203132"/>
                    </a:lnTo>
                    <a:lnTo>
                      <a:pt x="453562" y="203132"/>
                    </a:lnTo>
                    <a:lnTo>
                      <a:pt x="398409" y="128266"/>
                    </a:lnTo>
                    <a:lnTo>
                      <a:pt x="373820" y="128266"/>
                    </a:lnTo>
                    <a:lnTo>
                      <a:pt x="373820" y="203132"/>
                    </a:lnTo>
                    <a:lnTo>
                      <a:pt x="338709" y="203132"/>
                    </a:lnTo>
                    <a:lnTo>
                      <a:pt x="338709" y="3142"/>
                    </a:lnTo>
                    <a:cubicBezTo>
                      <a:pt x="342859" y="3135"/>
                      <a:pt x="349343" y="3086"/>
                      <a:pt x="358160" y="2994"/>
                    </a:cubicBezTo>
                    <a:cubicBezTo>
                      <a:pt x="366978" y="2903"/>
                      <a:pt x="375495" y="2811"/>
                      <a:pt x="383711" y="2719"/>
                    </a:cubicBezTo>
                    <a:cubicBezTo>
                      <a:pt x="391927" y="2628"/>
                      <a:pt x="397208" y="2578"/>
                      <a:pt x="399553" y="2571"/>
                    </a:cubicBezTo>
                    <a:close/>
                    <a:moveTo>
                      <a:pt x="1209847" y="0"/>
                    </a:moveTo>
                    <a:cubicBezTo>
                      <a:pt x="1222237" y="71"/>
                      <a:pt x="1233335" y="1998"/>
                      <a:pt x="1243142" y="5780"/>
                    </a:cubicBezTo>
                    <a:cubicBezTo>
                      <a:pt x="1252950" y="9562"/>
                      <a:pt x="1260898" y="14771"/>
                      <a:pt x="1266988" y="21408"/>
                    </a:cubicBezTo>
                    <a:lnTo>
                      <a:pt x="1248146" y="47687"/>
                    </a:lnTo>
                    <a:cubicBezTo>
                      <a:pt x="1243424" y="42941"/>
                      <a:pt x="1238306" y="39285"/>
                      <a:pt x="1232791" y="36719"/>
                    </a:cubicBezTo>
                    <a:cubicBezTo>
                      <a:pt x="1227277" y="34153"/>
                      <a:pt x="1220582" y="32855"/>
                      <a:pt x="1212706" y="32825"/>
                    </a:cubicBezTo>
                    <a:cubicBezTo>
                      <a:pt x="1203907" y="32920"/>
                      <a:pt x="1197057" y="34945"/>
                      <a:pt x="1192154" y="38899"/>
                    </a:cubicBezTo>
                    <a:cubicBezTo>
                      <a:pt x="1187251" y="42852"/>
                      <a:pt x="1184761" y="48164"/>
                      <a:pt x="1184684" y="54833"/>
                    </a:cubicBezTo>
                    <a:cubicBezTo>
                      <a:pt x="1185155" y="64844"/>
                      <a:pt x="1189873" y="72493"/>
                      <a:pt x="1198837" y="77779"/>
                    </a:cubicBezTo>
                    <a:cubicBezTo>
                      <a:pt x="1207801" y="83065"/>
                      <a:pt x="1218180" y="88088"/>
                      <a:pt x="1229975" y="92847"/>
                    </a:cubicBezTo>
                    <a:cubicBezTo>
                      <a:pt x="1241770" y="97607"/>
                      <a:pt x="1252149" y="104202"/>
                      <a:pt x="1261113" y="112632"/>
                    </a:cubicBezTo>
                    <a:cubicBezTo>
                      <a:pt x="1270077" y="121062"/>
                      <a:pt x="1274795" y="133427"/>
                      <a:pt x="1275266" y="149726"/>
                    </a:cubicBezTo>
                    <a:cubicBezTo>
                      <a:pt x="1274821" y="166832"/>
                      <a:pt x="1268360" y="180471"/>
                      <a:pt x="1255884" y="190644"/>
                    </a:cubicBezTo>
                    <a:cubicBezTo>
                      <a:pt x="1243407" y="200816"/>
                      <a:pt x="1227585" y="206026"/>
                      <a:pt x="1208417" y="206275"/>
                    </a:cubicBezTo>
                    <a:cubicBezTo>
                      <a:pt x="1199688" y="206263"/>
                      <a:pt x="1190942" y="205051"/>
                      <a:pt x="1182178" y="202639"/>
                    </a:cubicBezTo>
                    <a:cubicBezTo>
                      <a:pt x="1173415" y="200227"/>
                      <a:pt x="1165541" y="196688"/>
                      <a:pt x="1158557" y="192025"/>
                    </a:cubicBezTo>
                    <a:cubicBezTo>
                      <a:pt x="1151574" y="187361"/>
                      <a:pt x="1146388" y="181645"/>
                      <a:pt x="1143000" y="174877"/>
                    </a:cubicBezTo>
                    <a:lnTo>
                      <a:pt x="1162988" y="150870"/>
                    </a:lnTo>
                    <a:cubicBezTo>
                      <a:pt x="1169060" y="158438"/>
                      <a:pt x="1176260" y="164095"/>
                      <a:pt x="1184587" y="167841"/>
                    </a:cubicBezTo>
                    <a:cubicBezTo>
                      <a:pt x="1192914" y="171586"/>
                      <a:pt x="1201048" y="173456"/>
                      <a:pt x="1208989" y="173450"/>
                    </a:cubicBezTo>
                    <a:cubicBezTo>
                      <a:pt x="1217460" y="173420"/>
                      <a:pt x="1224394" y="171407"/>
                      <a:pt x="1229791" y="167412"/>
                    </a:cubicBezTo>
                    <a:cubicBezTo>
                      <a:pt x="1235188" y="163416"/>
                      <a:pt x="1237976" y="157616"/>
                      <a:pt x="1238155" y="150012"/>
                    </a:cubicBezTo>
                    <a:cubicBezTo>
                      <a:pt x="1237683" y="140474"/>
                      <a:pt x="1232965" y="133040"/>
                      <a:pt x="1224001" y="127709"/>
                    </a:cubicBezTo>
                    <a:cubicBezTo>
                      <a:pt x="1215037" y="122378"/>
                      <a:pt x="1204658" y="117212"/>
                      <a:pt x="1192863" y="112212"/>
                    </a:cubicBezTo>
                    <a:cubicBezTo>
                      <a:pt x="1181069" y="107212"/>
                      <a:pt x="1170689" y="100438"/>
                      <a:pt x="1161725" y="91892"/>
                    </a:cubicBezTo>
                    <a:cubicBezTo>
                      <a:pt x="1152761" y="83345"/>
                      <a:pt x="1148044" y="71088"/>
                      <a:pt x="1147572" y="55119"/>
                    </a:cubicBezTo>
                    <a:cubicBezTo>
                      <a:pt x="1147738" y="39697"/>
                      <a:pt x="1153258" y="26760"/>
                      <a:pt x="1164135" y="16309"/>
                    </a:cubicBezTo>
                    <a:cubicBezTo>
                      <a:pt x="1175011" y="5858"/>
                      <a:pt x="1190248" y="421"/>
                      <a:pt x="1209847" y="0"/>
                    </a:cubicBezTo>
                    <a:close/>
                    <a:moveTo>
                      <a:pt x="892838" y="0"/>
                    </a:moveTo>
                    <a:cubicBezTo>
                      <a:pt x="905928" y="95"/>
                      <a:pt x="917680" y="1974"/>
                      <a:pt x="928092" y="5637"/>
                    </a:cubicBezTo>
                    <a:cubicBezTo>
                      <a:pt x="938504" y="9300"/>
                      <a:pt x="947041" y="14176"/>
                      <a:pt x="953702" y="20266"/>
                    </a:cubicBezTo>
                    <a:lnTo>
                      <a:pt x="937986" y="46258"/>
                    </a:lnTo>
                    <a:cubicBezTo>
                      <a:pt x="932104" y="42197"/>
                      <a:pt x="925580" y="38958"/>
                      <a:pt x="918412" y="36540"/>
                    </a:cubicBezTo>
                    <a:cubicBezTo>
                      <a:pt x="911245" y="34123"/>
                      <a:pt x="902720" y="32885"/>
                      <a:pt x="892838" y="32825"/>
                    </a:cubicBezTo>
                    <a:cubicBezTo>
                      <a:pt x="873871" y="33039"/>
                      <a:pt x="858369" y="39328"/>
                      <a:pt x="846332" y="51689"/>
                    </a:cubicBezTo>
                    <a:cubicBezTo>
                      <a:pt x="834295" y="64051"/>
                      <a:pt x="828079" y="81200"/>
                      <a:pt x="827687" y="103137"/>
                    </a:cubicBezTo>
                    <a:cubicBezTo>
                      <a:pt x="828014" y="124324"/>
                      <a:pt x="834431" y="141259"/>
                      <a:pt x="846939" y="153942"/>
                    </a:cubicBezTo>
                    <a:cubicBezTo>
                      <a:pt x="859446" y="166626"/>
                      <a:pt x="876079" y="173128"/>
                      <a:pt x="896838" y="173450"/>
                    </a:cubicBezTo>
                    <a:cubicBezTo>
                      <a:pt x="905333" y="173444"/>
                      <a:pt x="913632" y="172098"/>
                      <a:pt x="921734" y="169413"/>
                    </a:cubicBezTo>
                    <a:cubicBezTo>
                      <a:pt x="929836" y="166727"/>
                      <a:pt x="937349" y="162737"/>
                      <a:pt x="944273" y="157444"/>
                    </a:cubicBezTo>
                    <a:lnTo>
                      <a:pt x="957703" y="183726"/>
                    </a:lnTo>
                    <a:cubicBezTo>
                      <a:pt x="951160" y="190535"/>
                      <a:pt x="942171" y="195970"/>
                      <a:pt x="930735" y="200031"/>
                    </a:cubicBezTo>
                    <a:cubicBezTo>
                      <a:pt x="919299" y="204093"/>
                      <a:pt x="906952" y="206174"/>
                      <a:pt x="893695" y="206275"/>
                    </a:cubicBezTo>
                    <a:cubicBezTo>
                      <a:pt x="862645" y="205872"/>
                      <a:pt x="837814" y="196471"/>
                      <a:pt x="819203" y="178072"/>
                    </a:cubicBezTo>
                    <a:cubicBezTo>
                      <a:pt x="800592" y="159673"/>
                      <a:pt x="791050" y="134695"/>
                      <a:pt x="790575" y="103137"/>
                    </a:cubicBezTo>
                    <a:cubicBezTo>
                      <a:pt x="790615" y="83778"/>
                      <a:pt x="794563" y="66353"/>
                      <a:pt x="802419" y="50864"/>
                    </a:cubicBezTo>
                    <a:cubicBezTo>
                      <a:pt x="810275" y="35375"/>
                      <a:pt x="821798" y="23078"/>
                      <a:pt x="836988" y="13972"/>
                    </a:cubicBezTo>
                    <a:cubicBezTo>
                      <a:pt x="852179" y="4867"/>
                      <a:pt x="870795" y="209"/>
                      <a:pt x="892838" y="0"/>
                    </a:cubicBezTo>
                    <a:close/>
                    <a:moveTo>
                      <a:pt x="66846" y="0"/>
                    </a:moveTo>
                    <a:cubicBezTo>
                      <a:pt x="79236" y="71"/>
                      <a:pt x="90335" y="1998"/>
                      <a:pt x="100142" y="5780"/>
                    </a:cubicBezTo>
                    <a:cubicBezTo>
                      <a:pt x="109950" y="9562"/>
                      <a:pt x="117898" y="14771"/>
                      <a:pt x="123988" y="21408"/>
                    </a:cubicBezTo>
                    <a:lnTo>
                      <a:pt x="105146" y="47687"/>
                    </a:lnTo>
                    <a:cubicBezTo>
                      <a:pt x="100424" y="42941"/>
                      <a:pt x="95305" y="39285"/>
                      <a:pt x="89791" y="36719"/>
                    </a:cubicBezTo>
                    <a:cubicBezTo>
                      <a:pt x="84277" y="34153"/>
                      <a:pt x="77581" y="32855"/>
                      <a:pt x="69706" y="32825"/>
                    </a:cubicBezTo>
                    <a:cubicBezTo>
                      <a:pt x="60907" y="32920"/>
                      <a:pt x="54056" y="34945"/>
                      <a:pt x="49154" y="38899"/>
                    </a:cubicBezTo>
                    <a:cubicBezTo>
                      <a:pt x="44251" y="42852"/>
                      <a:pt x="41761" y="48164"/>
                      <a:pt x="41684" y="54833"/>
                    </a:cubicBezTo>
                    <a:cubicBezTo>
                      <a:pt x="42155" y="64844"/>
                      <a:pt x="46873" y="72493"/>
                      <a:pt x="55837" y="77779"/>
                    </a:cubicBezTo>
                    <a:cubicBezTo>
                      <a:pt x="64801" y="83065"/>
                      <a:pt x="75180" y="88088"/>
                      <a:pt x="86975" y="92847"/>
                    </a:cubicBezTo>
                    <a:cubicBezTo>
                      <a:pt x="98770" y="97607"/>
                      <a:pt x="109149" y="104202"/>
                      <a:pt x="118113" y="112632"/>
                    </a:cubicBezTo>
                    <a:cubicBezTo>
                      <a:pt x="127077" y="121062"/>
                      <a:pt x="131795" y="133427"/>
                      <a:pt x="132266" y="149726"/>
                    </a:cubicBezTo>
                    <a:cubicBezTo>
                      <a:pt x="131821" y="166832"/>
                      <a:pt x="125360" y="180471"/>
                      <a:pt x="112884" y="190644"/>
                    </a:cubicBezTo>
                    <a:cubicBezTo>
                      <a:pt x="100407" y="200816"/>
                      <a:pt x="84585" y="206026"/>
                      <a:pt x="65417" y="206275"/>
                    </a:cubicBezTo>
                    <a:cubicBezTo>
                      <a:pt x="56688" y="206263"/>
                      <a:pt x="47942" y="205051"/>
                      <a:pt x="39178" y="202639"/>
                    </a:cubicBezTo>
                    <a:cubicBezTo>
                      <a:pt x="30415" y="200227"/>
                      <a:pt x="22541" y="196688"/>
                      <a:pt x="15557" y="192025"/>
                    </a:cubicBezTo>
                    <a:cubicBezTo>
                      <a:pt x="8574" y="187361"/>
                      <a:pt x="3388" y="181645"/>
                      <a:pt x="0" y="174877"/>
                    </a:cubicBezTo>
                    <a:lnTo>
                      <a:pt x="19987" y="150870"/>
                    </a:lnTo>
                    <a:cubicBezTo>
                      <a:pt x="26060" y="158438"/>
                      <a:pt x="33260" y="164095"/>
                      <a:pt x="41587" y="167841"/>
                    </a:cubicBezTo>
                    <a:cubicBezTo>
                      <a:pt x="49914" y="171586"/>
                      <a:pt x="58048" y="173456"/>
                      <a:pt x="65989" y="173450"/>
                    </a:cubicBezTo>
                    <a:cubicBezTo>
                      <a:pt x="74460" y="173420"/>
                      <a:pt x="81394" y="171407"/>
                      <a:pt x="86791" y="167412"/>
                    </a:cubicBezTo>
                    <a:cubicBezTo>
                      <a:pt x="92188" y="163416"/>
                      <a:pt x="94976" y="157616"/>
                      <a:pt x="95155" y="150012"/>
                    </a:cubicBezTo>
                    <a:cubicBezTo>
                      <a:pt x="94683" y="140474"/>
                      <a:pt x="89965" y="133040"/>
                      <a:pt x="81001" y="127709"/>
                    </a:cubicBezTo>
                    <a:cubicBezTo>
                      <a:pt x="72037" y="122378"/>
                      <a:pt x="61658" y="117212"/>
                      <a:pt x="49863" y="112212"/>
                    </a:cubicBezTo>
                    <a:cubicBezTo>
                      <a:pt x="38069" y="107212"/>
                      <a:pt x="27689" y="100438"/>
                      <a:pt x="18725" y="91892"/>
                    </a:cubicBezTo>
                    <a:cubicBezTo>
                      <a:pt x="9761" y="83345"/>
                      <a:pt x="5044" y="71088"/>
                      <a:pt x="4572" y="55119"/>
                    </a:cubicBezTo>
                    <a:cubicBezTo>
                      <a:pt x="4737" y="39697"/>
                      <a:pt x="10258" y="26760"/>
                      <a:pt x="21134" y="16309"/>
                    </a:cubicBezTo>
                    <a:cubicBezTo>
                      <a:pt x="32011" y="5858"/>
                      <a:pt x="47248" y="421"/>
                      <a:pt x="66846" y="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sp>
            <p:nvSpPr>
              <p:cNvPr id="3449" name="Полілінія: фігура 3448">
                <a:extLst>
                  <a:ext uri="{FF2B5EF4-FFF2-40B4-BE49-F238E27FC236}">
                    <a16:creationId xmlns:a16="http://schemas.microsoft.com/office/drawing/2014/main" id="{FC6DE689-45A1-8522-F53A-5E0CFCC41FED}"/>
                  </a:ext>
                </a:extLst>
              </p:cNvPr>
              <p:cNvSpPr/>
              <p:nvPr/>
            </p:nvSpPr>
            <p:spPr>
              <a:xfrm>
                <a:off x="7181757" y="194106"/>
                <a:ext cx="2727257" cy="262568"/>
              </a:xfrm>
              <a:custGeom>
                <a:avLst/>
                <a:gdLst/>
                <a:ahLst/>
                <a:cxnLst/>
                <a:rect l="l" t="t" r="r" b="b"/>
                <a:pathLst>
                  <a:path w="2727257" h="262568">
                    <a:moveTo>
                      <a:pt x="1765247" y="35397"/>
                    </a:moveTo>
                    <a:cubicBezTo>
                      <a:pt x="1761661" y="35403"/>
                      <a:pt x="1757753" y="35462"/>
                      <a:pt x="1753524" y="35576"/>
                    </a:cubicBezTo>
                    <a:cubicBezTo>
                      <a:pt x="1749295" y="35689"/>
                      <a:pt x="1744816" y="35820"/>
                      <a:pt x="1740086" y="35969"/>
                    </a:cubicBezTo>
                    <a:lnTo>
                      <a:pt x="1740086" y="97440"/>
                    </a:lnTo>
                    <a:cubicBezTo>
                      <a:pt x="1744250" y="97874"/>
                      <a:pt x="1748431" y="98220"/>
                      <a:pt x="1752631" y="98476"/>
                    </a:cubicBezTo>
                    <a:cubicBezTo>
                      <a:pt x="1756830" y="98732"/>
                      <a:pt x="1760940" y="98863"/>
                      <a:pt x="1764961" y="98869"/>
                    </a:cubicBezTo>
                    <a:cubicBezTo>
                      <a:pt x="1775641" y="98917"/>
                      <a:pt x="1784445" y="96320"/>
                      <a:pt x="1791372" y="91078"/>
                    </a:cubicBezTo>
                    <a:cubicBezTo>
                      <a:pt x="1798300" y="85836"/>
                      <a:pt x="1801886" y="77664"/>
                      <a:pt x="1802130" y="66561"/>
                    </a:cubicBezTo>
                    <a:cubicBezTo>
                      <a:pt x="1802094" y="56131"/>
                      <a:pt x="1798949" y="48328"/>
                      <a:pt x="1792694" y="43152"/>
                    </a:cubicBezTo>
                    <a:cubicBezTo>
                      <a:pt x="1786440" y="37976"/>
                      <a:pt x="1777291" y="35391"/>
                      <a:pt x="1765247" y="35397"/>
                    </a:cubicBezTo>
                    <a:close/>
                    <a:moveTo>
                      <a:pt x="621103" y="35397"/>
                    </a:moveTo>
                    <a:cubicBezTo>
                      <a:pt x="617815" y="35403"/>
                      <a:pt x="614170" y="35462"/>
                      <a:pt x="610167" y="35576"/>
                    </a:cubicBezTo>
                    <a:cubicBezTo>
                      <a:pt x="606164" y="35689"/>
                      <a:pt x="601804" y="35820"/>
                      <a:pt x="597086" y="35969"/>
                    </a:cubicBezTo>
                    <a:lnTo>
                      <a:pt x="597086" y="95440"/>
                    </a:lnTo>
                    <a:lnTo>
                      <a:pt x="619960" y="95440"/>
                    </a:lnTo>
                    <a:cubicBezTo>
                      <a:pt x="630437" y="95440"/>
                      <a:pt x="639360" y="92867"/>
                      <a:pt x="646729" y="87720"/>
                    </a:cubicBezTo>
                    <a:cubicBezTo>
                      <a:pt x="654097" y="82574"/>
                      <a:pt x="657945" y="74854"/>
                      <a:pt x="658273" y="64561"/>
                    </a:cubicBezTo>
                    <a:cubicBezTo>
                      <a:pt x="658511" y="56466"/>
                      <a:pt x="655890" y="49639"/>
                      <a:pt x="650410" y="44082"/>
                    </a:cubicBezTo>
                    <a:cubicBezTo>
                      <a:pt x="644930" y="38524"/>
                      <a:pt x="635161" y="35629"/>
                      <a:pt x="621103" y="35397"/>
                    </a:cubicBezTo>
                    <a:close/>
                    <a:moveTo>
                      <a:pt x="1965560" y="32825"/>
                    </a:moveTo>
                    <a:cubicBezTo>
                      <a:pt x="1946017" y="33165"/>
                      <a:pt x="1930082" y="39703"/>
                      <a:pt x="1917756" y="52439"/>
                    </a:cubicBezTo>
                    <a:cubicBezTo>
                      <a:pt x="1905430" y="65176"/>
                      <a:pt x="1899070" y="82076"/>
                      <a:pt x="1898677" y="103137"/>
                    </a:cubicBezTo>
                    <a:cubicBezTo>
                      <a:pt x="1899124" y="123574"/>
                      <a:pt x="1905591" y="140294"/>
                      <a:pt x="1918078" y="153299"/>
                    </a:cubicBezTo>
                    <a:cubicBezTo>
                      <a:pt x="1930565" y="166304"/>
                      <a:pt x="1946392" y="173021"/>
                      <a:pt x="1965560" y="173450"/>
                    </a:cubicBezTo>
                    <a:cubicBezTo>
                      <a:pt x="1986741" y="172985"/>
                      <a:pt x="2003188" y="166197"/>
                      <a:pt x="2014901" y="153085"/>
                    </a:cubicBezTo>
                    <a:cubicBezTo>
                      <a:pt x="2026614" y="139973"/>
                      <a:pt x="2032557" y="123323"/>
                      <a:pt x="2032730" y="103137"/>
                    </a:cubicBezTo>
                    <a:cubicBezTo>
                      <a:pt x="2032289" y="82076"/>
                      <a:pt x="2025810" y="65176"/>
                      <a:pt x="2013294" y="52439"/>
                    </a:cubicBezTo>
                    <a:cubicBezTo>
                      <a:pt x="2000776" y="39703"/>
                      <a:pt x="1984865" y="33165"/>
                      <a:pt x="1965560" y="32825"/>
                    </a:cubicBezTo>
                    <a:close/>
                    <a:moveTo>
                      <a:pt x="2413540" y="3429"/>
                    </a:moveTo>
                    <a:lnTo>
                      <a:pt x="2578382" y="3429"/>
                    </a:lnTo>
                    <a:lnTo>
                      <a:pt x="2578382" y="36254"/>
                    </a:lnTo>
                    <a:lnTo>
                      <a:pt x="2513516" y="36254"/>
                    </a:lnTo>
                    <a:lnTo>
                      <a:pt x="2513516" y="203132"/>
                    </a:lnTo>
                    <a:lnTo>
                      <a:pt x="2478405" y="203132"/>
                    </a:lnTo>
                    <a:lnTo>
                      <a:pt x="2478405" y="36254"/>
                    </a:lnTo>
                    <a:lnTo>
                      <a:pt x="2413540" y="36254"/>
                    </a:lnTo>
                    <a:close/>
                    <a:moveTo>
                      <a:pt x="2209800" y="3429"/>
                    </a:moveTo>
                    <a:lnTo>
                      <a:pt x="2237773" y="3429"/>
                    </a:lnTo>
                    <a:lnTo>
                      <a:pt x="2347817" y="142365"/>
                    </a:lnTo>
                    <a:lnTo>
                      <a:pt x="2347817" y="3429"/>
                    </a:lnTo>
                    <a:lnTo>
                      <a:pt x="2380642" y="3429"/>
                    </a:lnTo>
                    <a:lnTo>
                      <a:pt x="2380642" y="203132"/>
                    </a:lnTo>
                    <a:lnTo>
                      <a:pt x="2352669" y="203132"/>
                    </a:lnTo>
                    <a:lnTo>
                      <a:pt x="2242625" y="64765"/>
                    </a:lnTo>
                    <a:lnTo>
                      <a:pt x="2242625" y="203132"/>
                    </a:lnTo>
                    <a:lnTo>
                      <a:pt x="2209800" y="203132"/>
                    </a:lnTo>
                    <a:close/>
                    <a:moveTo>
                      <a:pt x="2118836" y="3429"/>
                    </a:moveTo>
                    <a:lnTo>
                      <a:pt x="2153948" y="3429"/>
                    </a:lnTo>
                    <a:lnTo>
                      <a:pt x="2153948" y="203132"/>
                    </a:lnTo>
                    <a:lnTo>
                      <a:pt x="2118836" y="203132"/>
                    </a:lnTo>
                    <a:close/>
                    <a:moveTo>
                      <a:pt x="1451514" y="3429"/>
                    </a:moveTo>
                    <a:lnTo>
                      <a:pt x="1616356" y="3429"/>
                    </a:lnTo>
                    <a:lnTo>
                      <a:pt x="1616356" y="36254"/>
                    </a:lnTo>
                    <a:lnTo>
                      <a:pt x="1551491" y="36254"/>
                    </a:lnTo>
                    <a:lnTo>
                      <a:pt x="1551491" y="203132"/>
                    </a:lnTo>
                    <a:lnTo>
                      <a:pt x="1516380" y="203132"/>
                    </a:lnTo>
                    <a:lnTo>
                      <a:pt x="1516380" y="36254"/>
                    </a:lnTo>
                    <a:lnTo>
                      <a:pt x="1451514" y="36254"/>
                    </a:lnTo>
                    <a:close/>
                    <a:moveTo>
                      <a:pt x="1385411" y="3429"/>
                    </a:moveTo>
                    <a:lnTo>
                      <a:pt x="1420522" y="3429"/>
                    </a:lnTo>
                    <a:lnTo>
                      <a:pt x="1420522" y="203132"/>
                    </a:lnTo>
                    <a:lnTo>
                      <a:pt x="1385411" y="203132"/>
                    </a:lnTo>
                    <a:close/>
                    <a:moveTo>
                      <a:pt x="1168890" y="3429"/>
                    </a:moveTo>
                    <a:lnTo>
                      <a:pt x="1210038" y="3429"/>
                    </a:lnTo>
                    <a:lnTo>
                      <a:pt x="1259187" y="75607"/>
                    </a:lnTo>
                    <a:lnTo>
                      <a:pt x="1307478" y="3429"/>
                    </a:lnTo>
                    <a:lnTo>
                      <a:pt x="1348626" y="3429"/>
                    </a:lnTo>
                    <a:lnTo>
                      <a:pt x="1281190" y="101283"/>
                    </a:lnTo>
                    <a:lnTo>
                      <a:pt x="1351198" y="203132"/>
                    </a:lnTo>
                    <a:lnTo>
                      <a:pt x="1310050" y="203132"/>
                    </a:lnTo>
                    <a:lnTo>
                      <a:pt x="1258330" y="128100"/>
                    </a:lnTo>
                    <a:lnTo>
                      <a:pt x="1206894" y="203132"/>
                    </a:lnTo>
                    <a:lnTo>
                      <a:pt x="1165747" y="203132"/>
                    </a:lnTo>
                    <a:lnTo>
                      <a:pt x="1235755" y="101283"/>
                    </a:lnTo>
                    <a:close/>
                    <a:moveTo>
                      <a:pt x="1028700" y="3429"/>
                    </a:moveTo>
                    <a:lnTo>
                      <a:pt x="1144393" y="3429"/>
                    </a:lnTo>
                    <a:lnTo>
                      <a:pt x="1144393" y="36254"/>
                    </a:lnTo>
                    <a:lnTo>
                      <a:pt x="1063811" y="36254"/>
                    </a:lnTo>
                    <a:lnTo>
                      <a:pt x="1063811" y="85725"/>
                    </a:lnTo>
                    <a:lnTo>
                      <a:pt x="1135820" y="85725"/>
                    </a:lnTo>
                    <a:lnTo>
                      <a:pt x="1135820" y="118550"/>
                    </a:lnTo>
                    <a:lnTo>
                      <a:pt x="1063811" y="118550"/>
                    </a:lnTo>
                    <a:lnTo>
                      <a:pt x="1063811" y="170307"/>
                    </a:lnTo>
                    <a:lnTo>
                      <a:pt x="1147250" y="170307"/>
                    </a:lnTo>
                    <a:lnTo>
                      <a:pt x="1147250" y="203132"/>
                    </a:lnTo>
                    <a:lnTo>
                      <a:pt x="1028700" y="203132"/>
                    </a:lnTo>
                    <a:close/>
                    <a:moveTo>
                      <a:pt x="716661" y="3429"/>
                    </a:moveTo>
                    <a:lnTo>
                      <a:pt x="756666" y="3429"/>
                    </a:lnTo>
                    <a:lnTo>
                      <a:pt x="806367" y="87018"/>
                    </a:lnTo>
                    <a:lnTo>
                      <a:pt x="855500" y="3429"/>
                    </a:lnTo>
                    <a:lnTo>
                      <a:pt x="893504" y="3429"/>
                    </a:lnTo>
                    <a:lnTo>
                      <a:pt x="822353" y="119827"/>
                    </a:lnTo>
                    <a:lnTo>
                      <a:pt x="822353" y="203132"/>
                    </a:lnTo>
                    <a:lnTo>
                      <a:pt x="787241" y="203132"/>
                    </a:lnTo>
                    <a:lnTo>
                      <a:pt x="787241" y="119827"/>
                    </a:lnTo>
                    <a:close/>
                    <a:moveTo>
                      <a:pt x="365665" y="3429"/>
                    </a:moveTo>
                    <a:lnTo>
                      <a:pt x="530507" y="3429"/>
                    </a:lnTo>
                    <a:lnTo>
                      <a:pt x="530507" y="36254"/>
                    </a:lnTo>
                    <a:lnTo>
                      <a:pt x="465641" y="36254"/>
                    </a:lnTo>
                    <a:lnTo>
                      <a:pt x="465641" y="203132"/>
                    </a:lnTo>
                    <a:lnTo>
                      <a:pt x="430530" y="203132"/>
                    </a:lnTo>
                    <a:lnTo>
                      <a:pt x="430530" y="36254"/>
                    </a:lnTo>
                    <a:lnTo>
                      <a:pt x="365665" y="36254"/>
                    </a:lnTo>
                    <a:close/>
                    <a:moveTo>
                      <a:pt x="161925" y="3429"/>
                    </a:moveTo>
                    <a:lnTo>
                      <a:pt x="189898" y="3429"/>
                    </a:lnTo>
                    <a:lnTo>
                      <a:pt x="299942" y="142365"/>
                    </a:lnTo>
                    <a:lnTo>
                      <a:pt x="299942" y="3429"/>
                    </a:lnTo>
                    <a:lnTo>
                      <a:pt x="332768" y="3429"/>
                    </a:lnTo>
                    <a:lnTo>
                      <a:pt x="332768" y="203132"/>
                    </a:lnTo>
                    <a:lnTo>
                      <a:pt x="304795" y="203132"/>
                    </a:lnTo>
                    <a:lnTo>
                      <a:pt x="194750" y="64765"/>
                    </a:lnTo>
                    <a:lnTo>
                      <a:pt x="194750" y="203132"/>
                    </a:lnTo>
                    <a:lnTo>
                      <a:pt x="161925" y="203132"/>
                    </a:lnTo>
                    <a:close/>
                    <a:moveTo>
                      <a:pt x="0" y="3429"/>
                    </a:moveTo>
                    <a:lnTo>
                      <a:pt x="115693" y="3429"/>
                    </a:lnTo>
                    <a:lnTo>
                      <a:pt x="115693" y="36254"/>
                    </a:lnTo>
                    <a:lnTo>
                      <a:pt x="35111" y="36254"/>
                    </a:lnTo>
                    <a:lnTo>
                      <a:pt x="35111" y="85725"/>
                    </a:lnTo>
                    <a:lnTo>
                      <a:pt x="107120" y="85725"/>
                    </a:lnTo>
                    <a:lnTo>
                      <a:pt x="107120" y="118550"/>
                    </a:lnTo>
                    <a:lnTo>
                      <a:pt x="35111" y="118550"/>
                    </a:lnTo>
                    <a:lnTo>
                      <a:pt x="35111" y="170307"/>
                    </a:lnTo>
                    <a:lnTo>
                      <a:pt x="118550" y="170307"/>
                    </a:lnTo>
                    <a:lnTo>
                      <a:pt x="118550" y="203132"/>
                    </a:lnTo>
                    <a:lnTo>
                      <a:pt x="0" y="203132"/>
                    </a:lnTo>
                    <a:close/>
                    <a:moveTo>
                      <a:pt x="1761816" y="2571"/>
                    </a:moveTo>
                    <a:cubicBezTo>
                      <a:pt x="1781305" y="2756"/>
                      <a:pt x="1796717" y="5875"/>
                      <a:pt x="1808054" y="11929"/>
                    </a:cubicBezTo>
                    <a:cubicBezTo>
                      <a:pt x="1819390" y="17983"/>
                      <a:pt x="1827455" y="25864"/>
                      <a:pt x="1832250" y="35571"/>
                    </a:cubicBezTo>
                    <a:cubicBezTo>
                      <a:pt x="1837045" y="45278"/>
                      <a:pt x="1839376" y="55703"/>
                      <a:pt x="1839241" y="66847"/>
                    </a:cubicBezTo>
                    <a:cubicBezTo>
                      <a:pt x="1839222" y="78358"/>
                      <a:pt x="1836438" y="89002"/>
                      <a:pt x="1830886" y="98779"/>
                    </a:cubicBezTo>
                    <a:cubicBezTo>
                      <a:pt x="1825336" y="108557"/>
                      <a:pt x="1817133" y="116445"/>
                      <a:pt x="1806279" y="122442"/>
                    </a:cubicBezTo>
                    <a:cubicBezTo>
                      <a:pt x="1795425" y="128440"/>
                      <a:pt x="1782033" y="131524"/>
                      <a:pt x="1766104" y="131695"/>
                    </a:cubicBezTo>
                    <a:cubicBezTo>
                      <a:pt x="1762930" y="131712"/>
                      <a:pt x="1758915" y="131677"/>
                      <a:pt x="1754060" y="131588"/>
                    </a:cubicBezTo>
                    <a:cubicBezTo>
                      <a:pt x="1749206" y="131498"/>
                      <a:pt x="1744548" y="131249"/>
                      <a:pt x="1740086" y="130838"/>
                    </a:cubicBezTo>
                    <a:lnTo>
                      <a:pt x="1740086" y="203132"/>
                    </a:lnTo>
                    <a:lnTo>
                      <a:pt x="1704975" y="203132"/>
                    </a:lnTo>
                    <a:lnTo>
                      <a:pt x="1704975" y="3142"/>
                    </a:lnTo>
                    <a:cubicBezTo>
                      <a:pt x="1708922" y="3135"/>
                      <a:pt x="1714446" y="3086"/>
                      <a:pt x="1721546" y="2994"/>
                    </a:cubicBezTo>
                    <a:cubicBezTo>
                      <a:pt x="1728646" y="2903"/>
                      <a:pt x="1735906" y="2811"/>
                      <a:pt x="1743326" y="2719"/>
                    </a:cubicBezTo>
                    <a:cubicBezTo>
                      <a:pt x="1750747" y="2628"/>
                      <a:pt x="1756910" y="2578"/>
                      <a:pt x="1761816" y="2571"/>
                    </a:cubicBezTo>
                    <a:close/>
                    <a:moveTo>
                      <a:pt x="622819" y="2571"/>
                    </a:moveTo>
                    <a:cubicBezTo>
                      <a:pt x="649721" y="2981"/>
                      <a:pt x="668638" y="8941"/>
                      <a:pt x="679569" y="20453"/>
                    </a:cubicBezTo>
                    <a:cubicBezTo>
                      <a:pt x="690500" y="31965"/>
                      <a:pt x="695772" y="46572"/>
                      <a:pt x="695384" y="64275"/>
                    </a:cubicBezTo>
                    <a:cubicBezTo>
                      <a:pt x="695215" y="75674"/>
                      <a:pt x="693111" y="85272"/>
                      <a:pt x="689072" y="93067"/>
                    </a:cubicBezTo>
                    <a:cubicBezTo>
                      <a:pt x="685033" y="100862"/>
                      <a:pt x="680074" y="107069"/>
                      <a:pt x="674195" y="111687"/>
                    </a:cubicBezTo>
                    <a:cubicBezTo>
                      <a:pt x="668316" y="116305"/>
                      <a:pt x="662532" y="119548"/>
                      <a:pt x="656843" y="121415"/>
                    </a:cubicBezTo>
                    <a:lnTo>
                      <a:pt x="719387" y="203132"/>
                    </a:lnTo>
                    <a:lnTo>
                      <a:pt x="676829" y="203132"/>
                    </a:lnTo>
                    <a:lnTo>
                      <a:pt x="621675" y="128266"/>
                    </a:lnTo>
                    <a:lnTo>
                      <a:pt x="597086" y="128266"/>
                    </a:lnTo>
                    <a:lnTo>
                      <a:pt x="597086" y="203132"/>
                    </a:lnTo>
                    <a:lnTo>
                      <a:pt x="561975" y="203132"/>
                    </a:lnTo>
                    <a:lnTo>
                      <a:pt x="561975" y="3142"/>
                    </a:lnTo>
                    <a:cubicBezTo>
                      <a:pt x="566125" y="3135"/>
                      <a:pt x="572609" y="3086"/>
                      <a:pt x="581426" y="2994"/>
                    </a:cubicBezTo>
                    <a:cubicBezTo>
                      <a:pt x="590244" y="2903"/>
                      <a:pt x="598761" y="2811"/>
                      <a:pt x="606977" y="2719"/>
                    </a:cubicBezTo>
                    <a:cubicBezTo>
                      <a:pt x="615193" y="2628"/>
                      <a:pt x="620474" y="2578"/>
                      <a:pt x="622819" y="2571"/>
                    </a:cubicBezTo>
                    <a:close/>
                    <a:moveTo>
                      <a:pt x="2661838" y="0"/>
                    </a:moveTo>
                    <a:cubicBezTo>
                      <a:pt x="2674227" y="71"/>
                      <a:pt x="2685326" y="1998"/>
                      <a:pt x="2695133" y="5780"/>
                    </a:cubicBezTo>
                    <a:cubicBezTo>
                      <a:pt x="2704940" y="9562"/>
                      <a:pt x="2712889" y="14771"/>
                      <a:pt x="2718978" y="21408"/>
                    </a:cubicBezTo>
                    <a:lnTo>
                      <a:pt x="2700137" y="47687"/>
                    </a:lnTo>
                    <a:cubicBezTo>
                      <a:pt x="2695415" y="42941"/>
                      <a:pt x="2690296" y="39285"/>
                      <a:pt x="2684782" y="36719"/>
                    </a:cubicBezTo>
                    <a:cubicBezTo>
                      <a:pt x="2679268" y="34153"/>
                      <a:pt x="2672572" y="32855"/>
                      <a:pt x="2664697" y="32825"/>
                    </a:cubicBezTo>
                    <a:cubicBezTo>
                      <a:pt x="2655898" y="32920"/>
                      <a:pt x="2649047" y="34945"/>
                      <a:pt x="2644144" y="38899"/>
                    </a:cubicBezTo>
                    <a:cubicBezTo>
                      <a:pt x="2639242" y="42852"/>
                      <a:pt x="2636752" y="48164"/>
                      <a:pt x="2636674" y="54833"/>
                    </a:cubicBezTo>
                    <a:cubicBezTo>
                      <a:pt x="2637146" y="64844"/>
                      <a:pt x="2641864" y="72493"/>
                      <a:pt x="2650828" y="77779"/>
                    </a:cubicBezTo>
                    <a:cubicBezTo>
                      <a:pt x="2659792" y="83065"/>
                      <a:pt x="2670171" y="88088"/>
                      <a:pt x="2681966" y="92847"/>
                    </a:cubicBezTo>
                    <a:cubicBezTo>
                      <a:pt x="2693760" y="97607"/>
                      <a:pt x="2704140" y="104202"/>
                      <a:pt x="2713104" y="112632"/>
                    </a:cubicBezTo>
                    <a:cubicBezTo>
                      <a:pt x="2722068" y="121062"/>
                      <a:pt x="2726786" y="133427"/>
                      <a:pt x="2727257" y="149726"/>
                    </a:cubicBezTo>
                    <a:cubicBezTo>
                      <a:pt x="2726812" y="166832"/>
                      <a:pt x="2720351" y="180471"/>
                      <a:pt x="2707874" y="190644"/>
                    </a:cubicBezTo>
                    <a:cubicBezTo>
                      <a:pt x="2695398" y="200816"/>
                      <a:pt x="2679575" y="206026"/>
                      <a:pt x="2660408" y="206275"/>
                    </a:cubicBezTo>
                    <a:cubicBezTo>
                      <a:pt x="2651679" y="206263"/>
                      <a:pt x="2642933" y="205051"/>
                      <a:pt x="2634169" y="202639"/>
                    </a:cubicBezTo>
                    <a:cubicBezTo>
                      <a:pt x="2625406" y="200227"/>
                      <a:pt x="2617532" y="196688"/>
                      <a:pt x="2610548" y="192025"/>
                    </a:cubicBezTo>
                    <a:cubicBezTo>
                      <a:pt x="2603565" y="187361"/>
                      <a:pt x="2598379" y="181645"/>
                      <a:pt x="2594990" y="174877"/>
                    </a:cubicBezTo>
                    <a:lnTo>
                      <a:pt x="2614978" y="150870"/>
                    </a:lnTo>
                    <a:cubicBezTo>
                      <a:pt x="2621051" y="158438"/>
                      <a:pt x="2628250" y="164095"/>
                      <a:pt x="2636578" y="167841"/>
                    </a:cubicBezTo>
                    <a:cubicBezTo>
                      <a:pt x="2644905" y="171586"/>
                      <a:pt x="2653039" y="173456"/>
                      <a:pt x="2660980" y="173450"/>
                    </a:cubicBezTo>
                    <a:cubicBezTo>
                      <a:pt x="2669450" y="173420"/>
                      <a:pt x="2676385" y="171407"/>
                      <a:pt x="2681782" y="167412"/>
                    </a:cubicBezTo>
                    <a:cubicBezTo>
                      <a:pt x="2687178" y="163416"/>
                      <a:pt x="2689967" y="157616"/>
                      <a:pt x="2690145" y="150012"/>
                    </a:cubicBezTo>
                    <a:cubicBezTo>
                      <a:pt x="2689674" y="140474"/>
                      <a:pt x="2684956" y="133040"/>
                      <a:pt x="2675992" y="127709"/>
                    </a:cubicBezTo>
                    <a:cubicBezTo>
                      <a:pt x="2667028" y="122378"/>
                      <a:pt x="2656649" y="117213"/>
                      <a:pt x="2644854" y="112212"/>
                    </a:cubicBezTo>
                    <a:cubicBezTo>
                      <a:pt x="2633060" y="107212"/>
                      <a:pt x="2622680" y="100438"/>
                      <a:pt x="2613716" y="91892"/>
                    </a:cubicBezTo>
                    <a:cubicBezTo>
                      <a:pt x="2604752" y="83345"/>
                      <a:pt x="2600034" y="71088"/>
                      <a:pt x="2599563" y="55119"/>
                    </a:cubicBezTo>
                    <a:cubicBezTo>
                      <a:pt x="2599728" y="39697"/>
                      <a:pt x="2605249" y="26760"/>
                      <a:pt x="2616125" y="16309"/>
                    </a:cubicBezTo>
                    <a:cubicBezTo>
                      <a:pt x="2627002" y="5858"/>
                      <a:pt x="2642239" y="421"/>
                      <a:pt x="2661838" y="0"/>
                    </a:cubicBezTo>
                    <a:close/>
                    <a:moveTo>
                      <a:pt x="1965560" y="0"/>
                    </a:moveTo>
                    <a:cubicBezTo>
                      <a:pt x="1985564" y="119"/>
                      <a:pt x="2003384" y="4417"/>
                      <a:pt x="2019019" y="12892"/>
                    </a:cubicBezTo>
                    <a:cubicBezTo>
                      <a:pt x="2034654" y="21368"/>
                      <a:pt x="2046988" y="33306"/>
                      <a:pt x="2056017" y="48705"/>
                    </a:cubicBezTo>
                    <a:cubicBezTo>
                      <a:pt x="2065047" y="64104"/>
                      <a:pt x="2069655" y="82248"/>
                      <a:pt x="2069842" y="103137"/>
                    </a:cubicBezTo>
                    <a:cubicBezTo>
                      <a:pt x="2069655" y="123307"/>
                      <a:pt x="2065047" y="141112"/>
                      <a:pt x="2056017" y="156554"/>
                    </a:cubicBezTo>
                    <a:cubicBezTo>
                      <a:pt x="2046988" y="171995"/>
                      <a:pt x="2034654" y="184102"/>
                      <a:pt x="2019019" y="192874"/>
                    </a:cubicBezTo>
                    <a:cubicBezTo>
                      <a:pt x="2003384" y="201647"/>
                      <a:pt x="1985564" y="206114"/>
                      <a:pt x="1965560" y="206275"/>
                    </a:cubicBezTo>
                    <a:cubicBezTo>
                      <a:pt x="1945560" y="206156"/>
                      <a:pt x="1927766" y="201858"/>
                      <a:pt x="1912176" y="193382"/>
                    </a:cubicBezTo>
                    <a:cubicBezTo>
                      <a:pt x="1896586" y="184907"/>
                      <a:pt x="1884300" y="172969"/>
                      <a:pt x="1875316" y="157570"/>
                    </a:cubicBezTo>
                    <a:cubicBezTo>
                      <a:pt x="1866332" y="142171"/>
                      <a:pt x="1861749" y="124026"/>
                      <a:pt x="1861566" y="103137"/>
                    </a:cubicBezTo>
                    <a:cubicBezTo>
                      <a:pt x="1861712" y="83598"/>
                      <a:pt x="1866147" y="66089"/>
                      <a:pt x="1874871" y="50610"/>
                    </a:cubicBezTo>
                    <a:cubicBezTo>
                      <a:pt x="1883596" y="35132"/>
                      <a:pt x="1895734" y="22877"/>
                      <a:pt x="1911287" y="13845"/>
                    </a:cubicBezTo>
                    <a:cubicBezTo>
                      <a:pt x="1926839" y="4814"/>
                      <a:pt x="1944930" y="198"/>
                      <a:pt x="1965560" y="0"/>
                    </a:cubicBezTo>
                    <a:close/>
                    <a:moveTo>
                      <a:pt x="981914" y="0"/>
                    </a:moveTo>
                    <a:lnTo>
                      <a:pt x="1007346" y="9428"/>
                    </a:lnTo>
                    <a:lnTo>
                      <a:pt x="913048" y="262568"/>
                    </a:lnTo>
                    <a:lnTo>
                      <a:pt x="887617" y="253140"/>
                    </a:ln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56357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0D14D16-8A0D-1752-27DF-5446DC72C0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1903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4" name="Групувати 283">
            <a:extLst>
              <a:ext uri="{FF2B5EF4-FFF2-40B4-BE49-F238E27FC236}">
                <a16:creationId xmlns:a16="http://schemas.microsoft.com/office/drawing/2014/main" id="{F9910D43-D2BF-2748-5090-74E6AB6631BC}"/>
              </a:ext>
            </a:extLst>
          </p:cNvPr>
          <p:cNvGrpSpPr/>
          <p:nvPr/>
        </p:nvGrpSpPr>
        <p:grpSpPr>
          <a:xfrm>
            <a:off x="92997" y="3227933"/>
            <a:ext cx="8729414" cy="3534172"/>
            <a:chOff x="1193893" y="1511247"/>
            <a:chExt cx="8953813" cy="4042611"/>
          </a:xfrm>
          <a:effectLst/>
        </p:grpSpPr>
        <p:sp>
          <p:nvSpPr>
            <p:cNvPr id="285" name="Прямокутник: округлені кути 284">
              <a:extLst>
                <a:ext uri="{FF2B5EF4-FFF2-40B4-BE49-F238E27FC236}">
                  <a16:creationId xmlns:a16="http://schemas.microsoft.com/office/drawing/2014/main" id="{0AC9E1DE-E700-B5BF-EE99-8519D00D5A21}"/>
                </a:ext>
              </a:extLst>
            </p:cNvPr>
            <p:cNvSpPr/>
            <p:nvPr/>
          </p:nvSpPr>
          <p:spPr>
            <a:xfrm>
              <a:off x="1193893" y="1511247"/>
              <a:ext cx="8953813" cy="4042611"/>
            </a:xfrm>
            <a:prstGeom prst="roundRect">
              <a:avLst>
                <a:gd name="adj" fmla="val 4196"/>
              </a:avLst>
            </a:prstGeom>
            <a:solidFill>
              <a:srgbClr val="F0F0F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286" name="Рисунок 285">
              <a:extLst>
                <a:ext uri="{FF2B5EF4-FFF2-40B4-BE49-F238E27FC236}">
                  <a16:creationId xmlns:a16="http://schemas.microsoft.com/office/drawing/2014/main" id="{22FD608A-FC23-9127-2174-1539CF013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7821" r="1831" b="8991"/>
            <a:stretch/>
          </p:blipFill>
          <p:spPr>
            <a:xfrm>
              <a:off x="1573781" y="1994150"/>
              <a:ext cx="8562929" cy="3297249"/>
            </a:xfrm>
            <a:prstGeom prst="rect">
              <a:avLst/>
            </a:prstGeom>
          </p:spPr>
        </p:pic>
      </p:grpSp>
      <p:grpSp>
        <p:nvGrpSpPr>
          <p:cNvPr id="287" name="Групувати 286">
            <a:extLst>
              <a:ext uri="{FF2B5EF4-FFF2-40B4-BE49-F238E27FC236}">
                <a16:creationId xmlns:a16="http://schemas.microsoft.com/office/drawing/2014/main" id="{450D0E24-830B-44A6-CB42-A3CA1B172945}"/>
              </a:ext>
            </a:extLst>
          </p:cNvPr>
          <p:cNvGrpSpPr/>
          <p:nvPr/>
        </p:nvGrpSpPr>
        <p:grpSpPr>
          <a:xfrm>
            <a:off x="5480484" y="4072669"/>
            <a:ext cx="335176" cy="212945"/>
            <a:chOff x="5032343" y="666164"/>
            <a:chExt cx="2271563" cy="1474760"/>
          </a:xfrm>
        </p:grpSpPr>
        <p:sp>
          <p:nvSpPr>
            <p:cNvPr id="288" name="Полілінія: фігура 287">
              <a:extLst>
                <a:ext uri="{FF2B5EF4-FFF2-40B4-BE49-F238E27FC236}">
                  <a16:creationId xmlns:a16="http://schemas.microsoft.com/office/drawing/2014/main" id="{298452A9-4B57-049A-BAD3-CD2584BBF1DE}"/>
                </a:ext>
              </a:extLst>
            </p:cNvPr>
            <p:cNvSpPr/>
            <p:nvPr/>
          </p:nvSpPr>
          <p:spPr>
            <a:xfrm rot="19938366">
              <a:off x="5032343" y="941578"/>
              <a:ext cx="1598433" cy="1199346"/>
            </a:xfrm>
            <a:custGeom>
              <a:avLst/>
              <a:gdLst>
                <a:gd name="connsiteX0" fmla="*/ 1049348 w 1598433"/>
                <a:gd name="connsiteY0" fmla="*/ 113450 h 1199346"/>
                <a:gd name="connsiteX1" fmla="*/ 1048396 w 1598433"/>
                <a:gd name="connsiteY1" fmla="*/ 113526 h 1199346"/>
                <a:gd name="connsiteX2" fmla="*/ 1594034 w 1598433"/>
                <a:gd name="connsiteY2" fmla="*/ 733395 h 1199346"/>
                <a:gd name="connsiteX3" fmla="*/ 1597431 w 1598433"/>
                <a:gd name="connsiteY3" fmla="*/ 735178 h 1199346"/>
                <a:gd name="connsiteX4" fmla="*/ 1598168 w 1598433"/>
                <a:gd name="connsiteY4" fmla="*/ 736015 h 1199346"/>
                <a:gd name="connsiteX5" fmla="*/ 1597481 w 1598433"/>
                <a:gd name="connsiteY5" fmla="*/ 737311 h 1199346"/>
                <a:gd name="connsiteX6" fmla="*/ 1598433 w 1598433"/>
                <a:gd name="connsiteY6" fmla="*/ 738393 h 1199346"/>
                <a:gd name="connsiteX7" fmla="*/ 1597240 w 1598433"/>
                <a:gd name="connsiteY7" fmla="*/ 737766 h 1199346"/>
                <a:gd name="connsiteX8" fmla="*/ 1352702 w 1598433"/>
                <a:gd name="connsiteY8" fmla="*/ 1199346 h 1199346"/>
                <a:gd name="connsiteX9" fmla="*/ 0 w 1598433"/>
                <a:gd name="connsiteY9" fmla="*/ 489344 h 1199346"/>
                <a:gd name="connsiteX10" fmla="*/ 242761 w 1598433"/>
                <a:gd name="connsiteY10" fmla="*/ 26831 h 1199346"/>
                <a:gd name="connsiteX11" fmla="*/ 191643 w 1598433"/>
                <a:gd name="connsiteY11" fmla="*/ 0 h 1199346"/>
                <a:gd name="connsiteX12" fmla="*/ 1042305 w 1598433"/>
                <a:gd name="connsiteY12" fmla="*/ 110625 h 1199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98433" h="1199346">
                  <a:moveTo>
                    <a:pt x="1049348" y="113450"/>
                  </a:moveTo>
                  <a:lnTo>
                    <a:pt x="1048396" y="113526"/>
                  </a:lnTo>
                  <a:lnTo>
                    <a:pt x="1594034" y="733395"/>
                  </a:lnTo>
                  <a:lnTo>
                    <a:pt x="1597431" y="735178"/>
                  </a:lnTo>
                  <a:lnTo>
                    <a:pt x="1598168" y="736015"/>
                  </a:lnTo>
                  <a:lnTo>
                    <a:pt x="1597481" y="737311"/>
                  </a:lnTo>
                  <a:lnTo>
                    <a:pt x="1598433" y="738393"/>
                  </a:lnTo>
                  <a:lnTo>
                    <a:pt x="1597240" y="737766"/>
                  </a:lnTo>
                  <a:lnTo>
                    <a:pt x="1352702" y="1199346"/>
                  </a:lnTo>
                  <a:lnTo>
                    <a:pt x="0" y="489344"/>
                  </a:lnTo>
                  <a:lnTo>
                    <a:pt x="242761" y="26831"/>
                  </a:lnTo>
                  <a:lnTo>
                    <a:pt x="191643" y="0"/>
                  </a:lnTo>
                  <a:lnTo>
                    <a:pt x="1042305" y="110625"/>
                  </a:lnTo>
                  <a:close/>
                </a:path>
              </a:pathLst>
            </a:custGeom>
            <a:solidFill>
              <a:srgbClr val="C6CAC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89" name="Полілінія: фігура 288">
              <a:extLst>
                <a:ext uri="{FF2B5EF4-FFF2-40B4-BE49-F238E27FC236}">
                  <a16:creationId xmlns:a16="http://schemas.microsoft.com/office/drawing/2014/main" id="{7F34B310-C79B-A56B-9D97-AA7AB606F57D}"/>
                </a:ext>
              </a:extLst>
            </p:cNvPr>
            <p:cNvSpPr/>
            <p:nvPr/>
          </p:nvSpPr>
          <p:spPr>
            <a:xfrm rot="19938366">
              <a:off x="5953797" y="666164"/>
              <a:ext cx="1186991" cy="882576"/>
            </a:xfrm>
            <a:custGeom>
              <a:avLst/>
              <a:gdLst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625453 w 1186991"/>
                <a:gd name="connsiteY2" fmla="*/ 582690 h 882576"/>
                <a:gd name="connsiteX3" fmla="*/ 625453 w 1186991"/>
                <a:gd name="connsiteY3" fmla="*/ 582690 h 882576"/>
                <a:gd name="connsiteX4" fmla="*/ 625453 w 1186991"/>
                <a:gd name="connsiteY4" fmla="*/ 582690 h 882576"/>
                <a:gd name="connsiteX5" fmla="*/ 1125785 w 1186991"/>
                <a:gd name="connsiteY5" fmla="*/ 845302 h 882576"/>
                <a:gd name="connsiteX6" fmla="*/ 1125785 w 1186991"/>
                <a:gd name="connsiteY6" fmla="*/ 845302 h 882576"/>
                <a:gd name="connsiteX7" fmla="*/ 625453 w 1186991"/>
                <a:gd name="connsiteY7" fmla="*/ 582690 h 882576"/>
                <a:gd name="connsiteX8" fmla="*/ 732682 w 1186991"/>
                <a:gd name="connsiteY8" fmla="*/ 378397 h 882576"/>
                <a:gd name="connsiteX9" fmla="*/ 1186991 w 1186991"/>
                <a:gd name="connsiteY9" fmla="*/ 882576 h 882576"/>
                <a:gd name="connsiteX10" fmla="*/ 1120264 w 1186991"/>
                <a:gd name="connsiteY10" fmla="*/ 855821 h 882576"/>
                <a:gd name="connsiteX11" fmla="*/ 1120264 w 1186991"/>
                <a:gd name="connsiteY11" fmla="*/ 855821 h 882576"/>
                <a:gd name="connsiteX12" fmla="*/ 593048 w 1186991"/>
                <a:gd name="connsiteY12" fmla="*/ 644430 h 882576"/>
                <a:gd name="connsiteX13" fmla="*/ 593048 w 1186991"/>
                <a:gd name="connsiteY13" fmla="*/ 644430 h 882576"/>
                <a:gd name="connsiteX14" fmla="*/ 593048 w 1186991"/>
                <a:gd name="connsiteY14" fmla="*/ 644430 h 882576"/>
                <a:gd name="connsiteX15" fmla="*/ 591304 w 1186991"/>
                <a:gd name="connsiteY15" fmla="*/ 647752 h 882576"/>
                <a:gd name="connsiteX16" fmla="*/ 550776 w 1186991"/>
                <a:gd name="connsiteY16" fmla="*/ 625779 h 882576"/>
                <a:gd name="connsiteX17" fmla="*/ 550039 w 1186991"/>
                <a:gd name="connsiteY17" fmla="*/ 624942 h 882576"/>
                <a:gd name="connsiteX18" fmla="*/ 568146 w 1186991"/>
                <a:gd name="connsiteY18" fmla="*/ 634445 h 882576"/>
                <a:gd name="connsiteX19" fmla="*/ 550039 w 1186991"/>
                <a:gd name="connsiteY19" fmla="*/ 624942 h 882576"/>
                <a:gd name="connsiteX20" fmla="*/ 416142 w 1186991"/>
                <a:gd name="connsiteY20" fmla="*/ 472829 h 882576"/>
                <a:gd name="connsiteX21" fmla="*/ 416138 w 1186991"/>
                <a:gd name="connsiteY21" fmla="*/ 472827 h 882576"/>
                <a:gd name="connsiteX22" fmla="*/ 0 w 1186991"/>
                <a:gd name="connsiteY22" fmla="*/ 77 h 882576"/>
                <a:gd name="connsiteX23" fmla="*/ 952 w 1186991"/>
                <a:gd name="connsiteY23" fmla="*/ 0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625453 w 1186991"/>
                <a:gd name="connsiteY2" fmla="*/ 582690 h 882576"/>
                <a:gd name="connsiteX3" fmla="*/ 625453 w 1186991"/>
                <a:gd name="connsiteY3" fmla="*/ 582690 h 882576"/>
                <a:gd name="connsiteX4" fmla="*/ 625453 w 1186991"/>
                <a:gd name="connsiteY4" fmla="*/ 582690 h 882576"/>
                <a:gd name="connsiteX5" fmla="*/ 1125785 w 1186991"/>
                <a:gd name="connsiteY5" fmla="*/ 845302 h 882576"/>
                <a:gd name="connsiteX6" fmla="*/ 1125785 w 1186991"/>
                <a:gd name="connsiteY6" fmla="*/ 845302 h 882576"/>
                <a:gd name="connsiteX7" fmla="*/ 732682 w 1186991"/>
                <a:gd name="connsiteY7" fmla="*/ 378397 h 882576"/>
                <a:gd name="connsiteX8" fmla="*/ 1186991 w 1186991"/>
                <a:gd name="connsiteY8" fmla="*/ 882576 h 882576"/>
                <a:gd name="connsiteX9" fmla="*/ 1120264 w 1186991"/>
                <a:gd name="connsiteY9" fmla="*/ 855821 h 882576"/>
                <a:gd name="connsiteX10" fmla="*/ 1120264 w 1186991"/>
                <a:gd name="connsiteY10" fmla="*/ 855821 h 882576"/>
                <a:gd name="connsiteX11" fmla="*/ 593048 w 1186991"/>
                <a:gd name="connsiteY11" fmla="*/ 644430 h 882576"/>
                <a:gd name="connsiteX12" fmla="*/ 593048 w 1186991"/>
                <a:gd name="connsiteY12" fmla="*/ 644430 h 882576"/>
                <a:gd name="connsiteX13" fmla="*/ 593048 w 1186991"/>
                <a:gd name="connsiteY13" fmla="*/ 644430 h 882576"/>
                <a:gd name="connsiteX14" fmla="*/ 591304 w 1186991"/>
                <a:gd name="connsiteY14" fmla="*/ 647752 h 882576"/>
                <a:gd name="connsiteX15" fmla="*/ 550776 w 1186991"/>
                <a:gd name="connsiteY15" fmla="*/ 625779 h 882576"/>
                <a:gd name="connsiteX16" fmla="*/ 550039 w 1186991"/>
                <a:gd name="connsiteY16" fmla="*/ 624942 h 882576"/>
                <a:gd name="connsiteX17" fmla="*/ 568146 w 1186991"/>
                <a:gd name="connsiteY17" fmla="*/ 634445 h 882576"/>
                <a:gd name="connsiteX18" fmla="*/ 550039 w 1186991"/>
                <a:gd name="connsiteY18" fmla="*/ 624942 h 882576"/>
                <a:gd name="connsiteX19" fmla="*/ 416142 w 1186991"/>
                <a:gd name="connsiteY19" fmla="*/ 472829 h 882576"/>
                <a:gd name="connsiteX20" fmla="*/ 416138 w 1186991"/>
                <a:gd name="connsiteY20" fmla="*/ 472827 h 882576"/>
                <a:gd name="connsiteX21" fmla="*/ 0 w 1186991"/>
                <a:gd name="connsiteY21" fmla="*/ 77 h 882576"/>
                <a:gd name="connsiteX22" fmla="*/ 952 w 1186991"/>
                <a:gd name="connsiteY22" fmla="*/ 0 h 882576"/>
                <a:gd name="connsiteX23" fmla="*/ 612754 w 1186991"/>
                <a:gd name="connsiteY23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625453 w 1186991"/>
                <a:gd name="connsiteY2" fmla="*/ 582690 h 882576"/>
                <a:gd name="connsiteX3" fmla="*/ 625453 w 1186991"/>
                <a:gd name="connsiteY3" fmla="*/ 582690 h 882576"/>
                <a:gd name="connsiteX4" fmla="*/ 1125785 w 1186991"/>
                <a:gd name="connsiteY4" fmla="*/ 845302 h 882576"/>
                <a:gd name="connsiteX5" fmla="*/ 1125785 w 1186991"/>
                <a:gd name="connsiteY5" fmla="*/ 845302 h 882576"/>
                <a:gd name="connsiteX6" fmla="*/ 732682 w 1186991"/>
                <a:gd name="connsiteY6" fmla="*/ 378397 h 882576"/>
                <a:gd name="connsiteX7" fmla="*/ 1186991 w 1186991"/>
                <a:gd name="connsiteY7" fmla="*/ 882576 h 882576"/>
                <a:gd name="connsiteX8" fmla="*/ 1120264 w 1186991"/>
                <a:gd name="connsiteY8" fmla="*/ 855821 h 882576"/>
                <a:gd name="connsiteX9" fmla="*/ 1120264 w 1186991"/>
                <a:gd name="connsiteY9" fmla="*/ 855821 h 882576"/>
                <a:gd name="connsiteX10" fmla="*/ 593048 w 1186991"/>
                <a:gd name="connsiteY10" fmla="*/ 644430 h 882576"/>
                <a:gd name="connsiteX11" fmla="*/ 593048 w 1186991"/>
                <a:gd name="connsiteY11" fmla="*/ 644430 h 882576"/>
                <a:gd name="connsiteX12" fmla="*/ 593048 w 1186991"/>
                <a:gd name="connsiteY12" fmla="*/ 644430 h 882576"/>
                <a:gd name="connsiteX13" fmla="*/ 591304 w 1186991"/>
                <a:gd name="connsiteY13" fmla="*/ 647752 h 882576"/>
                <a:gd name="connsiteX14" fmla="*/ 550776 w 1186991"/>
                <a:gd name="connsiteY14" fmla="*/ 625779 h 882576"/>
                <a:gd name="connsiteX15" fmla="*/ 550039 w 1186991"/>
                <a:gd name="connsiteY15" fmla="*/ 624942 h 882576"/>
                <a:gd name="connsiteX16" fmla="*/ 568146 w 1186991"/>
                <a:gd name="connsiteY16" fmla="*/ 634445 h 882576"/>
                <a:gd name="connsiteX17" fmla="*/ 550039 w 1186991"/>
                <a:gd name="connsiteY17" fmla="*/ 624942 h 882576"/>
                <a:gd name="connsiteX18" fmla="*/ 416142 w 1186991"/>
                <a:gd name="connsiteY18" fmla="*/ 472829 h 882576"/>
                <a:gd name="connsiteX19" fmla="*/ 416138 w 1186991"/>
                <a:gd name="connsiteY19" fmla="*/ 472827 h 882576"/>
                <a:gd name="connsiteX20" fmla="*/ 0 w 1186991"/>
                <a:gd name="connsiteY20" fmla="*/ 77 h 882576"/>
                <a:gd name="connsiteX21" fmla="*/ 952 w 1186991"/>
                <a:gd name="connsiteY21" fmla="*/ 0 h 882576"/>
                <a:gd name="connsiteX22" fmla="*/ 612754 w 1186991"/>
                <a:gd name="connsiteY22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625453 w 1186991"/>
                <a:gd name="connsiteY2" fmla="*/ 582690 h 882576"/>
                <a:gd name="connsiteX3" fmla="*/ 1125785 w 1186991"/>
                <a:gd name="connsiteY3" fmla="*/ 845302 h 882576"/>
                <a:gd name="connsiteX4" fmla="*/ 1125785 w 1186991"/>
                <a:gd name="connsiteY4" fmla="*/ 845302 h 882576"/>
                <a:gd name="connsiteX5" fmla="*/ 732682 w 1186991"/>
                <a:gd name="connsiteY5" fmla="*/ 378397 h 882576"/>
                <a:gd name="connsiteX6" fmla="*/ 1186991 w 1186991"/>
                <a:gd name="connsiteY6" fmla="*/ 882576 h 882576"/>
                <a:gd name="connsiteX7" fmla="*/ 1120264 w 1186991"/>
                <a:gd name="connsiteY7" fmla="*/ 855821 h 882576"/>
                <a:gd name="connsiteX8" fmla="*/ 1120264 w 1186991"/>
                <a:gd name="connsiteY8" fmla="*/ 855821 h 882576"/>
                <a:gd name="connsiteX9" fmla="*/ 593048 w 1186991"/>
                <a:gd name="connsiteY9" fmla="*/ 644430 h 882576"/>
                <a:gd name="connsiteX10" fmla="*/ 593048 w 1186991"/>
                <a:gd name="connsiteY10" fmla="*/ 644430 h 882576"/>
                <a:gd name="connsiteX11" fmla="*/ 593048 w 1186991"/>
                <a:gd name="connsiteY11" fmla="*/ 644430 h 882576"/>
                <a:gd name="connsiteX12" fmla="*/ 591304 w 1186991"/>
                <a:gd name="connsiteY12" fmla="*/ 647752 h 882576"/>
                <a:gd name="connsiteX13" fmla="*/ 550776 w 1186991"/>
                <a:gd name="connsiteY13" fmla="*/ 625779 h 882576"/>
                <a:gd name="connsiteX14" fmla="*/ 550039 w 1186991"/>
                <a:gd name="connsiteY14" fmla="*/ 624942 h 882576"/>
                <a:gd name="connsiteX15" fmla="*/ 568146 w 1186991"/>
                <a:gd name="connsiteY15" fmla="*/ 634445 h 882576"/>
                <a:gd name="connsiteX16" fmla="*/ 550039 w 1186991"/>
                <a:gd name="connsiteY16" fmla="*/ 624942 h 882576"/>
                <a:gd name="connsiteX17" fmla="*/ 416142 w 1186991"/>
                <a:gd name="connsiteY17" fmla="*/ 472829 h 882576"/>
                <a:gd name="connsiteX18" fmla="*/ 416138 w 1186991"/>
                <a:gd name="connsiteY18" fmla="*/ 472827 h 882576"/>
                <a:gd name="connsiteX19" fmla="*/ 0 w 1186991"/>
                <a:gd name="connsiteY19" fmla="*/ 77 h 882576"/>
                <a:gd name="connsiteX20" fmla="*/ 952 w 1186991"/>
                <a:gd name="connsiteY20" fmla="*/ 0 h 882576"/>
                <a:gd name="connsiteX21" fmla="*/ 612754 w 1186991"/>
                <a:gd name="connsiteY21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1125785 w 1186991"/>
                <a:gd name="connsiteY2" fmla="*/ 845302 h 882576"/>
                <a:gd name="connsiteX3" fmla="*/ 1125785 w 1186991"/>
                <a:gd name="connsiteY3" fmla="*/ 845302 h 882576"/>
                <a:gd name="connsiteX4" fmla="*/ 732682 w 1186991"/>
                <a:gd name="connsiteY4" fmla="*/ 378397 h 882576"/>
                <a:gd name="connsiteX5" fmla="*/ 1186991 w 1186991"/>
                <a:gd name="connsiteY5" fmla="*/ 882576 h 882576"/>
                <a:gd name="connsiteX6" fmla="*/ 1120264 w 1186991"/>
                <a:gd name="connsiteY6" fmla="*/ 855821 h 882576"/>
                <a:gd name="connsiteX7" fmla="*/ 1120264 w 1186991"/>
                <a:gd name="connsiteY7" fmla="*/ 855821 h 882576"/>
                <a:gd name="connsiteX8" fmla="*/ 593048 w 1186991"/>
                <a:gd name="connsiteY8" fmla="*/ 644430 h 882576"/>
                <a:gd name="connsiteX9" fmla="*/ 593048 w 1186991"/>
                <a:gd name="connsiteY9" fmla="*/ 644430 h 882576"/>
                <a:gd name="connsiteX10" fmla="*/ 593048 w 1186991"/>
                <a:gd name="connsiteY10" fmla="*/ 644430 h 882576"/>
                <a:gd name="connsiteX11" fmla="*/ 591304 w 1186991"/>
                <a:gd name="connsiteY11" fmla="*/ 647752 h 882576"/>
                <a:gd name="connsiteX12" fmla="*/ 550776 w 1186991"/>
                <a:gd name="connsiteY12" fmla="*/ 625779 h 882576"/>
                <a:gd name="connsiteX13" fmla="*/ 550039 w 1186991"/>
                <a:gd name="connsiteY13" fmla="*/ 624942 h 882576"/>
                <a:gd name="connsiteX14" fmla="*/ 568146 w 1186991"/>
                <a:gd name="connsiteY14" fmla="*/ 634445 h 882576"/>
                <a:gd name="connsiteX15" fmla="*/ 550039 w 1186991"/>
                <a:gd name="connsiteY15" fmla="*/ 624942 h 882576"/>
                <a:gd name="connsiteX16" fmla="*/ 416142 w 1186991"/>
                <a:gd name="connsiteY16" fmla="*/ 472829 h 882576"/>
                <a:gd name="connsiteX17" fmla="*/ 416138 w 1186991"/>
                <a:gd name="connsiteY17" fmla="*/ 472827 h 882576"/>
                <a:gd name="connsiteX18" fmla="*/ 0 w 1186991"/>
                <a:gd name="connsiteY18" fmla="*/ 77 h 882576"/>
                <a:gd name="connsiteX19" fmla="*/ 952 w 1186991"/>
                <a:gd name="connsiteY19" fmla="*/ 0 h 882576"/>
                <a:gd name="connsiteX20" fmla="*/ 612754 w 1186991"/>
                <a:gd name="connsiteY20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1125785 w 1186991"/>
                <a:gd name="connsiteY2" fmla="*/ 845302 h 882576"/>
                <a:gd name="connsiteX3" fmla="*/ 1125785 w 1186991"/>
                <a:gd name="connsiteY3" fmla="*/ 845302 h 882576"/>
                <a:gd name="connsiteX4" fmla="*/ 732682 w 1186991"/>
                <a:gd name="connsiteY4" fmla="*/ 378397 h 882576"/>
                <a:gd name="connsiteX5" fmla="*/ 1186991 w 1186991"/>
                <a:gd name="connsiteY5" fmla="*/ 882576 h 882576"/>
                <a:gd name="connsiteX6" fmla="*/ 1120264 w 1186991"/>
                <a:gd name="connsiteY6" fmla="*/ 855821 h 882576"/>
                <a:gd name="connsiteX7" fmla="*/ 593048 w 1186991"/>
                <a:gd name="connsiteY7" fmla="*/ 644430 h 882576"/>
                <a:gd name="connsiteX8" fmla="*/ 593048 w 1186991"/>
                <a:gd name="connsiteY8" fmla="*/ 644430 h 882576"/>
                <a:gd name="connsiteX9" fmla="*/ 593048 w 1186991"/>
                <a:gd name="connsiteY9" fmla="*/ 644430 h 882576"/>
                <a:gd name="connsiteX10" fmla="*/ 591304 w 1186991"/>
                <a:gd name="connsiteY10" fmla="*/ 647752 h 882576"/>
                <a:gd name="connsiteX11" fmla="*/ 550776 w 1186991"/>
                <a:gd name="connsiteY11" fmla="*/ 625779 h 882576"/>
                <a:gd name="connsiteX12" fmla="*/ 550039 w 1186991"/>
                <a:gd name="connsiteY12" fmla="*/ 624942 h 882576"/>
                <a:gd name="connsiteX13" fmla="*/ 568146 w 1186991"/>
                <a:gd name="connsiteY13" fmla="*/ 634445 h 882576"/>
                <a:gd name="connsiteX14" fmla="*/ 550039 w 1186991"/>
                <a:gd name="connsiteY14" fmla="*/ 624942 h 882576"/>
                <a:gd name="connsiteX15" fmla="*/ 416142 w 1186991"/>
                <a:gd name="connsiteY15" fmla="*/ 472829 h 882576"/>
                <a:gd name="connsiteX16" fmla="*/ 416138 w 1186991"/>
                <a:gd name="connsiteY16" fmla="*/ 472827 h 882576"/>
                <a:gd name="connsiteX17" fmla="*/ 0 w 1186991"/>
                <a:gd name="connsiteY17" fmla="*/ 77 h 882576"/>
                <a:gd name="connsiteX18" fmla="*/ 952 w 1186991"/>
                <a:gd name="connsiteY18" fmla="*/ 0 h 882576"/>
                <a:gd name="connsiteX19" fmla="*/ 612754 w 1186991"/>
                <a:gd name="connsiteY19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1125785 w 1186991"/>
                <a:gd name="connsiteY2" fmla="*/ 845302 h 882576"/>
                <a:gd name="connsiteX3" fmla="*/ 732682 w 1186991"/>
                <a:gd name="connsiteY3" fmla="*/ 378397 h 882576"/>
                <a:gd name="connsiteX4" fmla="*/ 1186991 w 1186991"/>
                <a:gd name="connsiteY4" fmla="*/ 882576 h 882576"/>
                <a:gd name="connsiteX5" fmla="*/ 1120264 w 1186991"/>
                <a:gd name="connsiteY5" fmla="*/ 855821 h 882576"/>
                <a:gd name="connsiteX6" fmla="*/ 593048 w 1186991"/>
                <a:gd name="connsiteY6" fmla="*/ 644430 h 882576"/>
                <a:gd name="connsiteX7" fmla="*/ 593048 w 1186991"/>
                <a:gd name="connsiteY7" fmla="*/ 644430 h 882576"/>
                <a:gd name="connsiteX8" fmla="*/ 593048 w 1186991"/>
                <a:gd name="connsiteY8" fmla="*/ 644430 h 882576"/>
                <a:gd name="connsiteX9" fmla="*/ 591304 w 1186991"/>
                <a:gd name="connsiteY9" fmla="*/ 647752 h 882576"/>
                <a:gd name="connsiteX10" fmla="*/ 550776 w 1186991"/>
                <a:gd name="connsiteY10" fmla="*/ 625779 h 882576"/>
                <a:gd name="connsiteX11" fmla="*/ 550039 w 1186991"/>
                <a:gd name="connsiteY11" fmla="*/ 624942 h 882576"/>
                <a:gd name="connsiteX12" fmla="*/ 568146 w 1186991"/>
                <a:gd name="connsiteY12" fmla="*/ 634445 h 882576"/>
                <a:gd name="connsiteX13" fmla="*/ 550039 w 1186991"/>
                <a:gd name="connsiteY13" fmla="*/ 624942 h 882576"/>
                <a:gd name="connsiteX14" fmla="*/ 416142 w 1186991"/>
                <a:gd name="connsiteY14" fmla="*/ 472829 h 882576"/>
                <a:gd name="connsiteX15" fmla="*/ 416138 w 1186991"/>
                <a:gd name="connsiteY15" fmla="*/ 472827 h 882576"/>
                <a:gd name="connsiteX16" fmla="*/ 0 w 1186991"/>
                <a:gd name="connsiteY16" fmla="*/ 77 h 882576"/>
                <a:gd name="connsiteX17" fmla="*/ 952 w 1186991"/>
                <a:gd name="connsiteY17" fmla="*/ 0 h 882576"/>
                <a:gd name="connsiteX18" fmla="*/ 612754 w 1186991"/>
                <a:gd name="connsiteY18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1125785 w 1186991"/>
                <a:gd name="connsiteY2" fmla="*/ 845302 h 882576"/>
                <a:gd name="connsiteX3" fmla="*/ 732682 w 1186991"/>
                <a:gd name="connsiteY3" fmla="*/ 378397 h 882576"/>
                <a:gd name="connsiteX4" fmla="*/ 1186991 w 1186991"/>
                <a:gd name="connsiteY4" fmla="*/ 882576 h 882576"/>
                <a:gd name="connsiteX5" fmla="*/ 593048 w 1186991"/>
                <a:gd name="connsiteY5" fmla="*/ 644430 h 882576"/>
                <a:gd name="connsiteX6" fmla="*/ 593048 w 1186991"/>
                <a:gd name="connsiteY6" fmla="*/ 644430 h 882576"/>
                <a:gd name="connsiteX7" fmla="*/ 593048 w 1186991"/>
                <a:gd name="connsiteY7" fmla="*/ 644430 h 882576"/>
                <a:gd name="connsiteX8" fmla="*/ 591304 w 1186991"/>
                <a:gd name="connsiteY8" fmla="*/ 647752 h 882576"/>
                <a:gd name="connsiteX9" fmla="*/ 550776 w 1186991"/>
                <a:gd name="connsiteY9" fmla="*/ 625779 h 882576"/>
                <a:gd name="connsiteX10" fmla="*/ 550039 w 1186991"/>
                <a:gd name="connsiteY10" fmla="*/ 624942 h 882576"/>
                <a:gd name="connsiteX11" fmla="*/ 568146 w 1186991"/>
                <a:gd name="connsiteY11" fmla="*/ 634445 h 882576"/>
                <a:gd name="connsiteX12" fmla="*/ 550039 w 1186991"/>
                <a:gd name="connsiteY12" fmla="*/ 624942 h 882576"/>
                <a:gd name="connsiteX13" fmla="*/ 416142 w 1186991"/>
                <a:gd name="connsiteY13" fmla="*/ 472829 h 882576"/>
                <a:gd name="connsiteX14" fmla="*/ 416138 w 1186991"/>
                <a:gd name="connsiteY14" fmla="*/ 472827 h 882576"/>
                <a:gd name="connsiteX15" fmla="*/ 0 w 1186991"/>
                <a:gd name="connsiteY15" fmla="*/ 77 h 882576"/>
                <a:gd name="connsiteX16" fmla="*/ 952 w 1186991"/>
                <a:gd name="connsiteY16" fmla="*/ 0 h 882576"/>
                <a:gd name="connsiteX17" fmla="*/ 612754 w 1186991"/>
                <a:gd name="connsiteY17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93048 w 1186991"/>
                <a:gd name="connsiteY4" fmla="*/ 644430 h 882576"/>
                <a:gd name="connsiteX5" fmla="*/ 593048 w 1186991"/>
                <a:gd name="connsiteY5" fmla="*/ 644430 h 882576"/>
                <a:gd name="connsiteX6" fmla="*/ 593048 w 1186991"/>
                <a:gd name="connsiteY6" fmla="*/ 644430 h 882576"/>
                <a:gd name="connsiteX7" fmla="*/ 591304 w 1186991"/>
                <a:gd name="connsiteY7" fmla="*/ 647752 h 882576"/>
                <a:gd name="connsiteX8" fmla="*/ 550776 w 1186991"/>
                <a:gd name="connsiteY8" fmla="*/ 625779 h 882576"/>
                <a:gd name="connsiteX9" fmla="*/ 550039 w 1186991"/>
                <a:gd name="connsiteY9" fmla="*/ 624942 h 882576"/>
                <a:gd name="connsiteX10" fmla="*/ 568146 w 1186991"/>
                <a:gd name="connsiteY10" fmla="*/ 634445 h 882576"/>
                <a:gd name="connsiteX11" fmla="*/ 550039 w 1186991"/>
                <a:gd name="connsiteY11" fmla="*/ 624942 h 882576"/>
                <a:gd name="connsiteX12" fmla="*/ 416142 w 1186991"/>
                <a:gd name="connsiteY12" fmla="*/ 472829 h 882576"/>
                <a:gd name="connsiteX13" fmla="*/ 416138 w 1186991"/>
                <a:gd name="connsiteY13" fmla="*/ 472827 h 882576"/>
                <a:gd name="connsiteX14" fmla="*/ 0 w 1186991"/>
                <a:gd name="connsiteY14" fmla="*/ 77 h 882576"/>
                <a:gd name="connsiteX15" fmla="*/ 952 w 1186991"/>
                <a:gd name="connsiteY15" fmla="*/ 0 h 882576"/>
                <a:gd name="connsiteX16" fmla="*/ 612754 w 1186991"/>
                <a:gd name="connsiteY16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93048 w 1186991"/>
                <a:gd name="connsiteY4" fmla="*/ 644430 h 882576"/>
                <a:gd name="connsiteX5" fmla="*/ 593048 w 1186991"/>
                <a:gd name="connsiteY5" fmla="*/ 644430 h 882576"/>
                <a:gd name="connsiteX6" fmla="*/ 593048 w 1186991"/>
                <a:gd name="connsiteY6" fmla="*/ 644430 h 882576"/>
                <a:gd name="connsiteX7" fmla="*/ 591304 w 1186991"/>
                <a:gd name="connsiteY7" fmla="*/ 647752 h 882576"/>
                <a:gd name="connsiteX8" fmla="*/ 550776 w 1186991"/>
                <a:gd name="connsiteY8" fmla="*/ 625779 h 882576"/>
                <a:gd name="connsiteX9" fmla="*/ 550039 w 1186991"/>
                <a:gd name="connsiteY9" fmla="*/ 624942 h 882576"/>
                <a:gd name="connsiteX10" fmla="*/ 550039 w 1186991"/>
                <a:gd name="connsiteY10" fmla="*/ 624942 h 882576"/>
                <a:gd name="connsiteX11" fmla="*/ 416142 w 1186991"/>
                <a:gd name="connsiteY11" fmla="*/ 472829 h 882576"/>
                <a:gd name="connsiteX12" fmla="*/ 416138 w 1186991"/>
                <a:gd name="connsiteY12" fmla="*/ 472827 h 882576"/>
                <a:gd name="connsiteX13" fmla="*/ 0 w 1186991"/>
                <a:gd name="connsiteY13" fmla="*/ 77 h 882576"/>
                <a:gd name="connsiteX14" fmla="*/ 952 w 1186991"/>
                <a:gd name="connsiteY14" fmla="*/ 0 h 882576"/>
                <a:gd name="connsiteX15" fmla="*/ 612754 w 1186991"/>
                <a:gd name="connsiteY15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93048 w 1186991"/>
                <a:gd name="connsiteY4" fmla="*/ 644430 h 882576"/>
                <a:gd name="connsiteX5" fmla="*/ 593048 w 1186991"/>
                <a:gd name="connsiteY5" fmla="*/ 644430 h 882576"/>
                <a:gd name="connsiteX6" fmla="*/ 593048 w 1186991"/>
                <a:gd name="connsiteY6" fmla="*/ 644430 h 882576"/>
                <a:gd name="connsiteX7" fmla="*/ 550776 w 1186991"/>
                <a:gd name="connsiteY7" fmla="*/ 625779 h 882576"/>
                <a:gd name="connsiteX8" fmla="*/ 550039 w 1186991"/>
                <a:gd name="connsiteY8" fmla="*/ 624942 h 882576"/>
                <a:gd name="connsiteX9" fmla="*/ 550039 w 1186991"/>
                <a:gd name="connsiteY9" fmla="*/ 624942 h 882576"/>
                <a:gd name="connsiteX10" fmla="*/ 416142 w 1186991"/>
                <a:gd name="connsiteY10" fmla="*/ 472829 h 882576"/>
                <a:gd name="connsiteX11" fmla="*/ 416138 w 1186991"/>
                <a:gd name="connsiteY11" fmla="*/ 472827 h 882576"/>
                <a:gd name="connsiteX12" fmla="*/ 0 w 1186991"/>
                <a:gd name="connsiteY12" fmla="*/ 77 h 882576"/>
                <a:gd name="connsiteX13" fmla="*/ 952 w 1186991"/>
                <a:gd name="connsiteY13" fmla="*/ 0 h 882576"/>
                <a:gd name="connsiteX14" fmla="*/ 612754 w 1186991"/>
                <a:gd name="connsiteY14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93048 w 1186991"/>
                <a:gd name="connsiteY4" fmla="*/ 644430 h 882576"/>
                <a:gd name="connsiteX5" fmla="*/ 593048 w 1186991"/>
                <a:gd name="connsiteY5" fmla="*/ 644430 h 882576"/>
                <a:gd name="connsiteX6" fmla="*/ 550776 w 1186991"/>
                <a:gd name="connsiteY6" fmla="*/ 625779 h 882576"/>
                <a:gd name="connsiteX7" fmla="*/ 550039 w 1186991"/>
                <a:gd name="connsiteY7" fmla="*/ 624942 h 882576"/>
                <a:gd name="connsiteX8" fmla="*/ 550039 w 1186991"/>
                <a:gd name="connsiteY8" fmla="*/ 624942 h 882576"/>
                <a:gd name="connsiteX9" fmla="*/ 416142 w 1186991"/>
                <a:gd name="connsiteY9" fmla="*/ 472829 h 882576"/>
                <a:gd name="connsiteX10" fmla="*/ 416138 w 1186991"/>
                <a:gd name="connsiteY10" fmla="*/ 472827 h 882576"/>
                <a:gd name="connsiteX11" fmla="*/ 0 w 1186991"/>
                <a:gd name="connsiteY11" fmla="*/ 77 h 882576"/>
                <a:gd name="connsiteX12" fmla="*/ 952 w 1186991"/>
                <a:gd name="connsiteY12" fmla="*/ 0 h 882576"/>
                <a:gd name="connsiteX13" fmla="*/ 612754 w 1186991"/>
                <a:gd name="connsiteY13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93048 w 1186991"/>
                <a:gd name="connsiteY4" fmla="*/ 644430 h 882576"/>
                <a:gd name="connsiteX5" fmla="*/ 550776 w 1186991"/>
                <a:gd name="connsiteY5" fmla="*/ 625779 h 882576"/>
                <a:gd name="connsiteX6" fmla="*/ 550039 w 1186991"/>
                <a:gd name="connsiteY6" fmla="*/ 624942 h 882576"/>
                <a:gd name="connsiteX7" fmla="*/ 550039 w 1186991"/>
                <a:gd name="connsiteY7" fmla="*/ 624942 h 882576"/>
                <a:gd name="connsiteX8" fmla="*/ 416142 w 1186991"/>
                <a:gd name="connsiteY8" fmla="*/ 472829 h 882576"/>
                <a:gd name="connsiteX9" fmla="*/ 416138 w 1186991"/>
                <a:gd name="connsiteY9" fmla="*/ 472827 h 882576"/>
                <a:gd name="connsiteX10" fmla="*/ 0 w 1186991"/>
                <a:gd name="connsiteY10" fmla="*/ 77 h 882576"/>
                <a:gd name="connsiteX11" fmla="*/ 952 w 1186991"/>
                <a:gd name="connsiteY11" fmla="*/ 0 h 882576"/>
                <a:gd name="connsiteX12" fmla="*/ 612754 w 1186991"/>
                <a:gd name="connsiteY12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50776 w 1186991"/>
                <a:gd name="connsiteY4" fmla="*/ 625779 h 882576"/>
                <a:gd name="connsiteX5" fmla="*/ 550039 w 1186991"/>
                <a:gd name="connsiteY5" fmla="*/ 624942 h 882576"/>
                <a:gd name="connsiteX6" fmla="*/ 550039 w 1186991"/>
                <a:gd name="connsiteY6" fmla="*/ 624942 h 882576"/>
                <a:gd name="connsiteX7" fmla="*/ 416142 w 1186991"/>
                <a:gd name="connsiteY7" fmla="*/ 472829 h 882576"/>
                <a:gd name="connsiteX8" fmla="*/ 416138 w 1186991"/>
                <a:gd name="connsiteY8" fmla="*/ 472827 h 882576"/>
                <a:gd name="connsiteX9" fmla="*/ 0 w 1186991"/>
                <a:gd name="connsiteY9" fmla="*/ 77 h 882576"/>
                <a:gd name="connsiteX10" fmla="*/ 952 w 1186991"/>
                <a:gd name="connsiteY10" fmla="*/ 0 h 882576"/>
                <a:gd name="connsiteX11" fmla="*/ 612754 w 1186991"/>
                <a:gd name="connsiteY11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50776 w 1186991"/>
                <a:gd name="connsiteY4" fmla="*/ 625779 h 882576"/>
                <a:gd name="connsiteX5" fmla="*/ 550039 w 1186991"/>
                <a:gd name="connsiteY5" fmla="*/ 624942 h 882576"/>
                <a:gd name="connsiteX6" fmla="*/ 527533 w 1186991"/>
                <a:gd name="connsiteY6" fmla="*/ 631955 h 882576"/>
                <a:gd name="connsiteX7" fmla="*/ 416142 w 1186991"/>
                <a:gd name="connsiteY7" fmla="*/ 472829 h 882576"/>
                <a:gd name="connsiteX8" fmla="*/ 416138 w 1186991"/>
                <a:gd name="connsiteY8" fmla="*/ 472827 h 882576"/>
                <a:gd name="connsiteX9" fmla="*/ 0 w 1186991"/>
                <a:gd name="connsiteY9" fmla="*/ 77 h 882576"/>
                <a:gd name="connsiteX10" fmla="*/ 952 w 1186991"/>
                <a:gd name="connsiteY10" fmla="*/ 0 h 882576"/>
                <a:gd name="connsiteX11" fmla="*/ 612754 w 1186991"/>
                <a:gd name="connsiteY11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50776 w 1186991"/>
                <a:gd name="connsiteY4" fmla="*/ 625779 h 882576"/>
                <a:gd name="connsiteX5" fmla="*/ 550039 w 1186991"/>
                <a:gd name="connsiteY5" fmla="*/ 624942 h 882576"/>
                <a:gd name="connsiteX6" fmla="*/ 416142 w 1186991"/>
                <a:gd name="connsiteY6" fmla="*/ 472829 h 882576"/>
                <a:gd name="connsiteX7" fmla="*/ 416138 w 1186991"/>
                <a:gd name="connsiteY7" fmla="*/ 472827 h 882576"/>
                <a:gd name="connsiteX8" fmla="*/ 0 w 1186991"/>
                <a:gd name="connsiteY8" fmla="*/ 77 h 882576"/>
                <a:gd name="connsiteX9" fmla="*/ 952 w 1186991"/>
                <a:gd name="connsiteY9" fmla="*/ 0 h 882576"/>
                <a:gd name="connsiteX10" fmla="*/ 612754 w 1186991"/>
                <a:gd name="connsiteY10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50776 w 1186991"/>
                <a:gd name="connsiteY4" fmla="*/ 625779 h 882576"/>
                <a:gd name="connsiteX5" fmla="*/ 534964 w 1186991"/>
                <a:gd name="connsiteY5" fmla="*/ 633166 h 882576"/>
                <a:gd name="connsiteX6" fmla="*/ 416142 w 1186991"/>
                <a:gd name="connsiteY6" fmla="*/ 472829 h 882576"/>
                <a:gd name="connsiteX7" fmla="*/ 416138 w 1186991"/>
                <a:gd name="connsiteY7" fmla="*/ 472827 h 882576"/>
                <a:gd name="connsiteX8" fmla="*/ 0 w 1186991"/>
                <a:gd name="connsiteY8" fmla="*/ 77 h 882576"/>
                <a:gd name="connsiteX9" fmla="*/ 952 w 1186991"/>
                <a:gd name="connsiteY9" fmla="*/ 0 h 882576"/>
                <a:gd name="connsiteX10" fmla="*/ 612754 w 1186991"/>
                <a:gd name="connsiteY10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50776 w 1186991"/>
                <a:gd name="connsiteY4" fmla="*/ 625779 h 882576"/>
                <a:gd name="connsiteX5" fmla="*/ 416142 w 1186991"/>
                <a:gd name="connsiteY5" fmla="*/ 472829 h 882576"/>
                <a:gd name="connsiteX6" fmla="*/ 416138 w 1186991"/>
                <a:gd name="connsiteY6" fmla="*/ 472827 h 882576"/>
                <a:gd name="connsiteX7" fmla="*/ 0 w 1186991"/>
                <a:gd name="connsiteY7" fmla="*/ 77 h 882576"/>
                <a:gd name="connsiteX8" fmla="*/ 952 w 1186991"/>
                <a:gd name="connsiteY8" fmla="*/ 0 h 882576"/>
                <a:gd name="connsiteX9" fmla="*/ 612754 w 1186991"/>
                <a:gd name="connsiteY9" fmla="*/ 245306 h 882576"/>
                <a:gd name="connsiteX0" fmla="*/ 612754 w 1186991"/>
                <a:gd name="connsiteY0" fmla="*/ 245306 h 882576"/>
                <a:gd name="connsiteX1" fmla="*/ 732681 w 1186991"/>
                <a:gd name="connsiteY1" fmla="*/ 378398 h 882576"/>
                <a:gd name="connsiteX2" fmla="*/ 732682 w 1186991"/>
                <a:gd name="connsiteY2" fmla="*/ 378397 h 882576"/>
                <a:gd name="connsiteX3" fmla="*/ 1186991 w 1186991"/>
                <a:gd name="connsiteY3" fmla="*/ 882576 h 882576"/>
                <a:gd name="connsiteX4" fmla="*/ 572548 w 1186991"/>
                <a:gd name="connsiteY4" fmla="*/ 656032 h 882576"/>
                <a:gd name="connsiteX5" fmla="*/ 416142 w 1186991"/>
                <a:gd name="connsiteY5" fmla="*/ 472829 h 882576"/>
                <a:gd name="connsiteX6" fmla="*/ 416138 w 1186991"/>
                <a:gd name="connsiteY6" fmla="*/ 472827 h 882576"/>
                <a:gd name="connsiteX7" fmla="*/ 0 w 1186991"/>
                <a:gd name="connsiteY7" fmla="*/ 77 h 882576"/>
                <a:gd name="connsiteX8" fmla="*/ 952 w 1186991"/>
                <a:gd name="connsiteY8" fmla="*/ 0 h 882576"/>
                <a:gd name="connsiteX9" fmla="*/ 612754 w 1186991"/>
                <a:gd name="connsiteY9" fmla="*/ 245306 h 882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86991" h="882576">
                  <a:moveTo>
                    <a:pt x="612754" y="245306"/>
                  </a:moveTo>
                  <a:lnTo>
                    <a:pt x="732681" y="378398"/>
                  </a:lnTo>
                  <a:lnTo>
                    <a:pt x="732682" y="378397"/>
                  </a:lnTo>
                  <a:lnTo>
                    <a:pt x="1186991" y="882576"/>
                  </a:lnTo>
                  <a:lnTo>
                    <a:pt x="572548" y="656032"/>
                  </a:lnTo>
                  <a:lnTo>
                    <a:pt x="416142" y="472829"/>
                  </a:lnTo>
                  <a:cubicBezTo>
                    <a:pt x="416141" y="472828"/>
                    <a:pt x="416139" y="472828"/>
                    <a:pt x="416138" y="472827"/>
                  </a:cubicBezTo>
                  <a:lnTo>
                    <a:pt x="0" y="77"/>
                  </a:lnTo>
                  <a:lnTo>
                    <a:pt x="952" y="0"/>
                  </a:lnTo>
                  <a:lnTo>
                    <a:pt x="612754" y="245306"/>
                  </a:lnTo>
                  <a:close/>
                </a:path>
              </a:pathLst>
            </a:custGeom>
            <a:solidFill>
              <a:srgbClr val="A1A6A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  <p:sp>
          <p:nvSpPr>
            <p:cNvPr id="290" name="Полілінія: фігура 289">
              <a:extLst>
                <a:ext uri="{FF2B5EF4-FFF2-40B4-BE49-F238E27FC236}">
                  <a16:creationId xmlns:a16="http://schemas.microsoft.com/office/drawing/2014/main" id="{8C3E816D-41E5-584F-42BE-121A880537A5}"/>
                </a:ext>
              </a:extLst>
            </p:cNvPr>
            <p:cNvSpPr/>
            <p:nvPr/>
          </p:nvSpPr>
          <p:spPr>
            <a:xfrm rot="19938366">
              <a:off x="6481070" y="1178916"/>
              <a:ext cx="822836" cy="648802"/>
            </a:xfrm>
            <a:custGeom>
              <a:avLst/>
              <a:gdLst>
                <a:gd name="connsiteX0" fmla="*/ 822836 w 822836"/>
                <a:gd name="connsiteY0" fmla="*/ 231310 h 685858"/>
                <a:gd name="connsiteX1" fmla="*/ 790674 w 822836"/>
                <a:gd name="connsiteY1" fmla="*/ 292583 h 685858"/>
                <a:gd name="connsiteX2" fmla="*/ 790675 w 822836"/>
                <a:gd name="connsiteY2" fmla="*/ 292583 h 685858"/>
                <a:gd name="connsiteX3" fmla="*/ 584254 w 822836"/>
                <a:gd name="connsiteY3" fmla="*/ 685858 h 685858"/>
                <a:gd name="connsiteX4" fmla="*/ 0 w 822836"/>
                <a:gd name="connsiteY4" fmla="*/ 460169 h 685858"/>
                <a:gd name="connsiteX5" fmla="*/ 249600 w 822836"/>
                <a:gd name="connsiteY5" fmla="*/ 0 h 685858"/>
                <a:gd name="connsiteX6" fmla="*/ 789365 w 822836"/>
                <a:gd name="connsiteY6" fmla="*/ 291875 h 685858"/>
                <a:gd name="connsiteX7" fmla="*/ 293876 w 822836"/>
                <a:gd name="connsiteY7" fmla="*/ 23241 h 685858"/>
                <a:gd name="connsiteX8" fmla="*/ 295620 w 822836"/>
                <a:gd name="connsiteY8" fmla="*/ 19919 h 685858"/>
                <a:gd name="connsiteX0" fmla="*/ 822836 w 822836"/>
                <a:gd name="connsiteY0" fmla="*/ 231310 h 685858"/>
                <a:gd name="connsiteX1" fmla="*/ 790674 w 822836"/>
                <a:gd name="connsiteY1" fmla="*/ 292583 h 685858"/>
                <a:gd name="connsiteX2" fmla="*/ 790675 w 822836"/>
                <a:gd name="connsiteY2" fmla="*/ 292583 h 685858"/>
                <a:gd name="connsiteX3" fmla="*/ 584254 w 822836"/>
                <a:gd name="connsiteY3" fmla="*/ 685858 h 685858"/>
                <a:gd name="connsiteX4" fmla="*/ 0 w 822836"/>
                <a:gd name="connsiteY4" fmla="*/ 460169 h 685858"/>
                <a:gd name="connsiteX5" fmla="*/ 249600 w 822836"/>
                <a:gd name="connsiteY5" fmla="*/ 0 h 685858"/>
                <a:gd name="connsiteX6" fmla="*/ 293876 w 822836"/>
                <a:gd name="connsiteY6" fmla="*/ 23241 h 685858"/>
                <a:gd name="connsiteX7" fmla="*/ 295620 w 822836"/>
                <a:gd name="connsiteY7" fmla="*/ 19919 h 685858"/>
                <a:gd name="connsiteX8" fmla="*/ 822836 w 822836"/>
                <a:gd name="connsiteY8" fmla="*/ 231310 h 685858"/>
                <a:gd name="connsiteX0" fmla="*/ 822836 w 822836"/>
                <a:gd name="connsiteY0" fmla="*/ 231310 h 685858"/>
                <a:gd name="connsiteX1" fmla="*/ 790674 w 822836"/>
                <a:gd name="connsiteY1" fmla="*/ 292583 h 685858"/>
                <a:gd name="connsiteX2" fmla="*/ 584254 w 822836"/>
                <a:gd name="connsiteY2" fmla="*/ 685858 h 685858"/>
                <a:gd name="connsiteX3" fmla="*/ 0 w 822836"/>
                <a:gd name="connsiteY3" fmla="*/ 460169 h 685858"/>
                <a:gd name="connsiteX4" fmla="*/ 249600 w 822836"/>
                <a:gd name="connsiteY4" fmla="*/ 0 h 685858"/>
                <a:gd name="connsiteX5" fmla="*/ 293876 w 822836"/>
                <a:gd name="connsiteY5" fmla="*/ 23241 h 685858"/>
                <a:gd name="connsiteX6" fmla="*/ 295620 w 822836"/>
                <a:gd name="connsiteY6" fmla="*/ 19919 h 685858"/>
                <a:gd name="connsiteX7" fmla="*/ 822836 w 822836"/>
                <a:gd name="connsiteY7" fmla="*/ 231310 h 685858"/>
                <a:gd name="connsiteX0" fmla="*/ 822836 w 822836"/>
                <a:gd name="connsiteY0" fmla="*/ 231310 h 685858"/>
                <a:gd name="connsiteX1" fmla="*/ 584254 w 822836"/>
                <a:gd name="connsiteY1" fmla="*/ 685858 h 685858"/>
                <a:gd name="connsiteX2" fmla="*/ 0 w 822836"/>
                <a:gd name="connsiteY2" fmla="*/ 460169 h 685858"/>
                <a:gd name="connsiteX3" fmla="*/ 249600 w 822836"/>
                <a:gd name="connsiteY3" fmla="*/ 0 h 685858"/>
                <a:gd name="connsiteX4" fmla="*/ 293876 w 822836"/>
                <a:gd name="connsiteY4" fmla="*/ 23241 h 685858"/>
                <a:gd name="connsiteX5" fmla="*/ 295620 w 822836"/>
                <a:gd name="connsiteY5" fmla="*/ 19919 h 685858"/>
                <a:gd name="connsiteX6" fmla="*/ 822836 w 822836"/>
                <a:gd name="connsiteY6" fmla="*/ 231310 h 685858"/>
                <a:gd name="connsiteX0" fmla="*/ 822836 w 822836"/>
                <a:gd name="connsiteY0" fmla="*/ 231310 h 685858"/>
                <a:gd name="connsiteX1" fmla="*/ 584254 w 822836"/>
                <a:gd name="connsiteY1" fmla="*/ 685858 h 685858"/>
                <a:gd name="connsiteX2" fmla="*/ 0 w 822836"/>
                <a:gd name="connsiteY2" fmla="*/ 460169 h 685858"/>
                <a:gd name="connsiteX3" fmla="*/ 249600 w 822836"/>
                <a:gd name="connsiteY3" fmla="*/ 0 h 685858"/>
                <a:gd name="connsiteX4" fmla="*/ 293876 w 822836"/>
                <a:gd name="connsiteY4" fmla="*/ 23241 h 685858"/>
                <a:gd name="connsiteX5" fmla="*/ 822836 w 822836"/>
                <a:gd name="connsiteY5" fmla="*/ 231310 h 685858"/>
                <a:gd name="connsiteX0" fmla="*/ 822836 w 822836"/>
                <a:gd name="connsiteY0" fmla="*/ 231310 h 685858"/>
                <a:gd name="connsiteX1" fmla="*/ 584254 w 822836"/>
                <a:gd name="connsiteY1" fmla="*/ 685858 h 685858"/>
                <a:gd name="connsiteX2" fmla="*/ 0 w 822836"/>
                <a:gd name="connsiteY2" fmla="*/ 460169 h 685858"/>
                <a:gd name="connsiteX3" fmla="*/ 249600 w 822836"/>
                <a:gd name="connsiteY3" fmla="*/ 0 h 685858"/>
                <a:gd name="connsiteX4" fmla="*/ 822836 w 822836"/>
                <a:gd name="connsiteY4" fmla="*/ 231310 h 685858"/>
                <a:gd name="connsiteX0" fmla="*/ 822836 w 822836"/>
                <a:gd name="connsiteY0" fmla="*/ 231310 h 648802"/>
                <a:gd name="connsiteX1" fmla="*/ 595634 w 822836"/>
                <a:gd name="connsiteY1" fmla="*/ 648802 h 648802"/>
                <a:gd name="connsiteX2" fmla="*/ 0 w 822836"/>
                <a:gd name="connsiteY2" fmla="*/ 460169 h 648802"/>
                <a:gd name="connsiteX3" fmla="*/ 249600 w 822836"/>
                <a:gd name="connsiteY3" fmla="*/ 0 h 648802"/>
                <a:gd name="connsiteX4" fmla="*/ 822836 w 822836"/>
                <a:gd name="connsiteY4" fmla="*/ 231310 h 648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2836" h="648802">
                  <a:moveTo>
                    <a:pt x="822836" y="231310"/>
                  </a:moveTo>
                  <a:lnTo>
                    <a:pt x="595634" y="648802"/>
                  </a:lnTo>
                  <a:lnTo>
                    <a:pt x="0" y="460169"/>
                  </a:lnTo>
                  <a:lnTo>
                    <a:pt x="249600" y="0"/>
                  </a:lnTo>
                  <a:lnTo>
                    <a:pt x="822836" y="231310"/>
                  </a:lnTo>
                  <a:close/>
                </a:path>
              </a:pathLst>
            </a:custGeom>
            <a:solidFill>
              <a:srgbClr val="A1A6A9">
                <a:alpha val="83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  <p:cxnSp>
        <p:nvCxnSpPr>
          <p:cNvPr id="295" name="Пряма зі стрілкою 294">
            <a:extLst>
              <a:ext uri="{FF2B5EF4-FFF2-40B4-BE49-F238E27FC236}">
                <a16:creationId xmlns:a16="http://schemas.microsoft.com/office/drawing/2014/main" id="{847B7000-6511-DCF4-8841-FB0ED82B6DFE}"/>
              </a:ext>
            </a:extLst>
          </p:cNvPr>
          <p:cNvCxnSpPr>
            <a:cxnSpLocks/>
          </p:cNvCxnSpPr>
          <p:nvPr/>
        </p:nvCxnSpPr>
        <p:spPr>
          <a:xfrm>
            <a:off x="2006125" y="5201912"/>
            <a:ext cx="4261859" cy="178486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>
            <a:outerShdw blurRad="1651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Пряма зі стрілкою 306">
            <a:extLst>
              <a:ext uri="{FF2B5EF4-FFF2-40B4-BE49-F238E27FC236}">
                <a16:creationId xmlns:a16="http://schemas.microsoft.com/office/drawing/2014/main" id="{762EBEA6-8B5B-1EAD-51A6-4EEB25527F4F}"/>
              </a:ext>
            </a:extLst>
          </p:cNvPr>
          <p:cNvCxnSpPr>
            <a:cxnSpLocks/>
            <a:stCxn id="293" idx="1"/>
            <a:endCxn id="288" idx="2"/>
          </p:cNvCxnSpPr>
          <p:nvPr/>
        </p:nvCxnSpPr>
        <p:spPr>
          <a:xfrm flipH="1">
            <a:off x="5711228" y="2986157"/>
            <a:ext cx="4131832" cy="1175460"/>
          </a:xfrm>
          <a:prstGeom prst="straightConnector1">
            <a:avLst/>
          </a:prstGeom>
          <a:ln w="34925">
            <a:solidFill>
              <a:schemeClr val="bg1"/>
            </a:solidFill>
            <a:tailEnd type="triangle"/>
          </a:ln>
          <a:effectLst>
            <a:outerShdw blurRad="1651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 зі стрілкою 114">
            <a:extLst>
              <a:ext uri="{FF2B5EF4-FFF2-40B4-BE49-F238E27FC236}">
                <a16:creationId xmlns:a16="http://schemas.microsoft.com/office/drawing/2014/main" id="{B79F5EDC-D227-CD7C-7A20-E10D61094C57}"/>
              </a:ext>
            </a:extLst>
          </p:cNvPr>
          <p:cNvCxnSpPr>
            <a:cxnSpLocks/>
            <a:stCxn id="125" idx="2"/>
          </p:cNvCxnSpPr>
          <p:nvPr/>
        </p:nvCxnSpPr>
        <p:spPr>
          <a:xfrm>
            <a:off x="1298006" y="5546800"/>
            <a:ext cx="2631267" cy="312709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>
            <a:outerShdw blurRad="1651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 зі стрілкою 115">
            <a:extLst>
              <a:ext uri="{FF2B5EF4-FFF2-40B4-BE49-F238E27FC236}">
                <a16:creationId xmlns:a16="http://schemas.microsoft.com/office/drawing/2014/main" id="{FC118D53-D5F3-2F23-E031-920A4ACF4670}"/>
              </a:ext>
            </a:extLst>
          </p:cNvPr>
          <p:cNvCxnSpPr>
            <a:cxnSpLocks/>
          </p:cNvCxnSpPr>
          <p:nvPr/>
        </p:nvCxnSpPr>
        <p:spPr>
          <a:xfrm>
            <a:off x="4837203" y="4581795"/>
            <a:ext cx="1506400" cy="202989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  <a:effectLst>
            <a:outerShdw blurRad="1651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увати 1">
            <a:extLst>
              <a:ext uri="{FF2B5EF4-FFF2-40B4-BE49-F238E27FC236}">
                <a16:creationId xmlns:a16="http://schemas.microsoft.com/office/drawing/2014/main" id="{6C57BC81-2F41-05F3-4F96-716E494D1B09}"/>
              </a:ext>
            </a:extLst>
          </p:cNvPr>
          <p:cNvGrpSpPr/>
          <p:nvPr/>
        </p:nvGrpSpPr>
        <p:grpSpPr>
          <a:xfrm>
            <a:off x="418674" y="104129"/>
            <a:ext cx="11614818" cy="6488867"/>
            <a:chOff x="418674" y="104129"/>
            <a:chExt cx="11614818" cy="6488867"/>
          </a:xfrm>
        </p:grpSpPr>
        <p:grpSp>
          <p:nvGrpSpPr>
            <p:cNvPr id="292" name="Групувати 291">
              <a:extLst>
                <a:ext uri="{FF2B5EF4-FFF2-40B4-BE49-F238E27FC236}">
                  <a16:creationId xmlns:a16="http://schemas.microsoft.com/office/drawing/2014/main" id="{A184EB77-FEB5-DB21-16DE-DED64F114CD3}"/>
                </a:ext>
              </a:extLst>
            </p:cNvPr>
            <p:cNvGrpSpPr/>
            <p:nvPr/>
          </p:nvGrpSpPr>
          <p:grpSpPr>
            <a:xfrm>
              <a:off x="9843060" y="2715480"/>
              <a:ext cx="1632810" cy="541353"/>
              <a:chOff x="2050778" y="1372538"/>
              <a:chExt cx="1335904" cy="541353"/>
            </a:xfrm>
          </p:grpSpPr>
          <p:sp>
            <p:nvSpPr>
              <p:cNvPr id="293" name="Прямокутник: округлені кути 292">
                <a:extLst>
                  <a:ext uri="{FF2B5EF4-FFF2-40B4-BE49-F238E27FC236}">
                    <a16:creationId xmlns:a16="http://schemas.microsoft.com/office/drawing/2014/main" id="{C1C4EE67-19FC-C695-4965-9BBBC6A3C3AD}"/>
                  </a:ext>
                </a:extLst>
              </p:cNvPr>
              <p:cNvSpPr/>
              <p:nvPr/>
            </p:nvSpPr>
            <p:spPr>
              <a:xfrm>
                <a:off x="2050778" y="1372538"/>
                <a:ext cx="1335904" cy="54135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F5F5F5"/>
                </a:solidFill>
              </a:ln>
              <a:effectLst>
                <a:outerShdw blurRad="190500" dist="381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sz="1400" dirty="0"/>
              </a:p>
            </p:txBody>
          </p:sp>
          <p:sp>
            <p:nvSpPr>
              <p:cNvPr id="294" name="TextBox 293">
                <a:extLst>
                  <a:ext uri="{FF2B5EF4-FFF2-40B4-BE49-F238E27FC236}">
                    <a16:creationId xmlns:a16="http://schemas.microsoft.com/office/drawing/2014/main" id="{069BE605-8331-BADC-D7FC-C7CF91682041}"/>
                  </a:ext>
                </a:extLst>
              </p:cNvPr>
              <p:cNvSpPr txBox="1"/>
              <p:nvPr/>
            </p:nvSpPr>
            <p:spPr>
              <a:xfrm>
                <a:off x="2088908" y="1411339"/>
                <a:ext cx="1297774" cy="4616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uk-UA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DUSTRIAL ZONE </a:t>
                </a:r>
              </a:p>
              <a:p>
                <a:r>
                  <a:rPr lang="en-US" sz="1200" dirty="0">
                    <a:solidFill>
                      <a:schemeClr val="bg2">
                        <a:lumMod val="25000"/>
                      </a:schemeClr>
                    </a:solidFill>
                    <a:latin typeface="+mj-lt"/>
                  </a:rPr>
                  <a:t>ground facilities</a:t>
                </a:r>
                <a:r>
                  <a:rPr lang="uk-UA" sz="1200" dirty="0">
                    <a:solidFill>
                      <a:schemeClr val="bg2">
                        <a:lumMod val="25000"/>
                      </a:schemeClr>
                    </a:solidFill>
                    <a:latin typeface="+mj-lt"/>
                  </a:rPr>
                  <a:t> </a:t>
                </a:r>
              </a:p>
            </p:txBody>
          </p:sp>
        </p:grpSp>
        <p:grpSp>
          <p:nvGrpSpPr>
            <p:cNvPr id="423" name="Групувати 422">
              <a:extLst>
                <a:ext uri="{FF2B5EF4-FFF2-40B4-BE49-F238E27FC236}">
                  <a16:creationId xmlns:a16="http://schemas.microsoft.com/office/drawing/2014/main" id="{2A573DEC-01D8-A177-251C-B8265F78E6A4}"/>
                </a:ext>
              </a:extLst>
            </p:cNvPr>
            <p:cNvGrpSpPr/>
            <p:nvPr/>
          </p:nvGrpSpPr>
          <p:grpSpPr>
            <a:xfrm>
              <a:off x="4116009" y="185397"/>
              <a:ext cx="4058452" cy="199555"/>
              <a:chOff x="4116009" y="185397"/>
              <a:chExt cx="4058452" cy="199555"/>
            </a:xfrm>
          </p:grpSpPr>
          <p:grpSp>
            <p:nvGrpSpPr>
              <p:cNvPr id="420" name="Групувати 419">
                <a:extLst>
                  <a:ext uri="{FF2B5EF4-FFF2-40B4-BE49-F238E27FC236}">
                    <a16:creationId xmlns:a16="http://schemas.microsoft.com/office/drawing/2014/main" id="{C98625B2-4D8E-47A4-6BA3-DA6D31EDBE4B}"/>
                  </a:ext>
                </a:extLst>
              </p:cNvPr>
              <p:cNvGrpSpPr/>
              <p:nvPr/>
            </p:nvGrpSpPr>
            <p:grpSpPr>
              <a:xfrm>
                <a:off x="4116009" y="186509"/>
                <a:ext cx="536189" cy="197331"/>
                <a:chOff x="4116009" y="185397"/>
                <a:chExt cx="536189" cy="197331"/>
              </a:xfrm>
            </p:grpSpPr>
            <p:sp>
              <p:nvSpPr>
                <p:cNvPr id="7" name="Полілінія: фігура 6">
                  <a:extLst>
                    <a:ext uri="{FF2B5EF4-FFF2-40B4-BE49-F238E27FC236}">
                      <a16:creationId xmlns:a16="http://schemas.microsoft.com/office/drawing/2014/main" id="{B3F8D782-12F0-7756-9091-A25984DF2696}"/>
                    </a:ext>
                  </a:extLst>
                </p:cNvPr>
                <p:cNvSpPr/>
                <p:nvPr/>
              </p:nvSpPr>
              <p:spPr>
                <a:xfrm>
                  <a:off x="4310684" y="185397"/>
                  <a:ext cx="179129" cy="197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9129" h="206275">
                      <a:moveTo>
                        <a:pt x="99711" y="0"/>
                      </a:moveTo>
                      <a:cubicBezTo>
                        <a:pt x="113878" y="41"/>
                        <a:pt x="126133" y="1813"/>
                        <a:pt x="136474" y="5316"/>
                      </a:cubicBezTo>
                      <a:cubicBezTo>
                        <a:pt x="146815" y="8818"/>
                        <a:pt x="155991" y="13802"/>
                        <a:pt x="164001" y="20266"/>
                      </a:cubicBezTo>
                      <a:lnTo>
                        <a:pt x="149158" y="48265"/>
                      </a:lnTo>
                      <a:cubicBezTo>
                        <a:pt x="143991" y="43494"/>
                        <a:pt x="137394" y="39741"/>
                        <a:pt x="129367" y="37007"/>
                      </a:cubicBezTo>
                      <a:cubicBezTo>
                        <a:pt x="121340" y="34273"/>
                        <a:pt x="112884" y="32879"/>
                        <a:pt x="103999" y="32825"/>
                      </a:cubicBezTo>
                      <a:cubicBezTo>
                        <a:pt x="84329" y="32968"/>
                        <a:pt x="68358" y="39115"/>
                        <a:pt x="56084" y="51265"/>
                      </a:cubicBezTo>
                      <a:cubicBezTo>
                        <a:pt x="43811" y="63415"/>
                        <a:pt x="37487" y="80709"/>
                        <a:pt x="37112" y="103147"/>
                      </a:cubicBezTo>
                      <a:cubicBezTo>
                        <a:pt x="37398" y="124698"/>
                        <a:pt x="43615" y="141735"/>
                        <a:pt x="55763" y="154260"/>
                      </a:cubicBezTo>
                      <a:cubicBezTo>
                        <a:pt x="67911" y="166784"/>
                        <a:pt x="84276" y="173181"/>
                        <a:pt x="104856" y="173450"/>
                      </a:cubicBezTo>
                      <a:cubicBezTo>
                        <a:pt x="112872" y="173325"/>
                        <a:pt x="120780" y="171931"/>
                        <a:pt x="128581" y="169267"/>
                      </a:cubicBezTo>
                      <a:cubicBezTo>
                        <a:pt x="136382" y="166604"/>
                        <a:pt x="142290" y="163423"/>
                        <a:pt x="146304" y="159723"/>
                      </a:cubicBezTo>
                      <a:lnTo>
                        <a:pt x="146304" y="128266"/>
                      </a:lnTo>
                      <a:lnTo>
                        <a:pt x="97996" y="128266"/>
                      </a:lnTo>
                      <a:lnTo>
                        <a:pt x="97996" y="95440"/>
                      </a:lnTo>
                      <a:lnTo>
                        <a:pt x="179129" y="95440"/>
                      </a:lnTo>
                      <a:lnTo>
                        <a:pt x="179129" y="178302"/>
                      </a:lnTo>
                      <a:cubicBezTo>
                        <a:pt x="169823" y="187210"/>
                        <a:pt x="158245" y="194085"/>
                        <a:pt x="144396" y="198925"/>
                      </a:cubicBezTo>
                      <a:cubicBezTo>
                        <a:pt x="130547" y="203766"/>
                        <a:pt x="117177" y="206216"/>
                        <a:pt x="104284" y="206275"/>
                      </a:cubicBezTo>
                      <a:cubicBezTo>
                        <a:pt x="71302" y="205872"/>
                        <a:pt x="45739" y="196471"/>
                        <a:pt x="27596" y="178072"/>
                      </a:cubicBezTo>
                      <a:cubicBezTo>
                        <a:pt x="9453" y="159673"/>
                        <a:pt x="254" y="134698"/>
                        <a:pt x="0" y="103147"/>
                      </a:cubicBezTo>
                      <a:cubicBezTo>
                        <a:pt x="98" y="83786"/>
                        <a:pt x="4184" y="66360"/>
                        <a:pt x="12258" y="50869"/>
                      </a:cubicBezTo>
                      <a:cubicBezTo>
                        <a:pt x="20331" y="35379"/>
                        <a:pt x="31803" y="23080"/>
                        <a:pt x="46673" y="13974"/>
                      </a:cubicBezTo>
                      <a:cubicBezTo>
                        <a:pt x="61543" y="4867"/>
                        <a:pt x="79223" y="209"/>
                        <a:pt x="99711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8" name="Полілінія: фігура 7">
                  <a:extLst>
                    <a:ext uri="{FF2B5EF4-FFF2-40B4-BE49-F238E27FC236}">
                      <a16:creationId xmlns:a16="http://schemas.microsoft.com/office/drawing/2014/main" id="{54228C0D-BFF1-A669-BFC9-C0F426BCE998}"/>
                    </a:ext>
                  </a:extLst>
                </p:cNvPr>
                <p:cNvSpPr/>
                <p:nvPr/>
              </p:nvSpPr>
              <p:spPr>
                <a:xfrm>
                  <a:off x="4519932" y="188455"/>
                  <a:ext cx="132266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266" h="206275">
                      <a:moveTo>
                        <a:pt x="66847" y="0"/>
                      </a:moveTo>
                      <a:cubicBezTo>
                        <a:pt x="79237" y="71"/>
                        <a:pt x="90335" y="1998"/>
                        <a:pt x="100142" y="5780"/>
                      </a:cubicBezTo>
                      <a:cubicBezTo>
                        <a:pt x="109950" y="9562"/>
                        <a:pt x="117898" y="14771"/>
                        <a:pt x="123988" y="21408"/>
                      </a:cubicBezTo>
                      <a:lnTo>
                        <a:pt x="105146" y="47687"/>
                      </a:lnTo>
                      <a:cubicBezTo>
                        <a:pt x="100424" y="42941"/>
                        <a:pt x="95306" y="39285"/>
                        <a:pt x="89791" y="36719"/>
                      </a:cubicBezTo>
                      <a:cubicBezTo>
                        <a:pt x="84277" y="34153"/>
                        <a:pt x="77582" y="32855"/>
                        <a:pt x="69706" y="32825"/>
                      </a:cubicBezTo>
                      <a:cubicBezTo>
                        <a:pt x="60907" y="32920"/>
                        <a:pt x="54057" y="34945"/>
                        <a:pt x="49154" y="38899"/>
                      </a:cubicBezTo>
                      <a:cubicBezTo>
                        <a:pt x="44251" y="42852"/>
                        <a:pt x="41761" y="48164"/>
                        <a:pt x="41684" y="54833"/>
                      </a:cubicBezTo>
                      <a:cubicBezTo>
                        <a:pt x="42155" y="64844"/>
                        <a:pt x="46873" y="72493"/>
                        <a:pt x="55837" y="77779"/>
                      </a:cubicBezTo>
                      <a:cubicBezTo>
                        <a:pt x="64801" y="83065"/>
                        <a:pt x="75180" y="88088"/>
                        <a:pt x="86975" y="92847"/>
                      </a:cubicBezTo>
                      <a:cubicBezTo>
                        <a:pt x="98770" y="97607"/>
                        <a:pt x="109149" y="104202"/>
                        <a:pt x="118113" y="112632"/>
                      </a:cubicBezTo>
                      <a:cubicBezTo>
                        <a:pt x="127077" y="121062"/>
                        <a:pt x="131795" y="133427"/>
                        <a:pt x="132266" y="149726"/>
                      </a:cubicBezTo>
                      <a:cubicBezTo>
                        <a:pt x="131821" y="166832"/>
                        <a:pt x="125360" y="180471"/>
                        <a:pt x="112884" y="190644"/>
                      </a:cubicBezTo>
                      <a:cubicBezTo>
                        <a:pt x="100407" y="200816"/>
                        <a:pt x="84585" y="206026"/>
                        <a:pt x="65417" y="206275"/>
                      </a:cubicBezTo>
                      <a:cubicBezTo>
                        <a:pt x="56688" y="206263"/>
                        <a:pt x="47942" y="205051"/>
                        <a:pt x="39179" y="202639"/>
                      </a:cubicBezTo>
                      <a:cubicBezTo>
                        <a:pt x="30415" y="200227"/>
                        <a:pt x="22541" y="196688"/>
                        <a:pt x="15557" y="192025"/>
                      </a:cubicBezTo>
                      <a:cubicBezTo>
                        <a:pt x="8574" y="187361"/>
                        <a:pt x="3388" y="181645"/>
                        <a:pt x="0" y="174877"/>
                      </a:cubicBezTo>
                      <a:lnTo>
                        <a:pt x="19988" y="150870"/>
                      </a:lnTo>
                      <a:cubicBezTo>
                        <a:pt x="26060" y="158438"/>
                        <a:pt x="33260" y="164095"/>
                        <a:pt x="41587" y="167841"/>
                      </a:cubicBezTo>
                      <a:cubicBezTo>
                        <a:pt x="49914" y="171586"/>
                        <a:pt x="58048" y="173456"/>
                        <a:pt x="65989" y="173450"/>
                      </a:cubicBezTo>
                      <a:cubicBezTo>
                        <a:pt x="74460" y="173420"/>
                        <a:pt x="81394" y="171407"/>
                        <a:pt x="86791" y="167412"/>
                      </a:cubicBezTo>
                      <a:cubicBezTo>
                        <a:pt x="92188" y="163416"/>
                        <a:pt x="94976" y="157616"/>
                        <a:pt x="95155" y="150012"/>
                      </a:cubicBezTo>
                      <a:cubicBezTo>
                        <a:pt x="94683" y="140474"/>
                        <a:pt x="89965" y="133040"/>
                        <a:pt x="81001" y="127709"/>
                      </a:cubicBezTo>
                      <a:cubicBezTo>
                        <a:pt x="72037" y="122378"/>
                        <a:pt x="61658" y="117212"/>
                        <a:pt x="49863" y="112212"/>
                      </a:cubicBezTo>
                      <a:cubicBezTo>
                        <a:pt x="38069" y="107212"/>
                        <a:pt x="27689" y="100438"/>
                        <a:pt x="18725" y="91892"/>
                      </a:cubicBezTo>
                      <a:cubicBezTo>
                        <a:pt x="9762" y="83345"/>
                        <a:pt x="5044" y="71088"/>
                        <a:pt x="4572" y="55119"/>
                      </a:cubicBezTo>
                      <a:cubicBezTo>
                        <a:pt x="4738" y="39697"/>
                        <a:pt x="10258" y="26760"/>
                        <a:pt x="21135" y="16309"/>
                      </a:cubicBezTo>
                      <a:cubicBezTo>
                        <a:pt x="32011" y="5858"/>
                        <a:pt x="47248" y="421"/>
                        <a:pt x="66847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8" name="Полілінія: фігура 17">
                  <a:extLst>
                    <a:ext uri="{FF2B5EF4-FFF2-40B4-BE49-F238E27FC236}">
                      <a16:creationId xmlns:a16="http://schemas.microsoft.com/office/drawing/2014/main" id="{2989605F-4753-5206-093E-A459DE1263D0}"/>
                    </a:ext>
                  </a:extLst>
                </p:cNvPr>
                <p:cNvSpPr/>
                <p:nvPr/>
              </p:nvSpPr>
              <p:spPr>
                <a:xfrm>
                  <a:off x="4116009" y="188456"/>
                  <a:ext cx="164557" cy="1942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4557" h="202847">
                      <a:moveTo>
                        <a:pt x="0" y="0"/>
                      </a:moveTo>
                      <a:lnTo>
                        <a:pt x="35112" y="0"/>
                      </a:lnTo>
                      <a:lnTo>
                        <a:pt x="35112" y="107547"/>
                      </a:lnTo>
                      <a:cubicBezTo>
                        <a:pt x="35034" y="126499"/>
                        <a:pt x="39048" y="141583"/>
                        <a:pt x="47154" y="152798"/>
                      </a:cubicBezTo>
                      <a:cubicBezTo>
                        <a:pt x="55259" y="164012"/>
                        <a:pt x="67920" y="169753"/>
                        <a:pt x="85137" y="170021"/>
                      </a:cubicBezTo>
                      <a:cubicBezTo>
                        <a:pt x="100252" y="169938"/>
                        <a:pt x="111472" y="164755"/>
                        <a:pt x="118797" y="154474"/>
                      </a:cubicBezTo>
                      <a:cubicBezTo>
                        <a:pt x="126122" y="144192"/>
                        <a:pt x="129767" y="129310"/>
                        <a:pt x="129731" y="109829"/>
                      </a:cubicBezTo>
                      <a:lnTo>
                        <a:pt x="129731" y="0"/>
                      </a:lnTo>
                      <a:lnTo>
                        <a:pt x="164557" y="0"/>
                      </a:lnTo>
                      <a:lnTo>
                        <a:pt x="164557" y="116961"/>
                      </a:lnTo>
                      <a:cubicBezTo>
                        <a:pt x="164354" y="137241"/>
                        <a:pt x="160604" y="153708"/>
                        <a:pt x="153305" y="166362"/>
                      </a:cubicBezTo>
                      <a:cubicBezTo>
                        <a:pt x="146005" y="179015"/>
                        <a:pt x="136372" y="188277"/>
                        <a:pt x="124404" y="194147"/>
                      </a:cubicBezTo>
                      <a:cubicBezTo>
                        <a:pt x="112435" y="200017"/>
                        <a:pt x="99347" y="202917"/>
                        <a:pt x="85137" y="202846"/>
                      </a:cubicBezTo>
                      <a:cubicBezTo>
                        <a:pt x="59829" y="202840"/>
                        <a:pt x="39422" y="195503"/>
                        <a:pt x="23916" y="180836"/>
                      </a:cubicBezTo>
                      <a:cubicBezTo>
                        <a:pt x="8411" y="166169"/>
                        <a:pt x="439" y="144212"/>
                        <a:pt x="0" y="11496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</p:grpSp>
          <p:grpSp>
            <p:nvGrpSpPr>
              <p:cNvPr id="421" name="Групувати 420">
                <a:extLst>
                  <a:ext uri="{FF2B5EF4-FFF2-40B4-BE49-F238E27FC236}">
                    <a16:creationId xmlns:a16="http://schemas.microsoft.com/office/drawing/2014/main" id="{02BA32CF-0258-90FD-A7AC-20115504AB76}"/>
                  </a:ext>
                </a:extLst>
              </p:cNvPr>
              <p:cNvGrpSpPr/>
              <p:nvPr/>
            </p:nvGrpSpPr>
            <p:grpSpPr>
              <a:xfrm>
                <a:off x="4798856" y="186091"/>
                <a:ext cx="1607309" cy="198167"/>
                <a:chOff x="4798856" y="185397"/>
                <a:chExt cx="1607309" cy="198167"/>
              </a:xfrm>
            </p:grpSpPr>
            <p:sp>
              <p:nvSpPr>
                <p:cNvPr id="9" name="Полілінія: фігура 8">
                  <a:extLst>
                    <a:ext uri="{FF2B5EF4-FFF2-40B4-BE49-F238E27FC236}">
                      <a16:creationId xmlns:a16="http://schemas.microsoft.com/office/drawing/2014/main" id="{7D23DC8C-F167-D748-B901-E9F92088F0B5}"/>
                    </a:ext>
                  </a:extLst>
                </p:cNvPr>
                <p:cNvSpPr/>
                <p:nvPr/>
              </p:nvSpPr>
              <p:spPr>
                <a:xfrm>
                  <a:off x="5142232" y="185397"/>
                  <a:ext cx="167128" cy="197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7128" h="206275">
                      <a:moveTo>
                        <a:pt x="102263" y="0"/>
                      </a:moveTo>
                      <a:cubicBezTo>
                        <a:pt x="115353" y="95"/>
                        <a:pt x="127105" y="1974"/>
                        <a:pt x="137517" y="5637"/>
                      </a:cubicBezTo>
                      <a:cubicBezTo>
                        <a:pt x="147929" y="9300"/>
                        <a:pt x="156466" y="14176"/>
                        <a:pt x="163127" y="20266"/>
                      </a:cubicBezTo>
                      <a:lnTo>
                        <a:pt x="147411" y="46258"/>
                      </a:lnTo>
                      <a:cubicBezTo>
                        <a:pt x="141530" y="42197"/>
                        <a:pt x="135005" y="38958"/>
                        <a:pt x="127837" y="36540"/>
                      </a:cubicBezTo>
                      <a:cubicBezTo>
                        <a:pt x="120670" y="34123"/>
                        <a:pt x="112145" y="32885"/>
                        <a:pt x="102263" y="32825"/>
                      </a:cubicBezTo>
                      <a:cubicBezTo>
                        <a:pt x="83296" y="33039"/>
                        <a:pt x="67794" y="39328"/>
                        <a:pt x="55757" y="51689"/>
                      </a:cubicBezTo>
                      <a:cubicBezTo>
                        <a:pt x="43720" y="64051"/>
                        <a:pt x="37505" y="81200"/>
                        <a:pt x="37112" y="103137"/>
                      </a:cubicBezTo>
                      <a:cubicBezTo>
                        <a:pt x="37439" y="124324"/>
                        <a:pt x="43857" y="141259"/>
                        <a:pt x="56364" y="153942"/>
                      </a:cubicBezTo>
                      <a:cubicBezTo>
                        <a:pt x="68872" y="166626"/>
                        <a:pt x="85505" y="173128"/>
                        <a:pt x="106263" y="173450"/>
                      </a:cubicBezTo>
                      <a:cubicBezTo>
                        <a:pt x="114758" y="173444"/>
                        <a:pt x="123057" y="172098"/>
                        <a:pt x="131159" y="169413"/>
                      </a:cubicBezTo>
                      <a:cubicBezTo>
                        <a:pt x="139261" y="166727"/>
                        <a:pt x="146774" y="162737"/>
                        <a:pt x="153698" y="157444"/>
                      </a:cubicBezTo>
                      <a:lnTo>
                        <a:pt x="167128" y="183726"/>
                      </a:lnTo>
                      <a:cubicBezTo>
                        <a:pt x="160585" y="190535"/>
                        <a:pt x="151596" y="195970"/>
                        <a:pt x="140160" y="200031"/>
                      </a:cubicBezTo>
                      <a:cubicBezTo>
                        <a:pt x="128724" y="204093"/>
                        <a:pt x="116378" y="206174"/>
                        <a:pt x="103120" y="206275"/>
                      </a:cubicBezTo>
                      <a:cubicBezTo>
                        <a:pt x="72070" y="205872"/>
                        <a:pt x="47239" y="196471"/>
                        <a:pt x="28628" y="178072"/>
                      </a:cubicBezTo>
                      <a:cubicBezTo>
                        <a:pt x="10017" y="159673"/>
                        <a:pt x="475" y="134695"/>
                        <a:pt x="0" y="103137"/>
                      </a:cubicBezTo>
                      <a:cubicBezTo>
                        <a:pt x="40" y="83778"/>
                        <a:pt x="3988" y="66353"/>
                        <a:pt x="11844" y="50864"/>
                      </a:cubicBezTo>
                      <a:cubicBezTo>
                        <a:pt x="19700" y="35375"/>
                        <a:pt x="31223" y="23078"/>
                        <a:pt x="46413" y="13972"/>
                      </a:cubicBezTo>
                      <a:cubicBezTo>
                        <a:pt x="61604" y="4867"/>
                        <a:pt x="80220" y="209"/>
                        <a:pt x="102263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0" name="Полілінія: фігура 9">
                  <a:extLst>
                    <a:ext uri="{FF2B5EF4-FFF2-40B4-BE49-F238E27FC236}">
                      <a16:creationId xmlns:a16="http://schemas.microsoft.com/office/drawing/2014/main" id="{513FFF8D-FF30-9789-6B29-B80736601EFE}"/>
                    </a:ext>
                  </a:extLst>
                </p:cNvPr>
                <p:cNvSpPr/>
                <p:nvPr/>
              </p:nvSpPr>
              <p:spPr>
                <a:xfrm>
                  <a:off x="5875657" y="185397"/>
                  <a:ext cx="167128" cy="197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7128" h="206275">
                      <a:moveTo>
                        <a:pt x="102263" y="0"/>
                      </a:moveTo>
                      <a:cubicBezTo>
                        <a:pt x="115353" y="95"/>
                        <a:pt x="127105" y="1974"/>
                        <a:pt x="137517" y="5637"/>
                      </a:cubicBezTo>
                      <a:cubicBezTo>
                        <a:pt x="147929" y="9300"/>
                        <a:pt x="156466" y="14176"/>
                        <a:pt x="163127" y="20266"/>
                      </a:cubicBezTo>
                      <a:lnTo>
                        <a:pt x="147411" y="46258"/>
                      </a:lnTo>
                      <a:cubicBezTo>
                        <a:pt x="141529" y="42197"/>
                        <a:pt x="135005" y="38958"/>
                        <a:pt x="127837" y="36540"/>
                      </a:cubicBezTo>
                      <a:cubicBezTo>
                        <a:pt x="120670" y="34123"/>
                        <a:pt x="112145" y="32885"/>
                        <a:pt x="102263" y="32825"/>
                      </a:cubicBezTo>
                      <a:cubicBezTo>
                        <a:pt x="83296" y="33039"/>
                        <a:pt x="67794" y="39328"/>
                        <a:pt x="55757" y="51689"/>
                      </a:cubicBezTo>
                      <a:cubicBezTo>
                        <a:pt x="43720" y="64051"/>
                        <a:pt x="37505" y="81200"/>
                        <a:pt x="37112" y="103137"/>
                      </a:cubicBezTo>
                      <a:cubicBezTo>
                        <a:pt x="37439" y="124324"/>
                        <a:pt x="43856" y="141259"/>
                        <a:pt x="56364" y="153942"/>
                      </a:cubicBezTo>
                      <a:cubicBezTo>
                        <a:pt x="68872" y="166626"/>
                        <a:pt x="85505" y="173128"/>
                        <a:pt x="106263" y="173450"/>
                      </a:cubicBezTo>
                      <a:cubicBezTo>
                        <a:pt x="114758" y="173444"/>
                        <a:pt x="123057" y="172098"/>
                        <a:pt x="131159" y="169413"/>
                      </a:cubicBezTo>
                      <a:cubicBezTo>
                        <a:pt x="139261" y="166727"/>
                        <a:pt x="146774" y="162737"/>
                        <a:pt x="153698" y="157444"/>
                      </a:cubicBezTo>
                      <a:lnTo>
                        <a:pt x="167128" y="183726"/>
                      </a:lnTo>
                      <a:cubicBezTo>
                        <a:pt x="160585" y="190535"/>
                        <a:pt x="151596" y="195970"/>
                        <a:pt x="140160" y="200031"/>
                      </a:cubicBezTo>
                      <a:cubicBezTo>
                        <a:pt x="128724" y="204093"/>
                        <a:pt x="116378" y="206174"/>
                        <a:pt x="103120" y="206275"/>
                      </a:cubicBezTo>
                      <a:cubicBezTo>
                        <a:pt x="72070" y="205872"/>
                        <a:pt x="47240" y="196471"/>
                        <a:pt x="28628" y="178072"/>
                      </a:cubicBezTo>
                      <a:cubicBezTo>
                        <a:pt x="10018" y="159673"/>
                        <a:pt x="475" y="134695"/>
                        <a:pt x="0" y="103137"/>
                      </a:cubicBezTo>
                      <a:cubicBezTo>
                        <a:pt x="40" y="83778"/>
                        <a:pt x="3988" y="66353"/>
                        <a:pt x="11844" y="50864"/>
                      </a:cubicBezTo>
                      <a:cubicBezTo>
                        <a:pt x="19700" y="35375"/>
                        <a:pt x="31223" y="23078"/>
                        <a:pt x="46414" y="13972"/>
                      </a:cubicBezTo>
                      <a:cubicBezTo>
                        <a:pt x="61604" y="4867"/>
                        <a:pt x="80220" y="209"/>
                        <a:pt x="102263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5" name="Полілінія: фігура 14">
                  <a:extLst>
                    <a:ext uri="{FF2B5EF4-FFF2-40B4-BE49-F238E27FC236}">
                      <a16:creationId xmlns:a16="http://schemas.microsoft.com/office/drawing/2014/main" id="{3C76CCD4-EE6B-A41F-5BDC-7BB200C38BCA}"/>
                    </a:ext>
                  </a:extLst>
                </p:cNvPr>
                <p:cNvSpPr/>
                <p:nvPr/>
              </p:nvSpPr>
              <p:spPr>
                <a:xfrm>
                  <a:off x="6055281" y="188456"/>
                  <a:ext cx="200024" cy="19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024" h="200561">
                      <a:moveTo>
                        <a:pt x="84581" y="0"/>
                      </a:moveTo>
                      <a:lnTo>
                        <a:pt x="115442" y="0"/>
                      </a:lnTo>
                      <a:lnTo>
                        <a:pt x="200024" y="200561"/>
                      </a:lnTo>
                      <a:lnTo>
                        <a:pt x="162591" y="200561"/>
                      </a:lnTo>
                      <a:lnTo>
                        <a:pt x="141731" y="149412"/>
                      </a:lnTo>
                      <a:lnTo>
                        <a:pt x="56292" y="149412"/>
                      </a:lnTo>
                      <a:lnTo>
                        <a:pt x="35432" y="200561"/>
                      </a:lnTo>
                      <a:lnTo>
                        <a:pt x="0" y="200561"/>
                      </a:lnTo>
                      <a:lnTo>
                        <a:pt x="84581" y="0"/>
                      </a:lnTo>
                      <a:close/>
                      <a:moveTo>
                        <a:pt x="99155" y="45435"/>
                      </a:moveTo>
                      <a:lnTo>
                        <a:pt x="69722" y="116586"/>
                      </a:lnTo>
                      <a:lnTo>
                        <a:pt x="128301" y="116586"/>
                      </a:lnTo>
                      <a:lnTo>
                        <a:pt x="99155" y="4543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9" name="Полілінія: фігура 18">
                  <a:extLst>
                    <a:ext uri="{FF2B5EF4-FFF2-40B4-BE49-F238E27FC236}">
                      <a16:creationId xmlns:a16="http://schemas.microsoft.com/office/drawing/2014/main" id="{78BB08B1-8675-5305-D6F5-29DFA52AB783}"/>
                    </a:ext>
                  </a:extLst>
                </p:cNvPr>
                <p:cNvSpPr/>
                <p:nvPr/>
              </p:nvSpPr>
              <p:spPr>
                <a:xfrm>
                  <a:off x="4798856" y="188455"/>
                  <a:ext cx="164842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4842" h="199703">
                      <a:moveTo>
                        <a:pt x="0" y="0"/>
                      </a:moveTo>
                      <a:lnTo>
                        <a:pt x="164842" y="0"/>
                      </a:lnTo>
                      <a:lnTo>
                        <a:pt x="164842" y="32825"/>
                      </a:lnTo>
                      <a:lnTo>
                        <a:pt x="99976" y="32825"/>
                      </a:lnTo>
                      <a:lnTo>
                        <a:pt x="99976" y="199703"/>
                      </a:lnTo>
                      <a:lnTo>
                        <a:pt x="64865" y="199703"/>
                      </a:lnTo>
                      <a:lnTo>
                        <a:pt x="64865" y="32825"/>
                      </a:lnTo>
                      <a:lnTo>
                        <a:pt x="0" y="328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0" name="Полілінія: фігура 19">
                  <a:extLst>
                    <a:ext uri="{FF2B5EF4-FFF2-40B4-BE49-F238E27FC236}">
                      <a16:creationId xmlns:a16="http://schemas.microsoft.com/office/drawing/2014/main" id="{D56E4F68-2B62-40D0-DBE3-2CE38B98715D}"/>
                    </a:ext>
                  </a:extLst>
                </p:cNvPr>
                <p:cNvSpPr/>
                <p:nvPr/>
              </p:nvSpPr>
              <p:spPr>
                <a:xfrm>
                  <a:off x="4995166" y="188455"/>
                  <a:ext cx="118550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550" h="199703">
                      <a:moveTo>
                        <a:pt x="0" y="0"/>
                      </a:moveTo>
                      <a:lnTo>
                        <a:pt x="115693" y="0"/>
                      </a:lnTo>
                      <a:lnTo>
                        <a:pt x="115693" y="32825"/>
                      </a:lnTo>
                      <a:lnTo>
                        <a:pt x="35111" y="32825"/>
                      </a:lnTo>
                      <a:lnTo>
                        <a:pt x="35111" y="82296"/>
                      </a:lnTo>
                      <a:lnTo>
                        <a:pt x="107120" y="82296"/>
                      </a:lnTo>
                      <a:lnTo>
                        <a:pt x="107120" y="115121"/>
                      </a:lnTo>
                      <a:lnTo>
                        <a:pt x="35111" y="115121"/>
                      </a:lnTo>
                      <a:lnTo>
                        <a:pt x="35111" y="166878"/>
                      </a:lnTo>
                      <a:lnTo>
                        <a:pt x="118550" y="166878"/>
                      </a:lnTo>
                      <a:lnTo>
                        <a:pt x="118550" y="199703"/>
                      </a:lnTo>
                      <a:lnTo>
                        <a:pt x="0" y="1997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1" name="Полілінія: фігура 20">
                  <a:extLst>
                    <a:ext uri="{FF2B5EF4-FFF2-40B4-BE49-F238E27FC236}">
                      <a16:creationId xmlns:a16="http://schemas.microsoft.com/office/drawing/2014/main" id="{0B075B5A-BD86-7034-8D7C-E575160748E7}"/>
                    </a:ext>
                  </a:extLst>
                </p:cNvPr>
                <p:cNvSpPr/>
                <p:nvPr/>
              </p:nvSpPr>
              <p:spPr>
                <a:xfrm>
                  <a:off x="5347592" y="188455"/>
                  <a:ext cx="161413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1413" h="199703">
                      <a:moveTo>
                        <a:pt x="0" y="0"/>
                      </a:moveTo>
                      <a:lnTo>
                        <a:pt x="35111" y="0"/>
                      </a:lnTo>
                      <a:lnTo>
                        <a:pt x="35111" y="81438"/>
                      </a:lnTo>
                      <a:lnTo>
                        <a:pt x="126587" y="81438"/>
                      </a:lnTo>
                      <a:lnTo>
                        <a:pt x="126587" y="0"/>
                      </a:lnTo>
                      <a:lnTo>
                        <a:pt x="161413" y="0"/>
                      </a:lnTo>
                      <a:lnTo>
                        <a:pt x="161413" y="199703"/>
                      </a:lnTo>
                      <a:lnTo>
                        <a:pt x="126587" y="199703"/>
                      </a:lnTo>
                      <a:lnTo>
                        <a:pt x="126587" y="114264"/>
                      </a:lnTo>
                      <a:lnTo>
                        <a:pt x="35111" y="114264"/>
                      </a:lnTo>
                      <a:lnTo>
                        <a:pt x="35111" y="199703"/>
                      </a:lnTo>
                      <a:lnTo>
                        <a:pt x="0" y="1997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2" name="Полілінія: фігура 21">
                  <a:extLst>
                    <a:ext uri="{FF2B5EF4-FFF2-40B4-BE49-F238E27FC236}">
                      <a16:creationId xmlns:a16="http://schemas.microsoft.com/office/drawing/2014/main" id="{FBD423C6-642F-8684-B3FA-A3A71D221642}"/>
                    </a:ext>
                  </a:extLst>
                </p:cNvPr>
                <p:cNvSpPr/>
                <p:nvPr/>
              </p:nvSpPr>
              <p:spPr>
                <a:xfrm>
                  <a:off x="5566667" y="188455"/>
                  <a:ext cx="170843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43" h="199703">
                      <a:moveTo>
                        <a:pt x="0" y="0"/>
                      </a:moveTo>
                      <a:lnTo>
                        <a:pt x="27973" y="0"/>
                      </a:lnTo>
                      <a:lnTo>
                        <a:pt x="138017" y="138936"/>
                      </a:lnTo>
                      <a:lnTo>
                        <a:pt x="138017" y="0"/>
                      </a:lnTo>
                      <a:lnTo>
                        <a:pt x="170843" y="0"/>
                      </a:lnTo>
                      <a:lnTo>
                        <a:pt x="170843" y="199703"/>
                      </a:lnTo>
                      <a:lnTo>
                        <a:pt x="142870" y="199703"/>
                      </a:lnTo>
                      <a:lnTo>
                        <a:pt x="32825" y="61336"/>
                      </a:lnTo>
                      <a:lnTo>
                        <a:pt x="32825" y="199703"/>
                      </a:lnTo>
                      <a:lnTo>
                        <a:pt x="0" y="1997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3" name="Полілінія: фігура 22">
                  <a:extLst>
                    <a:ext uri="{FF2B5EF4-FFF2-40B4-BE49-F238E27FC236}">
                      <a16:creationId xmlns:a16="http://schemas.microsoft.com/office/drawing/2014/main" id="{E6DD3FA7-7E1F-3C43-768A-28820CB9B5E1}"/>
                    </a:ext>
                  </a:extLst>
                </p:cNvPr>
                <p:cNvSpPr/>
                <p:nvPr/>
              </p:nvSpPr>
              <p:spPr>
                <a:xfrm>
                  <a:off x="5799552" y="188455"/>
                  <a:ext cx="35112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112" h="199703">
                      <a:moveTo>
                        <a:pt x="0" y="0"/>
                      </a:moveTo>
                      <a:lnTo>
                        <a:pt x="35112" y="0"/>
                      </a:lnTo>
                      <a:lnTo>
                        <a:pt x="35112" y="199703"/>
                      </a:lnTo>
                      <a:lnTo>
                        <a:pt x="0" y="1997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4" name="Полілінія: фігура 23">
                  <a:extLst>
                    <a:ext uri="{FF2B5EF4-FFF2-40B4-BE49-F238E27FC236}">
                      <a16:creationId xmlns:a16="http://schemas.microsoft.com/office/drawing/2014/main" id="{8C2CA553-8878-E0E5-A805-7965DA0D6657}"/>
                    </a:ext>
                  </a:extLst>
                </p:cNvPr>
                <p:cNvSpPr/>
                <p:nvPr/>
              </p:nvSpPr>
              <p:spPr>
                <a:xfrm>
                  <a:off x="6281042" y="188455"/>
                  <a:ext cx="125123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123" h="199703">
                      <a:moveTo>
                        <a:pt x="0" y="0"/>
                      </a:moveTo>
                      <a:lnTo>
                        <a:pt x="35111" y="0"/>
                      </a:lnTo>
                      <a:lnTo>
                        <a:pt x="35111" y="166878"/>
                      </a:lnTo>
                      <a:lnTo>
                        <a:pt x="125123" y="166878"/>
                      </a:lnTo>
                      <a:lnTo>
                        <a:pt x="125123" y="199703"/>
                      </a:lnTo>
                      <a:lnTo>
                        <a:pt x="0" y="1997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</p:grpSp>
          <p:grpSp>
            <p:nvGrpSpPr>
              <p:cNvPr id="422" name="Групувати 421">
                <a:extLst>
                  <a:ext uri="{FF2B5EF4-FFF2-40B4-BE49-F238E27FC236}">
                    <a16:creationId xmlns:a16="http://schemas.microsoft.com/office/drawing/2014/main" id="{454A20FF-F28A-5666-A5E6-6B7381726BCE}"/>
                  </a:ext>
                </a:extLst>
              </p:cNvPr>
              <p:cNvGrpSpPr/>
              <p:nvPr/>
            </p:nvGrpSpPr>
            <p:grpSpPr>
              <a:xfrm>
                <a:off x="6589061" y="185397"/>
                <a:ext cx="1585400" cy="199555"/>
                <a:chOff x="6490591" y="185397"/>
                <a:chExt cx="1585400" cy="199555"/>
              </a:xfrm>
            </p:grpSpPr>
            <p:sp>
              <p:nvSpPr>
                <p:cNvPr id="11" name="Полілінія: фігура 10">
                  <a:extLst>
                    <a:ext uri="{FF2B5EF4-FFF2-40B4-BE49-F238E27FC236}">
                      <a16:creationId xmlns:a16="http://schemas.microsoft.com/office/drawing/2014/main" id="{EA906DD8-488D-E096-AFC2-95C22E8C9D8E}"/>
                    </a:ext>
                  </a:extLst>
                </p:cNvPr>
                <p:cNvSpPr/>
                <p:nvPr/>
              </p:nvSpPr>
              <p:spPr>
                <a:xfrm>
                  <a:off x="6847207" y="185397"/>
                  <a:ext cx="167128" cy="197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7128" h="206275">
                      <a:moveTo>
                        <a:pt x="102263" y="0"/>
                      </a:moveTo>
                      <a:cubicBezTo>
                        <a:pt x="115353" y="95"/>
                        <a:pt x="127105" y="1974"/>
                        <a:pt x="137517" y="5637"/>
                      </a:cubicBezTo>
                      <a:cubicBezTo>
                        <a:pt x="147929" y="9300"/>
                        <a:pt x="156466" y="14176"/>
                        <a:pt x="163127" y="20266"/>
                      </a:cubicBezTo>
                      <a:lnTo>
                        <a:pt x="147411" y="46258"/>
                      </a:lnTo>
                      <a:cubicBezTo>
                        <a:pt x="141529" y="42197"/>
                        <a:pt x="135005" y="38958"/>
                        <a:pt x="127837" y="36540"/>
                      </a:cubicBezTo>
                      <a:cubicBezTo>
                        <a:pt x="120670" y="34123"/>
                        <a:pt x="112145" y="32885"/>
                        <a:pt x="102263" y="32825"/>
                      </a:cubicBezTo>
                      <a:cubicBezTo>
                        <a:pt x="83296" y="33039"/>
                        <a:pt x="67794" y="39328"/>
                        <a:pt x="55757" y="51689"/>
                      </a:cubicBezTo>
                      <a:cubicBezTo>
                        <a:pt x="43719" y="64051"/>
                        <a:pt x="37504" y="81200"/>
                        <a:pt x="37112" y="103137"/>
                      </a:cubicBezTo>
                      <a:cubicBezTo>
                        <a:pt x="37439" y="124324"/>
                        <a:pt x="43857" y="141259"/>
                        <a:pt x="56364" y="153942"/>
                      </a:cubicBezTo>
                      <a:cubicBezTo>
                        <a:pt x="68871" y="166626"/>
                        <a:pt x="85505" y="173128"/>
                        <a:pt x="106263" y="173450"/>
                      </a:cubicBezTo>
                      <a:cubicBezTo>
                        <a:pt x="114758" y="173444"/>
                        <a:pt x="123057" y="172098"/>
                        <a:pt x="131159" y="169413"/>
                      </a:cubicBezTo>
                      <a:cubicBezTo>
                        <a:pt x="139261" y="166727"/>
                        <a:pt x="146774" y="162737"/>
                        <a:pt x="153698" y="157444"/>
                      </a:cubicBezTo>
                      <a:lnTo>
                        <a:pt x="167128" y="183726"/>
                      </a:lnTo>
                      <a:cubicBezTo>
                        <a:pt x="160586" y="190535"/>
                        <a:pt x="151596" y="195970"/>
                        <a:pt x="140160" y="200031"/>
                      </a:cubicBezTo>
                      <a:cubicBezTo>
                        <a:pt x="128724" y="204093"/>
                        <a:pt x="116377" y="206174"/>
                        <a:pt x="103120" y="206275"/>
                      </a:cubicBezTo>
                      <a:cubicBezTo>
                        <a:pt x="72070" y="205872"/>
                        <a:pt x="47239" y="196471"/>
                        <a:pt x="28628" y="178072"/>
                      </a:cubicBezTo>
                      <a:cubicBezTo>
                        <a:pt x="10017" y="159673"/>
                        <a:pt x="474" y="134695"/>
                        <a:pt x="0" y="103137"/>
                      </a:cubicBezTo>
                      <a:cubicBezTo>
                        <a:pt x="40" y="83778"/>
                        <a:pt x="3988" y="66353"/>
                        <a:pt x="11844" y="50864"/>
                      </a:cubicBezTo>
                      <a:cubicBezTo>
                        <a:pt x="19700" y="35375"/>
                        <a:pt x="31223" y="23078"/>
                        <a:pt x="46413" y="13972"/>
                      </a:cubicBezTo>
                      <a:cubicBezTo>
                        <a:pt x="61604" y="4867"/>
                        <a:pt x="80220" y="209"/>
                        <a:pt x="102263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2" name="Полілінія: фігура 11">
                  <a:extLst>
                    <a:ext uri="{FF2B5EF4-FFF2-40B4-BE49-F238E27FC236}">
                      <a16:creationId xmlns:a16="http://schemas.microsoft.com/office/drawing/2014/main" id="{00227EA5-0564-E705-D4B7-882BA69F1A8B}"/>
                    </a:ext>
                  </a:extLst>
                </p:cNvPr>
                <p:cNvSpPr/>
                <p:nvPr/>
              </p:nvSpPr>
              <p:spPr>
                <a:xfrm>
                  <a:off x="7228207" y="188455"/>
                  <a:ext cx="132266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266" h="206275">
                      <a:moveTo>
                        <a:pt x="66847" y="0"/>
                      </a:moveTo>
                      <a:cubicBezTo>
                        <a:pt x="79236" y="71"/>
                        <a:pt x="90335" y="1998"/>
                        <a:pt x="100142" y="5780"/>
                      </a:cubicBezTo>
                      <a:cubicBezTo>
                        <a:pt x="109949" y="9562"/>
                        <a:pt x="117898" y="14771"/>
                        <a:pt x="123988" y="21408"/>
                      </a:cubicBezTo>
                      <a:lnTo>
                        <a:pt x="105146" y="47687"/>
                      </a:lnTo>
                      <a:cubicBezTo>
                        <a:pt x="100424" y="42941"/>
                        <a:pt x="95306" y="39285"/>
                        <a:pt x="89791" y="36719"/>
                      </a:cubicBezTo>
                      <a:cubicBezTo>
                        <a:pt x="84277" y="34153"/>
                        <a:pt x="77581" y="32855"/>
                        <a:pt x="69706" y="32825"/>
                      </a:cubicBezTo>
                      <a:cubicBezTo>
                        <a:pt x="60907" y="32920"/>
                        <a:pt x="54056" y="34945"/>
                        <a:pt x="49154" y="38899"/>
                      </a:cubicBezTo>
                      <a:cubicBezTo>
                        <a:pt x="44251" y="42852"/>
                        <a:pt x="41761" y="48164"/>
                        <a:pt x="41684" y="54833"/>
                      </a:cubicBezTo>
                      <a:cubicBezTo>
                        <a:pt x="42155" y="64844"/>
                        <a:pt x="46873" y="72493"/>
                        <a:pt x="55837" y="77779"/>
                      </a:cubicBezTo>
                      <a:cubicBezTo>
                        <a:pt x="64801" y="83065"/>
                        <a:pt x="75180" y="88088"/>
                        <a:pt x="86975" y="92847"/>
                      </a:cubicBezTo>
                      <a:cubicBezTo>
                        <a:pt x="98770" y="97607"/>
                        <a:pt x="109149" y="104202"/>
                        <a:pt x="118113" y="112632"/>
                      </a:cubicBezTo>
                      <a:cubicBezTo>
                        <a:pt x="127077" y="121062"/>
                        <a:pt x="131795" y="133427"/>
                        <a:pt x="132266" y="149726"/>
                      </a:cubicBezTo>
                      <a:cubicBezTo>
                        <a:pt x="131821" y="166832"/>
                        <a:pt x="125360" y="180471"/>
                        <a:pt x="112884" y="190644"/>
                      </a:cubicBezTo>
                      <a:cubicBezTo>
                        <a:pt x="100407" y="200816"/>
                        <a:pt x="84584" y="206026"/>
                        <a:pt x="65417" y="206275"/>
                      </a:cubicBezTo>
                      <a:cubicBezTo>
                        <a:pt x="56688" y="206263"/>
                        <a:pt x="47942" y="205051"/>
                        <a:pt x="39178" y="202639"/>
                      </a:cubicBezTo>
                      <a:cubicBezTo>
                        <a:pt x="30415" y="200227"/>
                        <a:pt x="22541" y="196688"/>
                        <a:pt x="15557" y="192025"/>
                      </a:cubicBezTo>
                      <a:cubicBezTo>
                        <a:pt x="8574" y="187361"/>
                        <a:pt x="3388" y="181645"/>
                        <a:pt x="0" y="174877"/>
                      </a:cubicBezTo>
                      <a:lnTo>
                        <a:pt x="19987" y="150870"/>
                      </a:lnTo>
                      <a:cubicBezTo>
                        <a:pt x="26060" y="158438"/>
                        <a:pt x="33260" y="164095"/>
                        <a:pt x="41587" y="167841"/>
                      </a:cubicBezTo>
                      <a:cubicBezTo>
                        <a:pt x="49914" y="171586"/>
                        <a:pt x="58048" y="173456"/>
                        <a:pt x="65989" y="173450"/>
                      </a:cubicBezTo>
                      <a:cubicBezTo>
                        <a:pt x="74460" y="173420"/>
                        <a:pt x="81394" y="171407"/>
                        <a:pt x="86791" y="167412"/>
                      </a:cubicBezTo>
                      <a:cubicBezTo>
                        <a:pt x="92188" y="163416"/>
                        <a:pt x="94976" y="157616"/>
                        <a:pt x="95154" y="150012"/>
                      </a:cubicBezTo>
                      <a:cubicBezTo>
                        <a:pt x="94683" y="140474"/>
                        <a:pt x="89965" y="133040"/>
                        <a:pt x="81001" y="127709"/>
                      </a:cubicBezTo>
                      <a:cubicBezTo>
                        <a:pt x="72037" y="122378"/>
                        <a:pt x="61658" y="117212"/>
                        <a:pt x="49863" y="112212"/>
                      </a:cubicBezTo>
                      <a:cubicBezTo>
                        <a:pt x="38069" y="107212"/>
                        <a:pt x="27689" y="100438"/>
                        <a:pt x="18725" y="91892"/>
                      </a:cubicBezTo>
                      <a:cubicBezTo>
                        <a:pt x="9762" y="83345"/>
                        <a:pt x="5044" y="71088"/>
                        <a:pt x="4572" y="55119"/>
                      </a:cubicBezTo>
                      <a:cubicBezTo>
                        <a:pt x="4738" y="39697"/>
                        <a:pt x="10258" y="26760"/>
                        <a:pt x="21134" y="16309"/>
                      </a:cubicBezTo>
                      <a:cubicBezTo>
                        <a:pt x="32011" y="5858"/>
                        <a:pt x="47248" y="421"/>
                        <a:pt x="66847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3" name="Полілінія: фігура 12">
                  <a:extLst>
                    <a:ext uri="{FF2B5EF4-FFF2-40B4-BE49-F238E27FC236}">
                      <a16:creationId xmlns:a16="http://schemas.microsoft.com/office/drawing/2014/main" id="{B6E12D50-E201-4294-4220-36137E9AD184}"/>
                    </a:ext>
                  </a:extLst>
                </p:cNvPr>
                <p:cNvSpPr/>
                <p:nvPr/>
              </p:nvSpPr>
              <p:spPr>
                <a:xfrm>
                  <a:off x="7733033" y="185397"/>
                  <a:ext cx="179129" cy="1973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9129" h="206275">
                      <a:moveTo>
                        <a:pt x="99711" y="0"/>
                      </a:moveTo>
                      <a:cubicBezTo>
                        <a:pt x="113879" y="41"/>
                        <a:pt x="126133" y="1813"/>
                        <a:pt x="136474" y="5316"/>
                      </a:cubicBezTo>
                      <a:cubicBezTo>
                        <a:pt x="146815" y="8818"/>
                        <a:pt x="155990" y="13802"/>
                        <a:pt x="164001" y="20266"/>
                      </a:cubicBezTo>
                      <a:lnTo>
                        <a:pt x="149158" y="48265"/>
                      </a:lnTo>
                      <a:cubicBezTo>
                        <a:pt x="143991" y="43494"/>
                        <a:pt x="137394" y="39741"/>
                        <a:pt x="129367" y="37007"/>
                      </a:cubicBezTo>
                      <a:cubicBezTo>
                        <a:pt x="121339" y="34273"/>
                        <a:pt x="112884" y="32879"/>
                        <a:pt x="103999" y="32825"/>
                      </a:cubicBezTo>
                      <a:cubicBezTo>
                        <a:pt x="84329" y="32968"/>
                        <a:pt x="68358" y="39115"/>
                        <a:pt x="56084" y="51265"/>
                      </a:cubicBezTo>
                      <a:cubicBezTo>
                        <a:pt x="43811" y="63415"/>
                        <a:pt x="37487" y="80709"/>
                        <a:pt x="37112" y="103147"/>
                      </a:cubicBezTo>
                      <a:cubicBezTo>
                        <a:pt x="37397" y="124698"/>
                        <a:pt x="43614" y="141735"/>
                        <a:pt x="55763" y="154260"/>
                      </a:cubicBezTo>
                      <a:cubicBezTo>
                        <a:pt x="67911" y="166784"/>
                        <a:pt x="84275" y="173181"/>
                        <a:pt x="104856" y="173450"/>
                      </a:cubicBezTo>
                      <a:cubicBezTo>
                        <a:pt x="112872" y="173325"/>
                        <a:pt x="120780" y="171931"/>
                        <a:pt x="128581" y="169267"/>
                      </a:cubicBezTo>
                      <a:cubicBezTo>
                        <a:pt x="136382" y="166604"/>
                        <a:pt x="142290" y="163423"/>
                        <a:pt x="146304" y="159723"/>
                      </a:cubicBezTo>
                      <a:lnTo>
                        <a:pt x="146304" y="128266"/>
                      </a:lnTo>
                      <a:lnTo>
                        <a:pt x="97996" y="128266"/>
                      </a:lnTo>
                      <a:lnTo>
                        <a:pt x="97996" y="95440"/>
                      </a:lnTo>
                      <a:lnTo>
                        <a:pt x="179129" y="95440"/>
                      </a:lnTo>
                      <a:lnTo>
                        <a:pt x="179129" y="178302"/>
                      </a:lnTo>
                      <a:cubicBezTo>
                        <a:pt x="169822" y="187210"/>
                        <a:pt x="158245" y="194085"/>
                        <a:pt x="144396" y="198925"/>
                      </a:cubicBezTo>
                      <a:cubicBezTo>
                        <a:pt x="130547" y="203766"/>
                        <a:pt x="117177" y="206216"/>
                        <a:pt x="104284" y="206275"/>
                      </a:cubicBezTo>
                      <a:cubicBezTo>
                        <a:pt x="71301" y="205872"/>
                        <a:pt x="45739" y="196471"/>
                        <a:pt x="27595" y="178072"/>
                      </a:cubicBezTo>
                      <a:cubicBezTo>
                        <a:pt x="9452" y="159673"/>
                        <a:pt x="254" y="134698"/>
                        <a:pt x="0" y="103147"/>
                      </a:cubicBezTo>
                      <a:cubicBezTo>
                        <a:pt x="98" y="83786"/>
                        <a:pt x="4184" y="66360"/>
                        <a:pt x="12257" y="50869"/>
                      </a:cubicBezTo>
                      <a:cubicBezTo>
                        <a:pt x="20331" y="35379"/>
                        <a:pt x="31803" y="23080"/>
                        <a:pt x="46673" y="13974"/>
                      </a:cubicBezTo>
                      <a:cubicBezTo>
                        <a:pt x="61543" y="4867"/>
                        <a:pt x="79223" y="209"/>
                        <a:pt x="99711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4" name="Полілінія: фігура 13">
                  <a:extLst>
                    <a:ext uri="{FF2B5EF4-FFF2-40B4-BE49-F238E27FC236}">
                      <a16:creationId xmlns:a16="http://schemas.microsoft.com/office/drawing/2014/main" id="{EC1457C5-4B32-6A96-4E10-C26B1A16ABBF}"/>
                    </a:ext>
                  </a:extLst>
                </p:cNvPr>
                <p:cNvSpPr/>
                <p:nvPr/>
              </p:nvSpPr>
              <p:spPr>
                <a:xfrm>
                  <a:off x="6490591" y="188455"/>
                  <a:ext cx="129980" cy="1964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9980" h="201989">
                      <a:moveTo>
                        <a:pt x="57701" y="0"/>
                      </a:moveTo>
                      <a:cubicBezTo>
                        <a:pt x="81318" y="326"/>
                        <a:pt x="98234" y="5096"/>
                        <a:pt x="108451" y="14310"/>
                      </a:cubicBezTo>
                      <a:cubicBezTo>
                        <a:pt x="118667" y="23524"/>
                        <a:pt x="123653" y="35222"/>
                        <a:pt x="123408" y="49403"/>
                      </a:cubicBezTo>
                      <a:cubicBezTo>
                        <a:pt x="123289" y="60801"/>
                        <a:pt x="120673" y="70233"/>
                        <a:pt x="115559" y="77700"/>
                      </a:cubicBezTo>
                      <a:cubicBezTo>
                        <a:pt x="110445" y="85167"/>
                        <a:pt x="103548" y="90884"/>
                        <a:pt x="94869" y="94849"/>
                      </a:cubicBezTo>
                      <a:lnTo>
                        <a:pt x="94869" y="95421"/>
                      </a:lnTo>
                      <a:cubicBezTo>
                        <a:pt x="104949" y="97827"/>
                        <a:pt x="113263" y="102876"/>
                        <a:pt x="119811" y="110570"/>
                      </a:cubicBezTo>
                      <a:cubicBezTo>
                        <a:pt x="126359" y="118263"/>
                        <a:pt x="129748" y="128743"/>
                        <a:pt x="129980" y="142010"/>
                      </a:cubicBezTo>
                      <a:cubicBezTo>
                        <a:pt x="129530" y="162508"/>
                        <a:pt x="122438" y="177647"/>
                        <a:pt x="108706" y="187427"/>
                      </a:cubicBezTo>
                      <a:cubicBezTo>
                        <a:pt x="94973" y="197207"/>
                        <a:pt x="77304" y="202061"/>
                        <a:pt x="55697" y="201989"/>
                      </a:cubicBezTo>
                      <a:cubicBezTo>
                        <a:pt x="46103" y="201983"/>
                        <a:pt x="35995" y="201852"/>
                        <a:pt x="25375" y="201597"/>
                      </a:cubicBezTo>
                      <a:cubicBezTo>
                        <a:pt x="14756" y="201341"/>
                        <a:pt x="6297" y="200996"/>
                        <a:pt x="0" y="200562"/>
                      </a:cubicBezTo>
                      <a:lnTo>
                        <a:pt x="0" y="1427"/>
                      </a:lnTo>
                      <a:cubicBezTo>
                        <a:pt x="6024" y="1117"/>
                        <a:pt x="14530" y="808"/>
                        <a:pt x="25519" y="499"/>
                      </a:cubicBezTo>
                      <a:cubicBezTo>
                        <a:pt x="36508" y="190"/>
                        <a:pt x="47235" y="23"/>
                        <a:pt x="57701" y="0"/>
                      </a:cubicBezTo>
                      <a:close/>
                      <a:moveTo>
                        <a:pt x="57128" y="32825"/>
                      </a:moveTo>
                      <a:lnTo>
                        <a:pt x="45477" y="33040"/>
                      </a:lnTo>
                      <a:cubicBezTo>
                        <a:pt x="41736" y="33183"/>
                        <a:pt x="38281" y="33397"/>
                        <a:pt x="35111" y="33683"/>
                      </a:cubicBezTo>
                      <a:lnTo>
                        <a:pt x="35111" y="84274"/>
                      </a:lnTo>
                      <a:lnTo>
                        <a:pt x="58844" y="84274"/>
                      </a:lnTo>
                      <a:cubicBezTo>
                        <a:pt x="67214" y="84310"/>
                        <a:pt x="74208" y="82166"/>
                        <a:pt x="79825" y="77843"/>
                      </a:cubicBezTo>
                      <a:cubicBezTo>
                        <a:pt x="85443" y="73520"/>
                        <a:pt x="88362" y="66803"/>
                        <a:pt x="88582" y="57692"/>
                      </a:cubicBezTo>
                      <a:cubicBezTo>
                        <a:pt x="88451" y="49528"/>
                        <a:pt x="85568" y="43347"/>
                        <a:pt x="79933" y="39149"/>
                      </a:cubicBezTo>
                      <a:cubicBezTo>
                        <a:pt x="77114" y="37050"/>
                        <a:pt x="73805" y="35474"/>
                        <a:pt x="70004" y="34420"/>
                      </a:cubicBezTo>
                      <a:lnTo>
                        <a:pt x="57128" y="32825"/>
                      </a:lnTo>
                      <a:close/>
                      <a:moveTo>
                        <a:pt x="35111" y="114857"/>
                      </a:moveTo>
                      <a:lnTo>
                        <a:pt x="35111" y="167735"/>
                      </a:lnTo>
                      <a:cubicBezTo>
                        <a:pt x="37577" y="168044"/>
                        <a:pt x="40794" y="168354"/>
                        <a:pt x="44761" y="168663"/>
                      </a:cubicBezTo>
                      <a:cubicBezTo>
                        <a:pt x="48728" y="168973"/>
                        <a:pt x="53231" y="169140"/>
                        <a:pt x="58271" y="169164"/>
                      </a:cubicBezTo>
                      <a:cubicBezTo>
                        <a:pt x="70178" y="169140"/>
                        <a:pt x="79244" y="166686"/>
                        <a:pt x="85469" y="161804"/>
                      </a:cubicBezTo>
                      <a:cubicBezTo>
                        <a:pt x="91694" y="156921"/>
                        <a:pt x="94827" y="149751"/>
                        <a:pt x="94869" y="140295"/>
                      </a:cubicBezTo>
                      <a:cubicBezTo>
                        <a:pt x="94791" y="131858"/>
                        <a:pt x="91730" y="125510"/>
                        <a:pt x="85684" y="121252"/>
                      </a:cubicBezTo>
                      <a:cubicBezTo>
                        <a:pt x="79638" y="116995"/>
                        <a:pt x="71073" y="114863"/>
                        <a:pt x="59988" y="114857"/>
                      </a:cubicBezTo>
                      <a:lnTo>
                        <a:pt x="35111" y="11485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6" name="Полілінія: фігура 15">
                  <a:extLst>
                    <a:ext uri="{FF2B5EF4-FFF2-40B4-BE49-F238E27FC236}">
                      <a16:creationId xmlns:a16="http://schemas.microsoft.com/office/drawing/2014/main" id="{F7B5EEC0-375B-9C63-7399-BFB03952C700}"/>
                    </a:ext>
                  </a:extLst>
                </p:cNvPr>
                <p:cNvSpPr/>
                <p:nvPr/>
              </p:nvSpPr>
              <p:spPr>
                <a:xfrm>
                  <a:off x="6645831" y="188456"/>
                  <a:ext cx="200025" cy="19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025" h="200561">
                      <a:moveTo>
                        <a:pt x="84582" y="0"/>
                      </a:moveTo>
                      <a:lnTo>
                        <a:pt x="115443" y="0"/>
                      </a:lnTo>
                      <a:lnTo>
                        <a:pt x="200025" y="200561"/>
                      </a:lnTo>
                      <a:lnTo>
                        <a:pt x="162592" y="200561"/>
                      </a:lnTo>
                      <a:lnTo>
                        <a:pt x="141732" y="149412"/>
                      </a:lnTo>
                      <a:lnTo>
                        <a:pt x="56293" y="149412"/>
                      </a:lnTo>
                      <a:lnTo>
                        <a:pt x="35433" y="200561"/>
                      </a:lnTo>
                      <a:lnTo>
                        <a:pt x="0" y="200561"/>
                      </a:lnTo>
                      <a:lnTo>
                        <a:pt x="84582" y="0"/>
                      </a:lnTo>
                      <a:close/>
                      <a:moveTo>
                        <a:pt x="99156" y="45435"/>
                      </a:moveTo>
                      <a:lnTo>
                        <a:pt x="69723" y="116586"/>
                      </a:lnTo>
                      <a:lnTo>
                        <a:pt x="128302" y="116586"/>
                      </a:lnTo>
                      <a:lnTo>
                        <a:pt x="99156" y="4543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17" name="Полілінія: фігура 16">
                  <a:extLst>
                    <a:ext uri="{FF2B5EF4-FFF2-40B4-BE49-F238E27FC236}">
                      <a16:creationId xmlns:a16="http://schemas.microsoft.com/office/drawing/2014/main" id="{2E214EDA-7F50-7A23-7186-FE1171F046DD}"/>
                    </a:ext>
                  </a:extLst>
                </p:cNvPr>
                <p:cNvSpPr/>
                <p:nvPr/>
              </p:nvSpPr>
              <p:spPr>
                <a:xfrm>
                  <a:off x="7531656" y="188456"/>
                  <a:ext cx="200025" cy="19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0025" h="200561">
                      <a:moveTo>
                        <a:pt x="84582" y="0"/>
                      </a:moveTo>
                      <a:lnTo>
                        <a:pt x="115443" y="0"/>
                      </a:lnTo>
                      <a:lnTo>
                        <a:pt x="200025" y="200561"/>
                      </a:lnTo>
                      <a:lnTo>
                        <a:pt x="162592" y="200561"/>
                      </a:lnTo>
                      <a:lnTo>
                        <a:pt x="141732" y="149412"/>
                      </a:lnTo>
                      <a:lnTo>
                        <a:pt x="56293" y="149412"/>
                      </a:lnTo>
                      <a:lnTo>
                        <a:pt x="35433" y="200561"/>
                      </a:lnTo>
                      <a:lnTo>
                        <a:pt x="0" y="200561"/>
                      </a:lnTo>
                      <a:lnTo>
                        <a:pt x="84582" y="0"/>
                      </a:lnTo>
                      <a:close/>
                      <a:moveTo>
                        <a:pt x="99156" y="45435"/>
                      </a:moveTo>
                      <a:lnTo>
                        <a:pt x="69723" y="116586"/>
                      </a:lnTo>
                      <a:lnTo>
                        <a:pt x="128302" y="116586"/>
                      </a:lnTo>
                      <a:lnTo>
                        <a:pt x="99156" y="4543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5" name="Полілінія: фігура 24">
                  <a:extLst>
                    <a:ext uri="{FF2B5EF4-FFF2-40B4-BE49-F238E27FC236}">
                      <a16:creationId xmlns:a16="http://schemas.microsoft.com/office/drawing/2014/main" id="{DB0326C5-97EB-D847-A62D-745B00962E1D}"/>
                    </a:ext>
                  </a:extLst>
                </p:cNvPr>
                <p:cNvSpPr/>
                <p:nvPr/>
              </p:nvSpPr>
              <p:spPr>
                <a:xfrm>
                  <a:off x="7052567" y="188455"/>
                  <a:ext cx="161413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1413" h="199703">
                      <a:moveTo>
                        <a:pt x="0" y="0"/>
                      </a:moveTo>
                      <a:lnTo>
                        <a:pt x="35112" y="0"/>
                      </a:lnTo>
                      <a:lnTo>
                        <a:pt x="35112" y="94716"/>
                      </a:lnTo>
                      <a:lnTo>
                        <a:pt x="113978" y="0"/>
                      </a:lnTo>
                      <a:lnTo>
                        <a:pt x="156270" y="0"/>
                      </a:lnTo>
                      <a:lnTo>
                        <a:pt x="73973" y="93004"/>
                      </a:lnTo>
                      <a:lnTo>
                        <a:pt x="161413" y="199703"/>
                      </a:lnTo>
                      <a:lnTo>
                        <a:pt x="116836" y="199703"/>
                      </a:lnTo>
                      <a:lnTo>
                        <a:pt x="35112" y="96713"/>
                      </a:lnTo>
                      <a:lnTo>
                        <a:pt x="35112" y="199703"/>
                      </a:lnTo>
                      <a:lnTo>
                        <a:pt x="0" y="1997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6" name="Полілінія: фігура 25">
                  <a:extLst>
                    <a:ext uri="{FF2B5EF4-FFF2-40B4-BE49-F238E27FC236}">
                      <a16:creationId xmlns:a16="http://schemas.microsoft.com/office/drawing/2014/main" id="{EB831B8C-D48C-817B-61C2-79C75934CC48}"/>
                    </a:ext>
                  </a:extLst>
                </p:cNvPr>
                <p:cNvSpPr/>
                <p:nvPr/>
              </p:nvSpPr>
              <p:spPr>
                <a:xfrm>
                  <a:off x="7380131" y="188455"/>
                  <a:ext cx="164842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4842" h="199703">
                      <a:moveTo>
                        <a:pt x="0" y="0"/>
                      </a:moveTo>
                      <a:lnTo>
                        <a:pt x="164842" y="0"/>
                      </a:lnTo>
                      <a:lnTo>
                        <a:pt x="164842" y="32825"/>
                      </a:lnTo>
                      <a:lnTo>
                        <a:pt x="99976" y="32825"/>
                      </a:lnTo>
                      <a:lnTo>
                        <a:pt x="99976" y="199703"/>
                      </a:lnTo>
                      <a:lnTo>
                        <a:pt x="64865" y="199703"/>
                      </a:lnTo>
                      <a:lnTo>
                        <a:pt x="64865" y="32825"/>
                      </a:lnTo>
                      <a:lnTo>
                        <a:pt x="0" y="328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  <p:sp>
              <p:nvSpPr>
                <p:cNvPr id="27" name="Полілінія: фігура 26">
                  <a:extLst>
                    <a:ext uri="{FF2B5EF4-FFF2-40B4-BE49-F238E27FC236}">
                      <a16:creationId xmlns:a16="http://schemas.microsoft.com/office/drawing/2014/main" id="{619ED789-864B-4B58-07BE-47FAE09B493C}"/>
                    </a:ext>
                  </a:extLst>
                </p:cNvPr>
                <p:cNvSpPr/>
                <p:nvPr/>
              </p:nvSpPr>
              <p:spPr>
                <a:xfrm>
                  <a:off x="7957441" y="188455"/>
                  <a:ext cx="118550" cy="19427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550" h="199703">
                      <a:moveTo>
                        <a:pt x="0" y="0"/>
                      </a:moveTo>
                      <a:lnTo>
                        <a:pt x="115693" y="0"/>
                      </a:lnTo>
                      <a:lnTo>
                        <a:pt x="115693" y="32825"/>
                      </a:lnTo>
                      <a:lnTo>
                        <a:pt x="35111" y="32825"/>
                      </a:lnTo>
                      <a:lnTo>
                        <a:pt x="35111" y="82296"/>
                      </a:lnTo>
                      <a:lnTo>
                        <a:pt x="107120" y="82296"/>
                      </a:lnTo>
                      <a:lnTo>
                        <a:pt x="107120" y="115121"/>
                      </a:lnTo>
                      <a:lnTo>
                        <a:pt x="35111" y="115121"/>
                      </a:lnTo>
                      <a:lnTo>
                        <a:pt x="35111" y="166878"/>
                      </a:lnTo>
                      <a:lnTo>
                        <a:pt x="118550" y="166878"/>
                      </a:lnTo>
                      <a:lnTo>
                        <a:pt x="118550" y="199703"/>
                      </a:lnTo>
                      <a:lnTo>
                        <a:pt x="0" y="19970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chemeClr val="bg2">
                        <a:lumMod val="25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119" name="Групувати 118">
              <a:extLst>
                <a:ext uri="{FF2B5EF4-FFF2-40B4-BE49-F238E27FC236}">
                  <a16:creationId xmlns:a16="http://schemas.microsoft.com/office/drawing/2014/main" id="{BE8396BD-1F22-3E1F-CF8B-8E56E0D13E6A}"/>
                </a:ext>
              </a:extLst>
            </p:cNvPr>
            <p:cNvGrpSpPr>
              <a:grpSpLocks/>
            </p:cNvGrpSpPr>
            <p:nvPr/>
          </p:nvGrpSpPr>
          <p:grpSpPr>
            <a:xfrm>
              <a:off x="4294653" y="4179142"/>
              <a:ext cx="1328241" cy="478271"/>
              <a:chOff x="2489944" y="4611707"/>
              <a:chExt cx="1328241" cy="478271"/>
            </a:xfrm>
          </p:grpSpPr>
          <p:sp>
            <p:nvSpPr>
              <p:cNvPr id="126" name="Прямокутник: округлені кути 125">
                <a:extLst>
                  <a:ext uri="{FF2B5EF4-FFF2-40B4-BE49-F238E27FC236}">
                    <a16:creationId xmlns:a16="http://schemas.microsoft.com/office/drawing/2014/main" id="{D4281487-085C-8A67-83AE-A8829FBA668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489944" y="4611707"/>
                <a:ext cx="1052939" cy="478271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sz="1400" dirty="0"/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B1C8FDA0-A6D4-C7EF-29A5-67C41E619F3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62728" y="4628313"/>
                <a:ext cx="1255457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WELLS </a:t>
                </a:r>
              </a:p>
              <a:p>
                <a:r>
                  <a:rPr lang="en-US" sz="1100" dirty="0">
                    <a:solidFill>
                      <a:schemeClr val="bg2">
                        <a:lumMod val="25000"/>
                      </a:schemeClr>
                    </a:solidFill>
                    <a:latin typeface="+mj-lt"/>
                  </a:rPr>
                  <a:t>Total — 1365</a:t>
                </a:r>
              </a:p>
            </p:txBody>
          </p:sp>
        </p:grpSp>
        <p:grpSp>
          <p:nvGrpSpPr>
            <p:cNvPr id="120" name="Групувати 119">
              <a:extLst>
                <a:ext uri="{FF2B5EF4-FFF2-40B4-BE49-F238E27FC236}">
                  <a16:creationId xmlns:a16="http://schemas.microsoft.com/office/drawing/2014/main" id="{6FF474D3-1C8B-C411-125E-8A750042F783}"/>
                </a:ext>
              </a:extLst>
            </p:cNvPr>
            <p:cNvGrpSpPr>
              <a:grpSpLocks/>
            </p:cNvGrpSpPr>
            <p:nvPr/>
          </p:nvGrpSpPr>
          <p:grpSpPr>
            <a:xfrm>
              <a:off x="418674" y="4864821"/>
              <a:ext cx="1728396" cy="716092"/>
              <a:chOff x="63687" y="4569554"/>
              <a:chExt cx="1728396" cy="716092"/>
            </a:xfrm>
          </p:grpSpPr>
          <p:sp>
            <p:nvSpPr>
              <p:cNvPr id="124" name="Прямокутник: округлені кути 123">
                <a:extLst>
                  <a:ext uri="{FF2B5EF4-FFF2-40B4-BE49-F238E27FC236}">
                    <a16:creationId xmlns:a16="http://schemas.microsoft.com/office/drawing/2014/main" id="{B3714D64-47E4-462D-B214-DD9E47B7DF5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3687" y="4569554"/>
                <a:ext cx="1691103" cy="716092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sz="1400"/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D539D16F-70A2-9A85-391A-EBB49DC674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955" y="4635980"/>
                <a:ext cx="1698128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ORAGE LAYER </a:t>
                </a:r>
                <a:endPara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  <a:p>
                <a:r>
                  <a:rPr lang="en-US" sz="1100" dirty="0">
                    <a:solidFill>
                      <a:schemeClr val="bg2">
                        <a:lumMod val="25000"/>
                      </a:schemeClr>
                    </a:solidFill>
                    <a:latin typeface="+mj-lt"/>
                  </a:rPr>
                  <a:t>where gas is stored, outlined (white line)</a:t>
                </a:r>
                <a:endParaRPr lang="uk-UA" sz="1100" dirty="0">
                  <a:solidFill>
                    <a:schemeClr val="bg2">
                      <a:lumMod val="25000"/>
                    </a:schemeClr>
                  </a:solidFill>
                  <a:latin typeface="+mj-lt"/>
                </a:endParaRPr>
              </a:p>
            </p:txBody>
          </p:sp>
        </p:grpSp>
        <p:grpSp>
          <p:nvGrpSpPr>
            <p:cNvPr id="121" name="Групувати 120">
              <a:extLst>
                <a:ext uri="{FF2B5EF4-FFF2-40B4-BE49-F238E27FC236}">
                  <a16:creationId xmlns:a16="http://schemas.microsoft.com/office/drawing/2014/main" id="{CA933435-2738-A9E1-9C99-0B81B336F16F}"/>
                </a:ext>
              </a:extLst>
            </p:cNvPr>
            <p:cNvGrpSpPr>
              <a:grpSpLocks/>
            </p:cNvGrpSpPr>
            <p:nvPr/>
          </p:nvGrpSpPr>
          <p:grpSpPr>
            <a:xfrm>
              <a:off x="3015648" y="2981519"/>
              <a:ext cx="2703577" cy="541353"/>
              <a:chOff x="6604189" y="1544264"/>
              <a:chExt cx="2465214" cy="593087"/>
            </a:xfrm>
          </p:grpSpPr>
          <p:sp>
            <p:nvSpPr>
              <p:cNvPr id="122" name="Прямокутник: округлені кути 121">
                <a:extLst>
                  <a:ext uri="{FF2B5EF4-FFF2-40B4-BE49-F238E27FC236}">
                    <a16:creationId xmlns:a16="http://schemas.microsoft.com/office/drawing/2014/main" id="{8CD4ADEB-CB6A-6ED6-52D9-09A351C617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04190" y="1544264"/>
                <a:ext cx="2447413" cy="593087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F5F5F5"/>
                </a:solidFill>
              </a:ln>
              <a:effectLst>
                <a:outerShdw blurRad="190500" dist="38100" dir="5400000" algn="t" rotWithShape="0">
                  <a:prstClr val="black">
                    <a:alpha val="21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sz="1400" dirty="0"/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3EADF1C0-917B-C45E-32F2-2EF7D3A3938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04189" y="1606232"/>
                <a:ext cx="2465214" cy="5057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2">
                        <a:lumMod val="25000"/>
                      </a:schemeClr>
                    </a:solidFill>
                  </a:rPr>
                  <a:t>Largest</a:t>
                </a:r>
                <a:r>
                  <a:rPr lang="uk-UA" sz="1200" dirty="0">
                    <a:solidFill>
                      <a:schemeClr val="bg2">
                        <a:lumMod val="25000"/>
                      </a:schemeClr>
                    </a:solidFill>
                  </a:rPr>
                  <a:t> gas storage </a:t>
                </a:r>
                <a:r>
                  <a:rPr lang="en-US" sz="1200" dirty="0">
                    <a:solidFill>
                      <a:schemeClr val="bg2">
                        <a:lumMod val="25000"/>
                      </a:schemeClr>
                    </a:solidFill>
                  </a:rPr>
                  <a:t>area </a:t>
                </a:r>
                <a:r>
                  <a:rPr lang="uk-UA" sz="1200" dirty="0">
                    <a:solidFill>
                      <a:schemeClr val="bg2">
                        <a:lumMod val="25000"/>
                      </a:schemeClr>
                    </a:solidFill>
                  </a:rPr>
                  <a:t>≈</a:t>
                </a:r>
                <a:r>
                  <a:rPr lang="en-US" sz="1200" dirty="0">
                    <a:solidFill>
                      <a:schemeClr val="bg2">
                        <a:lumMod val="25000"/>
                      </a:schemeClr>
                    </a:solidFill>
                  </a:rPr>
                  <a:t> </a:t>
                </a:r>
                <a:r>
                  <a:rPr lang="uk-UA" sz="1200" b="1" dirty="0">
                    <a:solidFill>
                      <a:schemeClr val="bg2">
                        <a:lumMod val="25000"/>
                      </a:schemeClr>
                    </a:solidFill>
                  </a:rPr>
                  <a:t>42ha</a:t>
                </a:r>
                <a:endParaRPr lang="en-US" sz="1200" b="1" dirty="0">
                  <a:solidFill>
                    <a:schemeClr val="bg2">
                      <a:lumMod val="25000"/>
                    </a:schemeClr>
                  </a:solidFill>
                </a:endParaRPr>
              </a:p>
              <a:p>
                <a:pPr algn="ctr"/>
                <a:r>
                  <a:rPr lang="en-US" sz="1200" dirty="0">
                    <a:solidFill>
                      <a:schemeClr val="bg2">
                        <a:lumMod val="25000"/>
                      </a:schemeClr>
                    </a:solidFill>
                  </a:rPr>
                  <a:t>Smallest gas </a:t>
                </a:r>
                <a:r>
                  <a:rPr lang="uk-UA" sz="1200" dirty="0">
                    <a:solidFill>
                      <a:schemeClr val="bg2">
                        <a:lumMod val="25000"/>
                      </a:schemeClr>
                    </a:solidFill>
                  </a:rPr>
                  <a:t>storage </a:t>
                </a:r>
                <a:r>
                  <a:rPr lang="en-US" sz="1200" dirty="0">
                    <a:solidFill>
                      <a:schemeClr val="bg2">
                        <a:lumMod val="25000"/>
                      </a:schemeClr>
                    </a:solidFill>
                  </a:rPr>
                  <a:t>area </a:t>
                </a:r>
                <a:r>
                  <a:rPr lang="uk-UA" sz="1200" dirty="0">
                    <a:solidFill>
                      <a:schemeClr val="bg2">
                        <a:lumMod val="25000"/>
                      </a:schemeClr>
                    </a:solidFill>
                  </a:rPr>
                  <a:t>≈</a:t>
                </a:r>
                <a:r>
                  <a:rPr lang="en-US" sz="1200" dirty="0">
                    <a:solidFill>
                      <a:schemeClr val="bg2">
                        <a:lumMod val="25000"/>
                      </a:schemeClr>
                    </a:solidFill>
                  </a:rPr>
                  <a:t> </a:t>
                </a:r>
                <a:r>
                  <a:rPr lang="en-US" sz="1200" b="1" dirty="0">
                    <a:solidFill>
                      <a:schemeClr val="bg2">
                        <a:lumMod val="25000"/>
                      </a:schemeClr>
                    </a:solidFill>
                  </a:rPr>
                  <a:t>5 ha</a:t>
                </a:r>
                <a:endParaRPr lang="uk-UA" sz="1200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</p:grpSp>
        <p:grpSp>
          <p:nvGrpSpPr>
            <p:cNvPr id="396" name="Групувати 395">
              <a:extLst>
                <a:ext uri="{FF2B5EF4-FFF2-40B4-BE49-F238E27FC236}">
                  <a16:creationId xmlns:a16="http://schemas.microsoft.com/office/drawing/2014/main" id="{A8B31801-B7E3-5F28-6BB8-B6805A639275}"/>
                </a:ext>
              </a:extLst>
            </p:cNvPr>
            <p:cNvGrpSpPr/>
            <p:nvPr/>
          </p:nvGrpSpPr>
          <p:grpSpPr>
            <a:xfrm>
              <a:off x="8418471" y="3499549"/>
              <a:ext cx="3615021" cy="3093447"/>
              <a:chOff x="5857984" y="3556178"/>
              <a:chExt cx="3615021" cy="3093447"/>
            </a:xfrm>
          </p:grpSpPr>
          <p:grpSp>
            <p:nvGrpSpPr>
              <p:cNvPr id="279" name="Групувати 278">
                <a:extLst>
                  <a:ext uri="{FF2B5EF4-FFF2-40B4-BE49-F238E27FC236}">
                    <a16:creationId xmlns:a16="http://schemas.microsoft.com/office/drawing/2014/main" id="{54A97C44-F0AF-CBAD-657C-731C71033923}"/>
                  </a:ext>
                </a:extLst>
              </p:cNvPr>
              <p:cNvGrpSpPr/>
              <p:nvPr/>
            </p:nvGrpSpPr>
            <p:grpSpPr>
              <a:xfrm>
                <a:off x="5857984" y="3556178"/>
                <a:ext cx="3615021" cy="2586907"/>
                <a:chOff x="8521058" y="1511789"/>
                <a:chExt cx="3615021" cy="2586907"/>
              </a:xfrm>
            </p:grpSpPr>
            <p:grpSp>
              <p:nvGrpSpPr>
                <p:cNvPr id="56" name="Групувати 55">
                  <a:extLst>
                    <a:ext uri="{FF2B5EF4-FFF2-40B4-BE49-F238E27FC236}">
                      <a16:creationId xmlns:a16="http://schemas.microsoft.com/office/drawing/2014/main" id="{7796334D-542C-3CE7-8037-0B8B6D228205}"/>
                    </a:ext>
                  </a:extLst>
                </p:cNvPr>
                <p:cNvGrpSpPr/>
                <p:nvPr/>
              </p:nvGrpSpPr>
              <p:grpSpPr>
                <a:xfrm>
                  <a:off x="8521058" y="1511789"/>
                  <a:ext cx="3615021" cy="2586907"/>
                  <a:chOff x="661706" y="4297722"/>
                  <a:chExt cx="3615021" cy="2586907"/>
                </a:xfrm>
              </p:grpSpPr>
              <p:grpSp>
                <p:nvGrpSpPr>
                  <p:cNvPr id="57" name="Групувати 56">
                    <a:extLst>
                      <a:ext uri="{FF2B5EF4-FFF2-40B4-BE49-F238E27FC236}">
                        <a16:creationId xmlns:a16="http://schemas.microsoft.com/office/drawing/2014/main" id="{953C47FF-F770-6260-5401-0A25A5092513}"/>
                      </a:ext>
                    </a:extLst>
                  </p:cNvPr>
                  <p:cNvGrpSpPr/>
                  <p:nvPr/>
                </p:nvGrpSpPr>
                <p:grpSpPr>
                  <a:xfrm>
                    <a:off x="661706" y="4297722"/>
                    <a:ext cx="3615021" cy="2586907"/>
                    <a:chOff x="6419193" y="3609204"/>
                    <a:chExt cx="5682511" cy="4066405"/>
                  </a:xfrm>
                </p:grpSpPr>
                <p:sp>
                  <p:nvSpPr>
                    <p:cNvPr id="68" name="Полілінія: фігура 67">
                      <a:extLst>
                        <a:ext uri="{FF2B5EF4-FFF2-40B4-BE49-F238E27FC236}">
                          <a16:creationId xmlns:a16="http://schemas.microsoft.com/office/drawing/2014/main" id="{5AD4EFBB-DF32-D93E-0865-A41019179CF6}"/>
                        </a:ext>
                      </a:extLst>
                    </p:cNvPr>
                    <p:cNvSpPr/>
                    <p:nvPr/>
                  </p:nvSpPr>
                  <p:spPr>
                    <a:xfrm rot="1564527">
                      <a:off x="6419193" y="4285893"/>
                      <a:ext cx="5598858" cy="3389716"/>
                    </a:xfrm>
                    <a:custGeom>
                      <a:avLst/>
                      <a:gdLst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304285 w 2553877"/>
                        <a:gd name="connsiteY8" fmla="*/ 34223 h 1869548"/>
                        <a:gd name="connsiteX9" fmla="*/ 304285 w 2553877"/>
                        <a:gd name="connsiteY9" fmla="*/ 34223 h 1869548"/>
                        <a:gd name="connsiteX10" fmla="*/ 108138 w 2553877"/>
                        <a:gd name="connsiteY10" fmla="*/ 130210 h 1869548"/>
                        <a:gd name="connsiteX11" fmla="*/ 108138 w 2553877"/>
                        <a:gd name="connsiteY11" fmla="*/ 130211 h 1869548"/>
                        <a:gd name="connsiteX12" fmla="*/ 304285 w 2553877"/>
                        <a:gd name="connsiteY12" fmla="*/ 34223 h 1869548"/>
                        <a:gd name="connsiteX13" fmla="*/ 613068 w 2553877"/>
                        <a:gd name="connsiteY13" fmla="*/ 665211 h 1869548"/>
                        <a:gd name="connsiteX14" fmla="*/ 613069 w 2553877"/>
                        <a:gd name="connsiteY14" fmla="*/ 665210 h 1869548"/>
                        <a:gd name="connsiteX15" fmla="*/ 1972404 w 2553877"/>
                        <a:gd name="connsiteY15" fmla="*/ 1 h 1869548"/>
                        <a:gd name="connsiteX16" fmla="*/ 2004139 w 2553877"/>
                        <a:gd name="connsiteY16" fmla="*/ 1 h 1869548"/>
                        <a:gd name="connsiteX17" fmla="*/ 2553877 w 2553877"/>
                        <a:gd name="connsiteY17" fmla="*/ 1123373 h 1869548"/>
                        <a:gd name="connsiteX18" fmla="*/ 1081044 w 2553877"/>
                        <a:gd name="connsiteY18" fmla="*/ 1844125 h 1869548"/>
                        <a:gd name="connsiteX19" fmla="*/ 983869 w 2553877"/>
                        <a:gd name="connsiteY19" fmla="*/ 1869548 h 1869548"/>
                        <a:gd name="connsiteX20" fmla="*/ 958788 w 2553877"/>
                        <a:gd name="connsiteY20" fmla="*/ 1868490 h 1869548"/>
                        <a:gd name="connsiteX21" fmla="*/ 958787 w 2553877"/>
                        <a:gd name="connsiteY21" fmla="*/ 1868489 h 1869548"/>
                        <a:gd name="connsiteX22" fmla="*/ 935024 w 2553877"/>
                        <a:gd name="connsiteY22" fmla="*/ 1867485 h 1869548"/>
                        <a:gd name="connsiteX23" fmla="*/ 742656 w 2553877"/>
                        <a:gd name="connsiteY23" fmla="*/ 1728105 h 1869548"/>
                        <a:gd name="connsiteX24" fmla="*/ 25803 w 2553877"/>
                        <a:gd name="connsiteY24" fmla="*/ 263240 h 1869548"/>
                        <a:gd name="connsiteX25" fmla="*/ 33778 w 2553877"/>
                        <a:gd name="connsiteY25" fmla="*/ 25818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304285 w 2553877"/>
                        <a:gd name="connsiteY8" fmla="*/ 34223 h 1869548"/>
                        <a:gd name="connsiteX9" fmla="*/ 304285 w 2553877"/>
                        <a:gd name="connsiteY9" fmla="*/ 34223 h 1869548"/>
                        <a:gd name="connsiteX10" fmla="*/ 108138 w 2553877"/>
                        <a:gd name="connsiteY10" fmla="*/ 130210 h 1869548"/>
                        <a:gd name="connsiteX11" fmla="*/ 304285 w 2553877"/>
                        <a:gd name="connsiteY11" fmla="*/ 34223 h 1869548"/>
                        <a:gd name="connsiteX12" fmla="*/ 613068 w 2553877"/>
                        <a:gd name="connsiteY12" fmla="*/ 665211 h 1869548"/>
                        <a:gd name="connsiteX13" fmla="*/ 613069 w 2553877"/>
                        <a:gd name="connsiteY13" fmla="*/ 665210 h 1869548"/>
                        <a:gd name="connsiteX14" fmla="*/ 1972404 w 2553877"/>
                        <a:gd name="connsiteY14" fmla="*/ 1 h 1869548"/>
                        <a:gd name="connsiteX15" fmla="*/ 2004139 w 2553877"/>
                        <a:gd name="connsiteY15" fmla="*/ 1 h 1869548"/>
                        <a:gd name="connsiteX16" fmla="*/ 2553877 w 2553877"/>
                        <a:gd name="connsiteY16" fmla="*/ 1123373 h 1869548"/>
                        <a:gd name="connsiteX17" fmla="*/ 1081044 w 2553877"/>
                        <a:gd name="connsiteY17" fmla="*/ 1844125 h 1869548"/>
                        <a:gd name="connsiteX18" fmla="*/ 983869 w 2553877"/>
                        <a:gd name="connsiteY18" fmla="*/ 1869548 h 1869548"/>
                        <a:gd name="connsiteX19" fmla="*/ 958788 w 2553877"/>
                        <a:gd name="connsiteY19" fmla="*/ 1868490 h 1869548"/>
                        <a:gd name="connsiteX20" fmla="*/ 958787 w 2553877"/>
                        <a:gd name="connsiteY20" fmla="*/ 1868489 h 1869548"/>
                        <a:gd name="connsiteX21" fmla="*/ 935024 w 2553877"/>
                        <a:gd name="connsiteY21" fmla="*/ 1867485 h 1869548"/>
                        <a:gd name="connsiteX22" fmla="*/ 742656 w 2553877"/>
                        <a:gd name="connsiteY22" fmla="*/ 1728105 h 1869548"/>
                        <a:gd name="connsiteX23" fmla="*/ 25803 w 2553877"/>
                        <a:gd name="connsiteY23" fmla="*/ 263240 h 1869548"/>
                        <a:gd name="connsiteX24" fmla="*/ 33778 w 2553877"/>
                        <a:gd name="connsiteY24" fmla="*/ 25818 h 1869548"/>
                        <a:gd name="connsiteX25" fmla="*/ 52148 w 2553877"/>
                        <a:gd name="connsiteY25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304285 w 2553877"/>
                        <a:gd name="connsiteY8" fmla="*/ 34223 h 1869548"/>
                        <a:gd name="connsiteX9" fmla="*/ 304285 w 2553877"/>
                        <a:gd name="connsiteY9" fmla="*/ 34223 h 1869548"/>
                        <a:gd name="connsiteX10" fmla="*/ 108138 w 2553877"/>
                        <a:gd name="connsiteY10" fmla="*/ 130210 h 1869548"/>
                        <a:gd name="connsiteX11" fmla="*/ 613068 w 2553877"/>
                        <a:gd name="connsiteY11" fmla="*/ 665211 h 1869548"/>
                        <a:gd name="connsiteX12" fmla="*/ 613069 w 2553877"/>
                        <a:gd name="connsiteY12" fmla="*/ 665210 h 1869548"/>
                        <a:gd name="connsiteX13" fmla="*/ 1972404 w 2553877"/>
                        <a:gd name="connsiteY13" fmla="*/ 1 h 1869548"/>
                        <a:gd name="connsiteX14" fmla="*/ 2004139 w 2553877"/>
                        <a:gd name="connsiteY14" fmla="*/ 1 h 1869548"/>
                        <a:gd name="connsiteX15" fmla="*/ 2553877 w 2553877"/>
                        <a:gd name="connsiteY15" fmla="*/ 1123373 h 1869548"/>
                        <a:gd name="connsiteX16" fmla="*/ 1081044 w 2553877"/>
                        <a:gd name="connsiteY16" fmla="*/ 1844125 h 1869548"/>
                        <a:gd name="connsiteX17" fmla="*/ 983869 w 2553877"/>
                        <a:gd name="connsiteY17" fmla="*/ 1869548 h 1869548"/>
                        <a:gd name="connsiteX18" fmla="*/ 958788 w 2553877"/>
                        <a:gd name="connsiteY18" fmla="*/ 1868490 h 1869548"/>
                        <a:gd name="connsiteX19" fmla="*/ 958787 w 2553877"/>
                        <a:gd name="connsiteY19" fmla="*/ 1868489 h 1869548"/>
                        <a:gd name="connsiteX20" fmla="*/ 935024 w 2553877"/>
                        <a:gd name="connsiteY20" fmla="*/ 1867485 h 1869548"/>
                        <a:gd name="connsiteX21" fmla="*/ 742656 w 2553877"/>
                        <a:gd name="connsiteY21" fmla="*/ 1728105 h 1869548"/>
                        <a:gd name="connsiteX22" fmla="*/ 25803 w 2553877"/>
                        <a:gd name="connsiteY22" fmla="*/ 263240 h 1869548"/>
                        <a:gd name="connsiteX23" fmla="*/ 33778 w 2553877"/>
                        <a:gd name="connsiteY23" fmla="*/ 25818 h 1869548"/>
                        <a:gd name="connsiteX24" fmla="*/ 52148 w 2553877"/>
                        <a:gd name="connsiteY24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304285 w 2553877"/>
                        <a:gd name="connsiteY8" fmla="*/ 34223 h 1869548"/>
                        <a:gd name="connsiteX9" fmla="*/ 304285 w 2553877"/>
                        <a:gd name="connsiteY9" fmla="*/ 34223 h 1869548"/>
                        <a:gd name="connsiteX10" fmla="*/ 613068 w 2553877"/>
                        <a:gd name="connsiteY10" fmla="*/ 665211 h 1869548"/>
                        <a:gd name="connsiteX11" fmla="*/ 613069 w 2553877"/>
                        <a:gd name="connsiteY11" fmla="*/ 665210 h 1869548"/>
                        <a:gd name="connsiteX12" fmla="*/ 1972404 w 2553877"/>
                        <a:gd name="connsiteY12" fmla="*/ 1 h 1869548"/>
                        <a:gd name="connsiteX13" fmla="*/ 2004139 w 2553877"/>
                        <a:gd name="connsiteY13" fmla="*/ 1 h 1869548"/>
                        <a:gd name="connsiteX14" fmla="*/ 2553877 w 2553877"/>
                        <a:gd name="connsiteY14" fmla="*/ 1123373 h 1869548"/>
                        <a:gd name="connsiteX15" fmla="*/ 1081044 w 2553877"/>
                        <a:gd name="connsiteY15" fmla="*/ 1844125 h 1869548"/>
                        <a:gd name="connsiteX16" fmla="*/ 983869 w 2553877"/>
                        <a:gd name="connsiteY16" fmla="*/ 1869548 h 1869548"/>
                        <a:gd name="connsiteX17" fmla="*/ 958788 w 2553877"/>
                        <a:gd name="connsiteY17" fmla="*/ 1868490 h 1869548"/>
                        <a:gd name="connsiteX18" fmla="*/ 958787 w 2553877"/>
                        <a:gd name="connsiteY18" fmla="*/ 1868489 h 1869548"/>
                        <a:gd name="connsiteX19" fmla="*/ 935024 w 2553877"/>
                        <a:gd name="connsiteY19" fmla="*/ 1867485 h 1869548"/>
                        <a:gd name="connsiteX20" fmla="*/ 742656 w 2553877"/>
                        <a:gd name="connsiteY20" fmla="*/ 1728105 h 1869548"/>
                        <a:gd name="connsiteX21" fmla="*/ 25803 w 2553877"/>
                        <a:gd name="connsiteY21" fmla="*/ 263240 h 1869548"/>
                        <a:gd name="connsiteX22" fmla="*/ 33778 w 2553877"/>
                        <a:gd name="connsiteY22" fmla="*/ 25818 h 1869548"/>
                        <a:gd name="connsiteX23" fmla="*/ 52148 w 2553877"/>
                        <a:gd name="connsiteY23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304285 w 2553877"/>
                        <a:gd name="connsiteY8" fmla="*/ 34223 h 1869548"/>
                        <a:gd name="connsiteX9" fmla="*/ 613068 w 2553877"/>
                        <a:gd name="connsiteY9" fmla="*/ 665211 h 1869548"/>
                        <a:gd name="connsiteX10" fmla="*/ 613069 w 2553877"/>
                        <a:gd name="connsiteY10" fmla="*/ 665210 h 1869548"/>
                        <a:gd name="connsiteX11" fmla="*/ 1972404 w 2553877"/>
                        <a:gd name="connsiteY11" fmla="*/ 1 h 1869548"/>
                        <a:gd name="connsiteX12" fmla="*/ 2004139 w 2553877"/>
                        <a:gd name="connsiteY12" fmla="*/ 1 h 1869548"/>
                        <a:gd name="connsiteX13" fmla="*/ 2553877 w 2553877"/>
                        <a:gd name="connsiteY13" fmla="*/ 1123373 h 1869548"/>
                        <a:gd name="connsiteX14" fmla="*/ 1081044 w 2553877"/>
                        <a:gd name="connsiteY14" fmla="*/ 1844125 h 1869548"/>
                        <a:gd name="connsiteX15" fmla="*/ 983869 w 2553877"/>
                        <a:gd name="connsiteY15" fmla="*/ 1869548 h 1869548"/>
                        <a:gd name="connsiteX16" fmla="*/ 958788 w 2553877"/>
                        <a:gd name="connsiteY16" fmla="*/ 1868490 h 1869548"/>
                        <a:gd name="connsiteX17" fmla="*/ 958787 w 2553877"/>
                        <a:gd name="connsiteY17" fmla="*/ 1868489 h 1869548"/>
                        <a:gd name="connsiteX18" fmla="*/ 935024 w 2553877"/>
                        <a:gd name="connsiteY18" fmla="*/ 1867485 h 1869548"/>
                        <a:gd name="connsiteX19" fmla="*/ 742656 w 2553877"/>
                        <a:gd name="connsiteY19" fmla="*/ 1728105 h 1869548"/>
                        <a:gd name="connsiteX20" fmla="*/ 25803 w 2553877"/>
                        <a:gd name="connsiteY20" fmla="*/ 263240 h 1869548"/>
                        <a:gd name="connsiteX21" fmla="*/ 33778 w 2553877"/>
                        <a:gd name="connsiteY21" fmla="*/ 25818 h 1869548"/>
                        <a:gd name="connsiteX22" fmla="*/ 52148 w 2553877"/>
                        <a:gd name="connsiteY22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613068 w 2553877"/>
                        <a:gd name="connsiteY8" fmla="*/ 665211 h 1869548"/>
                        <a:gd name="connsiteX9" fmla="*/ 613069 w 2553877"/>
                        <a:gd name="connsiteY9" fmla="*/ 665210 h 1869548"/>
                        <a:gd name="connsiteX10" fmla="*/ 1972404 w 2553877"/>
                        <a:gd name="connsiteY10" fmla="*/ 1 h 1869548"/>
                        <a:gd name="connsiteX11" fmla="*/ 2004139 w 2553877"/>
                        <a:gd name="connsiteY11" fmla="*/ 1 h 1869548"/>
                        <a:gd name="connsiteX12" fmla="*/ 2553877 w 2553877"/>
                        <a:gd name="connsiteY12" fmla="*/ 1123373 h 1869548"/>
                        <a:gd name="connsiteX13" fmla="*/ 1081044 w 2553877"/>
                        <a:gd name="connsiteY13" fmla="*/ 1844125 h 1869548"/>
                        <a:gd name="connsiteX14" fmla="*/ 983869 w 2553877"/>
                        <a:gd name="connsiteY14" fmla="*/ 1869548 h 1869548"/>
                        <a:gd name="connsiteX15" fmla="*/ 958788 w 2553877"/>
                        <a:gd name="connsiteY15" fmla="*/ 1868490 h 1869548"/>
                        <a:gd name="connsiteX16" fmla="*/ 958787 w 2553877"/>
                        <a:gd name="connsiteY16" fmla="*/ 1868489 h 1869548"/>
                        <a:gd name="connsiteX17" fmla="*/ 935024 w 2553877"/>
                        <a:gd name="connsiteY17" fmla="*/ 1867485 h 1869548"/>
                        <a:gd name="connsiteX18" fmla="*/ 742656 w 2553877"/>
                        <a:gd name="connsiteY18" fmla="*/ 1728105 h 1869548"/>
                        <a:gd name="connsiteX19" fmla="*/ 25803 w 2553877"/>
                        <a:gd name="connsiteY19" fmla="*/ 263240 h 1869548"/>
                        <a:gd name="connsiteX20" fmla="*/ 33778 w 2553877"/>
                        <a:gd name="connsiteY20" fmla="*/ 25818 h 1869548"/>
                        <a:gd name="connsiteX21" fmla="*/ 52148 w 2553877"/>
                        <a:gd name="connsiteY21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613068 w 2553877"/>
                        <a:gd name="connsiteY8" fmla="*/ 665211 h 1869548"/>
                        <a:gd name="connsiteX9" fmla="*/ 1972404 w 2553877"/>
                        <a:gd name="connsiteY9" fmla="*/ 1 h 1869548"/>
                        <a:gd name="connsiteX10" fmla="*/ 2004139 w 2553877"/>
                        <a:gd name="connsiteY10" fmla="*/ 1 h 1869548"/>
                        <a:gd name="connsiteX11" fmla="*/ 2553877 w 2553877"/>
                        <a:gd name="connsiteY11" fmla="*/ 1123373 h 1869548"/>
                        <a:gd name="connsiteX12" fmla="*/ 1081044 w 2553877"/>
                        <a:gd name="connsiteY12" fmla="*/ 1844125 h 1869548"/>
                        <a:gd name="connsiteX13" fmla="*/ 983869 w 2553877"/>
                        <a:gd name="connsiteY13" fmla="*/ 1869548 h 1869548"/>
                        <a:gd name="connsiteX14" fmla="*/ 958788 w 2553877"/>
                        <a:gd name="connsiteY14" fmla="*/ 1868490 h 1869548"/>
                        <a:gd name="connsiteX15" fmla="*/ 958787 w 2553877"/>
                        <a:gd name="connsiteY15" fmla="*/ 1868489 h 1869548"/>
                        <a:gd name="connsiteX16" fmla="*/ 935024 w 2553877"/>
                        <a:gd name="connsiteY16" fmla="*/ 1867485 h 1869548"/>
                        <a:gd name="connsiteX17" fmla="*/ 742656 w 2553877"/>
                        <a:gd name="connsiteY17" fmla="*/ 1728105 h 1869548"/>
                        <a:gd name="connsiteX18" fmla="*/ 25803 w 2553877"/>
                        <a:gd name="connsiteY18" fmla="*/ 263240 h 1869548"/>
                        <a:gd name="connsiteX19" fmla="*/ 33778 w 2553877"/>
                        <a:gd name="connsiteY19" fmla="*/ 25818 h 1869548"/>
                        <a:gd name="connsiteX20" fmla="*/ 52148 w 2553877"/>
                        <a:gd name="connsiteY20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613069 w 2553877"/>
                        <a:gd name="connsiteY6" fmla="*/ 665210 h 1869548"/>
                        <a:gd name="connsiteX7" fmla="*/ 304286 w 2553877"/>
                        <a:gd name="connsiteY7" fmla="*/ 34223 h 1869548"/>
                        <a:gd name="connsiteX8" fmla="*/ 1972404 w 2553877"/>
                        <a:gd name="connsiteY8" fmla="*/ 1 h 1869548"/>
                        <a:gd name="connsiteX9" fmla="*/ 2004139 w 2553877"/>
                        <a:gd name="connsiteY9" fmla="*/ 1 h 1869548"/>
                        <a:gd name="connsiteX10" fmla="*/ 2553877 w 2553877"/>
                        <a:gd name="connsiteY10" fmla="*/ 1123373 h 1869548"/>
                        <a:gd name="connsiteX11" fmla="*/ 1081044 w 2553877"/>
                        <a:gd name="connsiteY11" fmla="*/ 1844125 h 1869548"/>
                        <a:gd name="connsiteX12" fmla="*/ 983869 w 2553877"/>
                        <a:gd name="connsiteY12" fmla="*/ 1869548 h 1869548"/>
                        <a:gd name="connsiteX13" fmla="*/ 958788 w 2553877"/>
                        <a:gd name="connsiteY13" fmla="*/ 1868490 h 1869548"/>
                        <a:gd name="connsiteX14" fmla="*/ 958787 w 2553877"/>
                        <a:gd name="connsiteY14" fmla="*/ 1868489 h 1869548"/>
                        <a:gd name="connsiteX15" fmla="*/ 935024 w 2553877"/>
                        <a:gd name="connsiteY15" fmla="*/ 1867485 h 1869548"/>
                        <a:gd name="connsiteX16" fmla="*/ 742656 w 2553877"/>
                        <a:gd name="connsiteY16" fmla="*/ 1728105 h 1869548"/>
                        <a:gd name="connsiteX17" fmla="*/ 25803 w 2553877"/>
                        <a:gd name="connsiteY17" fmla="*/ 263240 h 1869548"/>
                        <a:gd name="connsiteX18" fmla="*/ 33778 w 2553877"/>
                        <a:gd name="connsiteY18" fmla="*/ 25818 h 1869548"/>
                        <a:gd name="connsiteX19" fmla="*/ 52148 w 2553877"/>
                        <a:gd name="connsiteY19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304286 w 2553877"/>
                        <a:gd name="connsiteY6" fmla="*/ 34223 h 1869548"/>
                        <a:gd name="connsiteX7" fmla="*/ 1972404 w 2553877"/>
                        <a:gd name="connsiteY7" fmla="*/ 1 h 1869548"/>
                        <a:gd name="connsiteX8" fmla="*/ 2004139 w 2553877"/>
                        <a:gd name="connsiteY8" fmla="*/ 1 h 1869548"/>
                        <a:gd name="connsiteX9" fmla="*/ 2553877 w 2553877"/>
                        <a:gd name="connsiteY9" fmla="*/ 1123373 h 1869548"/>
                        <a:gd name="connsiteX10" fmla="*/ 1081044 w 2553877"/>
                        <a:gd name="connsiteY10" fmla="*/ 1844125 h 1869548"/>
                        <a:gd name="connsiteX11" fmla="*/ 983869 w 2553877"/>
                        <a:gd name="connsiteY11" fmla="*/ 1869548 h 1869548"/>
                        <a:gd name="connsiteX12" fmla="*/ 958788 w 2553877"/>
                        <a:gd name="connsiteY12" fmla="*/ 1868490 h 1869548"/>
                        <a:gd name="connsiteX13" fmla="*/ 958787 w 2553877"/>
                        <a:gd name="connsiteY13" fmla="*/ 1868489 h 1869548"/>
                        <a:gd name="connsiteX14" fmla="*/ 935024 w 2553877"/>
                        <a:gd name="connsiteY14" fmla="*/ 1867485 h 1869548"/>
                        <a:gd name="connsiteX15" fmla="*/ 742656 w 2553877"/>
                        <a:gd name="connsiteY15" fmla="*/ 1728105 h 1869548"/>
                        <a:gd name="connsiteX16" fmla="*/ 25803 w 2553877"/>
                        <a:gd name="connsiteY16" fmla="*/ 263240 h 1869548"/>
                        <a:gd name="connsiteX17" fmla="*/ 33778 w 2553877"/>
                        <a:gd name="connsiteY17" fmla="*/ 25818 h 1869548"/>
                        <a:gd name="connsiteX18" fmla="*/ 52148 w 2553877"/>
                        <a:gd name="connsiteY18" fmla="*/ 1 h 1869548"/>
                        <a:gd name="connsiteX0" fmla="*/ 52148 w 2553877"/>
                        <a:gd name="connsiteY0" fmla="*/ 1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1972404 w 2553877"/>
                        <a:gd name="connsiteY6" fmla="*/ 1 h 1869548"/>
                        <a:gd name="connsiteX7" fmla="*/ 2004139 w 2553877"/>
                        <a:gd name="connsiteY7" fmla="*/ 1 h 1869548"/>
                        <a:gd name="connsiteX8" fmla="*/ 2553877 w 2553877"/>
                        <a:gd name="connsiteY8" fmla="*/ 1123373 h 1869548"/>
                        <a:gd name="connsiteX9" fmla="*/ 1081044 w 2553877"/>
                        <a:gd name="connsiteY9" fmla="*/ 1844125 h 1869548"/>
                        <a:gd name="connsiteX10" fmla="*/ 983869 w 2553877"/>
                        <a:gd name="connsiteY10" fmla="*/ 1869548 h 1869548"/>
                        <a:gd name="connsiteX11" fmla="*/ 958788 w 2553877"/>
                        <a:gd name="connsiteY11" fmla="*/ 1868490 h 1869548"/>
                        <a:gd name="connsiteX12" fmla="*/ 958787 w 2553877"/>
                        <a:gd name="connsiteY12" fmla="*/ 1868489 h 1869548"/>
                        <a:gd name="connsiteX13" fmla="*/ 935024 w 2553877"/>
                        <a:gd name="connsiteY13" fmla="*/ 1867485 h 1869548"/>
                        <a:gd name="connsiteX14" fmla="*/ 742656 w 2553877"/>
                        <a:gd name="connsiteY14" fmla="*/ 1728105 h 1869548"/>
                        <a:gd name="connsiteX15" fmla="*/ 25803 w 2553877"/>
                        <a:gd name="connsiteY15" fmla="*/ 263240 h 1869548"/>
                        <a:gd name="connsiteX16" fmla="*/ 33778 w 2553877"/>
                        <a:gd name="connsiteY16" fmla="*/ 25818 h 1869548"/>
                        <a:gd name="connsiteX17" fmla="*/ 52148 w 2553877"/>
                        <a:gd name="connsiteY17" fmla="*/ 1 h 1869548"/>
                        <a:gd name="connsiteX0" fmla="*/ 33778 w 2553877"/>
                        <a:gd name="connsiteY0" fmla="*/ 25818 h 1869548"/>
                        <a:gd name="connsiteX1" fmla="*/ 287539 w 2553877"/>
                        <a:gd name="connsiteY1" fmla="*/ 1 h 1869548"/>
                        <a:gd name="connsiteX2" fmla="*/ 287540 w 2553877"/>
                        <a:gd name="connsiteY2" fmla="*/ 3 h 1869548"/>
                        <a:gd name="connsiteX3" fmla="*/ 374216 w 2553877"/>
                        <a:gd name="connsiteY3" fmla="*/ 1 h 1869548"/>
                        <a:gd name="connsiteX4" fmla="*/ 374217 w 2553877"/>
                        <a:gd name="connsiteY4" fmla="*/ 0 h 1869548"/>
                        <a:gd name="connsiteX5" fmla="*/ 1972405 w 2553877"/>
                        <a:gd name="connsiteY5" fmla="*/ 0 h 1869548"/>
                        <a:gd name="connsiteX6" fmla="*/ 1972404 w 2553877"/>
                        <a:gd name="connsiteY6" fmla="*/ 1 h 1869548"/>
                        <a:gd name="connsiteX7" fmla="*/ 2004139 w 2553877"/>
                        <a:gd name="connsiteY7" fmla="*/ 1 h 1869548"/>
                        <a:gd name="connsiteX8" fmla="*/ 2553877 w 2553877"/>
                        <a:gd name="connsiteY8" fmla="*/ 1123373 h 1869548"/>
                        <a:gd name="connsiteX9" fmla="*/ 1081044 w 2553877"/>
                        <a:gd name="connsiteY9" fmla="*/ 1844125 h 1869548"/>
                        <a:gd name="connsiteX10" fmla="*/ 983869 w 2553877"/>
                        <a:gd name="connsiteY10" fmla="*/ 1869548 h 1869548"/>
                        <a:gd name="connsiteX11" fmla="*/ 958788 w 2553877"/>
                        <a:gd name="connsiteY11" fmla="*/ 1868490 h 1869548"/>
                        <a:gd name="connsiteX12" fmla="*/ 958787 w 2553877"/>
                        <a:gd name="connsiteY12" fmla="*/ 1868489 h 1869548"/>
                        <a:gd name="connsiteX13" fmla="*/ 935024 w 2553877"/>
                        <a:gd name="connsiteY13" fmla="*/ 1867485 h 1869548"/>
                        <a:gd name="connsiteX14" fmla="*/ 742656 w 2553877"/>
                        <a:gd name="connsiteY14" fmla="*/ 1728105 h 1869548"/>
                        <a:gd name="connsiteX15" fmla="*/ 25803 w 2553877"/>
                        <a:gd name="connsiteY15" fmla="*/ 263240 h 1869548"/>
                        <a:gd name="connsiteX16" fmla="*/ 33778 w 2553877"/>
                        <a:gd name="connsiteY16" fmla="*/ 25818 h 1869548"/>
                        <a:gd name="connsiteX0" fmla="*/ 33778 w 2553877"/>
                        <a:gd name="connsiteY0" fmla="*/ 27729 h 1871459"/>
                        <a:gd name="connsiteX1" fmla="*/ 287539 w 2553877"/>
                        <a:gd name="connsiteY1" fmla="*/ 1912 h 1871459"/>
                        <a:gd name="connsiteX2" fmla="*/ 374216 w 2553877"/>
                        <a:gd name="connsiteY2" fmla="*/ 1912 h 1871459"/>
                        <a:gd name="connsiteX3" fmla="*/ 374217 w 2553877"/>
                        <a:gd name="connsiteY3" fmla="*/ 1911 h 1871459"/>
                        <a:gd name="connsiteX4" fmla="*/ 1972405 w 2553877"/>
                        <a:gd name="connsiteY4" fmla="*/ 1911 h 1871459"/>
                        <a:gd name="connsiteX5" fmla="*/ 1972404 w 2553877"/>
                        <a:gd name="connsiteY5" fmla="*/ 1912 h 1871459"/>
                        <a:gd name="connsiteX6" fmla="*/ 2004139 w 2553877"/>
                        <a:gd name="connsiteY6" fmla="*/ 1912 h 1871459"/>
                        <a:gd name="connsiteX7" fmla="*/ 2553877 w 2553877"/>
                        <a:gd name="connsiteY7" fmla="*/ 1125284 h 1871459"/>
                        <a:gd name="connsiteX8" fmla="*/ 1081044 w 2553877"/>
                        <a:gd name="connsiteY8" fmla="*/ 1846036 h 1871459"/>
                        <a:gd name="connsiteX9" fmla="*/ 983869 w 2553877"/>
                        <a:gd name="connsiteY9" fmla="*/ 1871459 h 1871459"/>
                        <a:gd name="connsiteX10" fmla="*/ 958788 w 2553877"/>
                        <a:gd name="connsiteY10" fmla="*/ 1870401 h 1871459"/>
                        <a:gd name="connsiteX11" fmla="*/ 958787 w 2553877"/>
                        <a:gd name="connsiteY11" fmla="*/ 1870400 h 1871459"/>
                        <a:gd name="connsiteX12" fmla="*/ 935024 w 2553877"/>
                        <a:gd name="connsiteY12" fmla="*/ 1869396 h 1871459"/>
                        <a:gd name="connsiteX13" fmla="*/ 742656 w 2553877"/>
                        <a:gd name="connsiteY13" fmla="*/ 1730016 h 1871459"/>
                        <a:gd name="connsiteX14" fmla="*/ 25803 w 2553877"/>
                        <a:gd name="connsiteY14" fmla="*/ 265151 h 1871459"/>
                        <a:gd name="connsiteX15" fmla="*/ 33778 w 2553877"/>
                        <a:gd name="connsiteY15" fmla="*/ 27729 h 1871459"/>
                        <a:gd name="connsiteX0" fmla="*/ 33778 w 2553877"/>
                        <a:gd name="connsiteY0" fmla="*/ 27729 h 1871459"/>
                        <a:gd name="connsiteX1" fmla="*/ 287539 w 2553877"/>
                        <a:gd name="connsiteY1" fmla="*/ 1912 h 1871459"/>
                        <a:gd name="connsiteX2" fmla="*/ 374216 w 2553877"/>
                        <a:gd name="connsiteY2" fmla="*/ 1912 h 1871459"/>
                        <a:gd name="connsiteX3" fmla="*/ 1972405 w 2553877"/>
                        <a:gd name="connsiteY3" fmla="*/ 1911 h 1871459"/>
                        <a:gd name="connsiteX4" fmla="*/ 1972404 w 2553877"/>
                        <a:gd name="connsiteY4" fmla="*/ 1912 h 1871459"/>
                        <a:gd name="connsiteX5" fmla="*/ 2004139 w 2553877"/>
                        <a:gd name="connsiteY5" fmla="*/ 1912 h 1871459"/>
                        <a:gd name="connsiteX6" fmla="*/ 2553877 w 2553877"/>
                        <a:gd name="connsiteY6" fmla="*/ 1125284 h 1871459"/>
                        <a:gd name="connsiteX7" fmla="*/ 1081044 w 2553877"/>
                        <a:gd name="connsiteY7" fmla="*/ 1846036 h 1871459"/>
                        <a:gd name="connsiteX8" fmla="*/ 983869 w 2553877"/>
                        <a:gd name="connsiteY8" fmla="*/ 1871459 h 1871459"/>
                        <a:gd name="connsiteX9" fmla="*/ 958788 w 2553877"/>
                        <a:gd name="connsiteY9" fmla="*/ 1870401 h 1871459"/>
                        <a:gd name="connsiteX10" fmla="*/ 958787 w 2553877"/>
                        <a:gd name="connsiteY10" fmla="*/ 1870400 h 1871459"/>
                        <a:gd name="connsiteX11" fmla="*/ 935024 w 2553877"/>
                        <a:gd name="connsiteY11" fmla="*/ 1869396 h 1871459"/>
                        <a:gd name="connsiteX12" fmla="*/ 742656 w 2553877"/>
                        <a:gd name="connsiteY12" fmla="*/ 1730016 h 1871459"/>
                        <a:gd name="connsiteX13" fmla="*/ 25803 w 2553877"/>
                        <a:gd name="connsiteY13" fmla="*/ 265151 h 1871459"/>
                        <a:gd name="connsiteX14" fmla="*/ 33778 w 2553877"/>
                        <a:gd name="connsiteY14" fmla="*/ 27729 h 1871459"/>
                        <a:gd name="connsiteX0" fmla="*/ 33778 w 2553877"/>
                        <a:gd name="connsiteY0" fmla="*/ 27729 h 1871459"/>
                        <a:gd name="connsiteX1" fmla="*/ 287539 w 2553877"/>
                        <a:gd name="connsiteY1" fmla="*/ 1912 h 1871459"/>
                        <a:gd name="connsiteX2" fmla="*/ 1972405 w 2553877"/>
                        <a:gd name="connsiteY2" fmla="*/ 1911 h 1871459"/>
                        <a:gd name="connsiteX3" fmla="*/ 1972404 w 2553877"/>
                        <a:gd name="connsiteY3" fmla="*/ 1912 h 1871459"/>
                        <a:gd name="connsiteX4" fmla="*/ 2004139 w 2553877"/>
                        <a:gd name="connsiteY4" fmla="*/ 1912 h 1871459"/>
                        <a:gd name="connsiteX5" fmla="*/ 2553877 w 2553877"/>
                        <a:gd name="connsiteY5" fmla="*/ 1125284 h 1871459"/>
                        <a:gd name="connsiteX6" fmla="*/ 1081044 w 2553877"/>
                        <a:gd name="connsiteY6" fmla="*/ 1846036 h 1871459"/>
                        <a:gd name="connsiteX7" fmla="*/ 983869 w 2553877"/>
                        <a:gd name="connsiteY7" fmla="*/ 1871459 h 1871459"/>
                        <a:gd name="connsiteX8" fmla="*/ 958788 w 2553877"/>
                        <a:gd name="connsiteY8" fmla="*/ 1870401 h 1871459"/>
                        <a:gd name="connsiteX9" fmla="*/ 958787 w 2553877"/>
                        <a:gd name="connsiteY9" fmla="*/ 1870400 h 1871459"/>
                        <a:gd name="connsiteX10" fmla="*/ 935024 w 2553877"/>
                        <a:gd name="connsiteY10" fmla="*/ 1869396 h 1871459"/>
                        <a:gd name="connsiteX11" fmla="*/ 742656 w 2553877"/>
                        <a:gd name="connsiteY11" fmla="*/ 1730016 h 1871459"/>
                        <a:gd name="connsiteX12" fmla="*/ 25803 w 2553877"/>
                        <a:gd name="connsiteY12" fmla="*/ 265151 h 1871459"/>
                        <a:gd name="connsiteX13" fmla="*/ 33778 w 2553877"/>
                        <a:gd name="connsiteY13" fmla="*/ 27729 h 1871459"/>
                        <a:gd name="connsiteX0" fmla="*/ 33778 w 2553877"/>
                        <a:gd name="connsiteY0" fmla="*/ 25818 h 1869548"/>
                        <a:gd name="connsiteX1" fmla="*/ 1972405 w 2553877"/>
                        <a:gd name="connsiteY1" fmla="*/ 0 h 1869548"/>
                        <a:gd name="connsiteX2" fmla="*/ 1972404 w 2553877"/>
                        <a:gd name="connsiteY2" fmla="*/ 1 h 1869548"/>
                        <a:gd name="connsiteX3" fmla="*/ 2004139 w 2553877"/>
                        <a:gd name="connsiteY3" fmla="*/ 1 h 1869548"/>
                        <a:gd name="connsiteX4" fmla="*/ 2553877 w 2553877"/>
                        <a:gd name="connsiteY4" fmla="*/ 1123373 h 1869548"/>
                        <a:gd name="connsiteX5" fmla="*/ 1081044 w 2553877"/>
                        <a:gd name="connsiteY5" fmla="*/ 1844125 h 1869548"/>
                        <a:gd name="connsiteX6" fmla="*/ 983869 w 2553877"/>
                        <a:gd name="connsiteY6" fmla="*/ 1869548 h 1869548"/>
                        <a:gd name="connsiteX7" fmla="*/ 958788 w 2553877"/>
                        <a:gd name="connsiteY7" fmla="*/ 1868490 h 1869548"/>
                        <a:gd name="connsiteX8" fmla="*/ 958787 w 2553877"/>
                        <a:gd name="connsiteY8" fmla="*/ 1868489 h 1869548"/>
                        <a:gd name="connsiteX9" fmla="*/ 935024 w 2553877"/>
                        <a:gd name="connsiteY9" fmla="*/ 1867485 h 1869548"/>
                        <a:gd name="connsiteX10" fmla="*/ 742656 w 2553877"/>
                        <a:gd name="connsiteY10" fmla="*/ 1728105 h 1869548"/>
                        <a:gd name="connsiteX11" fmla="*/ 25803 w 2553877"/>
                        <a:gd name="connsiteY11" fmla="*/ 263240 h 1869548"/>
                        <a:gd name="connsiteX12" fmla="*/ 33778 w 2553877"/>
                        <a:gd name="connsiteY12" fmla="*/ 25818 h 1869548"/>
                        <a:gd name="connsiteX0" fmla="*/ 17003 w 2582537"/>
                        <a:gd name="connsiteY0" fmla="*/ 158338 h 1869548"/>
                        <a:gd name="connsiteX1" fmla="*/ 2001065 w 2582537"/>
                        <a:gd name="connsiteY1" fmla="*/ 0 h 1869548"/>
                        <a:gd name="connsiteX2" fmla="*/ 2001064 w 2582537"/>
                        <a:gd name="connsiteY2" fmla="*/ 1 h 1869548"/>
                        <a:gd name="connsiteX3" fmla="*/ 2032799 w 2582537"/>
                        <a:gd name="connsiteY3" fmla="*/ 1 h 1869548"/>
                        <a:gd name="connsiteX4" fmla="*/ 2582537 w 2582537"/>
                        <a:gd name="connsiteY4" fmla="*/ 1123373 h 1869548"/>
                        <a:gd name="connsiteX5" fmla="*/ 1109704 w 2582537"/>
                        <a:gd name="connsiteY5" fmla="*/ 1844125 h 1869548"/>
                        <a:gd name="connsiteX6" fmla="*/ 1012529 w 2582537"/>
                        <a:gd name="connsiteY6" fmla="*/ 1869548 h 1869548"/>
                        <a:gd name="connsiteX7" fmla="*/ 987448 w 2582537"/>
                        <a:gd name="connsiteY7" fmla="*/ 1868490 h 1869548"/>
                        <a:gd name="connsiteX8" fmla="*/ 987447 w 2582537"/>
                        <a:gd name="connsiteY8" fmla="*/ 1868489 h 1869548"/>
                        <a:gd name="connsiteX9" fmla="*/ 963684 w 2582537"/>
                        <a:gd name="connsiteY9" fmla="*/ 1867485 h 1869548"/>
                        <a:gd name="connsiteX10" fmla="*/ 771316 w 2582537"/>
                        <a:gd name="connsiteY10" fmla="*/ 1728105 h 1869548"/>
                        <a:gd name="connsiteX11" fmla="*/ 54463 w 2582537"/>
                        <a:gd name="connsiteY11" fmla="*/ 263240 h 1869548"/>
                        <a:gd name="connsiteX12" fmla="*/ 17003 w 2582537"/>
                        <a:gd name="connsiteY12" fmla="*/ 158338 h 1869548"/>
                        <a:gd name="connsiteX0" fmla="*/ 0 w 2565534"/>
                        <a:gd name="connsiteY0" fmla="*/ 158338 h 1869548"/>
                        <a:gd name="connsiteX1" fmla="*/ 1984062 w 2565534"/>
                        <a:gd name="connsiteY1" fmla="*/ 0 h 1869548"/>
                        <a:gd name="connsiteX2" fmla="*/ 1984061 w 2565534"/>
                        <a:gd name="connsiteY2" fmla="*/ 1 h 1869548"/>
                        <a:gd name="connsiteX3" fmla="*/ 2015796 w 2565534"/>
                        <a:gd name="connsiteY3" fmla="*/ 1 h 1869548"/>
                        <a:gd name="connsiteX4" fmla="*/ 2565534 w 2565534"/>
                        <a:gd name="connsiteY4" fmla="*/ 1123373 h 1869548"/>
                        <a:gd name="connsiteX5" fmla="*/ 1092701 w 2565534"/>
                        <a:gd name="connsiteY5" fmla="*/ 1844125 h 1869548"/>
                        <a:gd name="connsiteX6" fmla="*/ 995526 w 2565534"/>
                        <a:gd name="connsiteY6" fmla="*/ 1869548 h 1869548"/>
                        <a:gd name="connsiteX7" fmla="*/ 970445 w 2565534"/>
                        <a:gd name="connsiteY7" fmla="*/ 1868490 h 1869548"/>
                        <a:gd name="connsiteX8" fmla="*/ 970444 w 2565534"/>
                        <a:gd name="connsiteY8" fmla="*/ 1868489 h 1869548"/>
                        <a:gd name="connsiteX9" fmla="*/ 946681 w 2565534"/>
                        <a:gd name="connsiteY9" fmla="*/ 1867485 h 1869548"/>
                        <a:gd name="connsiteX10" fmla="*/ 754313 w 2565534"/>
                        <a:gd name="connsiteY10" fmla="*/ 1728105 h 1869548"/>
                        <a:gd name="connsiteX11" fmla="*/ 37460 w 2565534"/>
                        <a:gd name="connsiteY11" fmla="*/ 263240 h 1869548"/>
                        <a:gd name="connsiteX12" fmla="*/ 0 w 2565534"/>
                        <a:gd name="connsiteY12" fmla="*/ 158338 h 1869548"/>
                        <a:gd name="connsiteX0" fmla="*/ 0 w 2565534"/>
                        <a:gd name="connsiteY0" fmla="*/ 158338 h 1869548"/>
                        <a:gd name="connsiteX1" fmla="*/ 1984062 w 2565534"/>
                        <a:gd name="connsiteY1" fmla="*/ 0 h 1869548"/>
                        <a:gd name="connsiteX2" fmla="*/ 1984061 w 2565534"/>
                        <a:gd name="connsiteY2" fmla="*/ 1 h 1869548"/>
                        <a:gd name="connsiteX3" fmla="*/ 2015796 w 2565534"/>
                        <a:gd name="connsiteY3" fmla="*/ 1 h 1869548"/>
                        <a:gd name="connsiteX4" fmla="*/ 2565534 w 2565534"/>
                        <a:gd name="connsiteY4" fmla="*/ 1123373 h 1869548"/>
                        <a:gd name="connsiteX5" fmla="*/ 1092701 w 2565534"/>
                        <a:gd name="connsiteY5" fmla="*/ 1844125 h 1869548"/>
                        <a:gd name="connsiteX6" fmla="*/ 995526 w 2565534"/>
                        <a:gd name="connsiteY6" fmla="*/ 1869548 h 1869548"/>
                        <a:gd name="connsiteX7" fmla="*/ 970445 w 2565534"/>
                        <a:gd name="connsiteY7" fmla="*/ 1868490 h 1869548"/>
                        <a:gd name="connsiteX8" fmla="*/ 970444 w 2565534"/>
                        <a:gd name="connsiteY8" fmla="*/ 1868489 h 1869548"/>
                        <a:gd name="connsiteX9" fmla="*/ 946681 w 2565534"/>
                        <a:gd name="connsiteY9" fmla="*/ 1867485 h 1869548"/>
                        <a:gd name="connsiteX10" fmla="*/ 754313 w 2565534"/>
                        <a:gd name="connsiteY10" fmla="*/ 1728105 h 1869548"/>
                        <a:gd name="connsiteX11" fmla="*/ 37460 w 2565534"/>
                        <a:gd name="connsiteY11" fmla="*/ 263240 h 1869548"/>
                        <a:gd name="connsiteX12" fmla="*/ 0 w 2565534"/>
                        <a:gd name="connsiteY12" fmla="*/ 158338 h 1869548"/>
                        <a:gd name="connsiteX0" fmla="*/ 0 w 2565534"/>
                        <a:gd name="connsiteY0" fmla="*/ 158338 h 1869548"/>
                        <a:gd name="connsiteX1" fmla="*/ 1984062 w 2565534"/>
                        <a:gd name="connsiteY1" fmla="*/ 0 h 1869548"/>
                        <a:gd name="connsiteX2" fmla="*/ 1984061 w 2565534"/>
                        <a:gd name="connsiteY2" fmla="*/ 1 h 1869548"/>
                        <a:gd name="connsiteX3" fmla="*/ 2015796 w 2565534"/>
                        <a:gd name="connsiteY3" fmla="*/ 1 h 1869548"/>
                        <a:gd name="connsiteX4" fmla="*/ 2565534 w 2565534"/>
                        <a:gd name="connsiteY4" fmla="*/ 1123373 h 1869548"/>
                        <a:gd name="connsiteX5" fmla="*/ 1092701 w 2565534"/>
                        <a:gd name="connsiteY5" fmla="*/ 1844125 h 1869548"/>
                        <a:gd name="connsiteX6" fmla="*/ 995526 w 2565534"/>
                        <a:gd name="connsiteY6" fmla="*/ 1869548 h 1869548"/>
                        <a:gd name="connsiteX7" fmla="*/ 970445 w 2565534"/>
                        <a:gd name="connsiteY7" fmla="*/ 1868490 h 1869548"/>
                        <a:gd name="connsiteX8" fmla="*/ 970444 w 2565534"/>
                        <a:gd name="connsiteY8" fmla="*/ 1868489 h 1869548"/>
                        <a:gd name="connsiteX9" fmla="*/ 946681 w 2565534"/>
                        <a:gd name="connsiteY9" fmla="*/ 1867485 h 1869548"/>
                        <a:gd name="connsiteX10" fmla="*/ 754313 w 2565534"/>
                        <a:gd name="connsiteY10" fmla="*/ 1728105 h 1869548"/>
                        <a:gd name="connsiteX11" fmla="*/ 37460 w 2565534"/>
                        <a:gd name="connsiteY11" fmla="*/ 263240 h 1869548"/>
                        <a:gd name="connsiteX12" fmla="*/ 0 w 2565534"/>
                        <a:gd name="connsiteY12" fmla="*/ 158338 h 1869548"/>
                        <a:gd name="connsiteX0" fmla="*/ 0 w 2565534"/>
                        <a:gd name="connsiteY0" fmla="*/ 158338 h 1869548"/>
                        <a:gd name="connsiteX1" fmla="*/ 1984062 w 2565534"/>
                        <a:gd name="connsiteY1" fmla="*/ 0 h 1869548"/>
                        <a:gd name="connsiteX2" fmla="*/ 1984061 w 2565534"/>
                        <a:gd name="connsiteY2" fmla="*/ 1 h 1869548"/>
                        <a:gd name="connsiteX3" fmla="*/ 2015796 w 2565534"/>
                        <a:gd name="connsiteY3" fmla="*/ 1 h 1869548"/>
                        <a:gd name="connsiteX4" fmla="*/ 2565534 w 2565534"/>
                        <a:gd name="connsiteY4" fmla="*/ 1123373 h 1869548"/>
                        <a:gd name="connsiteX5" fmla="*/ 1092701 w 2565534"/>
                        <a:gd name="connsiteY5" fmla="*/ 1844125 h 1869548"/>
                        <a:gd name="connsiteX6" fmla="*/ 995526 w 2565534"/>
                        <a:gd name="connsiteY6" fmla="*/ 1869548 h 1869548"/>
                        <a:gd name="connsiteX7" fmla="*/ 970445 w 2565534"/>
                        <a:gd name="connsiteY7" fmla="*/ 1868490 h 1869548"/>
                        <a:gd name="connsiteX8" fmla="*/ 970444 w 2565534"/>
                        <a:gd name="connsiteY8" fmla="*/ 1868489 h 1869548"/>
                        <a:gd name="connsiteX9" fmla="*/ 946681 w 2565534"/>
                        <a:gd name="connsiteY9" fmla="*/ 1867485 h 1869548"/>
                        <a:gd name="connsiteX10" fmla="*/ 754313 w 2565534"/>
                        <a:gd name="connsiteY10" fmla="*/ 1728105 h 1869548"/>
                        <a:gd name="connsiteX11" fmla="*/ 37460 w 2565534"/>
                        <a:gd name="connsiteY11" fmla="*/ 263240 h 1869548"/>
                        <a:gd name="connsiteX12" fmla="*/ 0 w 2565534"/>
                        <a:gd name="connsiteY12" fmla="*/ 158338 h 1869548"/>
                        <a:gd name="connsiteX0" fmla="*/ 0 w 2559117"/>
                        <a:gd name="connsiteY0" fmla="*/ 155198 h 1869548"/>
                        <a:gd name="connsiteX1" fmla="*/ 1977645 w 2559117"/>
                        <a:gd name="connsiteY1" fmla="*/ 0 h 1869548"/>
                        <a:gd name="connsiteX2" fmla="*/ 1977644 w 2559117"/>
                        <a:gd name="connsiteY2" fmla="*/ 1 h 1869548"/>
                        <a:gd name="connsiteX3" fmla="*/ 2009379 w 2559117"/>
                        <a:gd name="connsiteY3" fmla="*/ 1 h 1869548"/>
                        <a:gd name="connsiteX4" fmla="*/ 2559117 w 2559117"/>
                        <a:gd name="connsiteY4" fmla="*/ 1123373 h 1869548"/>
                        <a:gd name="connsiteX5" fmla="*/ 1086284 w 2559117"/>
                        <a:gd name="connsiteY5" fmla="*/ 1844125 h 1869548"/>
                        <a:gd name="connsiteX6" fmla="*/ 989109 w 2559117"/>
                        <a:gd name="connsiteY6" fmla="*/ 1869548 h 1869548"/>
                        <a:gd name="connsiteX7" fmla="*/ 964028 w 2559117"/>
                        <a:gd name="connsiteY7" fmla="*/ 1868490 h 1869548"/>
                        <a:gd name="connsiteX8" fmla="*/ 964027 w 2559117"/>
                        <a:gd name="connsiteY8" fmla="*/ 1868489 h 1869548"/>
                        <a:gd name="connsiteX9" fmla="*/ 940264 w 2559117"/>
                        <a:gd name="connsiteY9" fmla="*/ 1867485 h 1869548"/>
                        <a:gd name="connsiteX10" fmla="*/ 747896 w 2559117"/>
                        <a:gd name="connsiteY10" fmla="*/ 1728105 h 1869548"/>
                        <a:gd name="connsiteX11" fmla="*/ 31043 w 2559117"/>
                        <a:gd name="connsiteY11" fmla="*/ 263240 h 1869548"/>
                        <a:gd name="connsiteX12" fmla="*/ 0 w 2559117"/>
                        <a:gd name="connsiteY12" fmla="*/ 155198 h 1869548"/>
                        <a:gd name="connsiteX0" fmla="*/ 0 w 2559117"/>
                        <a:gd name="connsiteY0" fmla="*/ 155198 h 1869548"/>
                        <a:gd name="connsiteX1" fmla="*/ 1977645 w 2559117"/>
                        <a:gd name="connsiteY1" fmla="*/ 0 h 1869548"/>
                        <a:gd name="connsiteX2" fmla="*/ 1977644 w 2559117"/>
                        <a:gd name="connsiteY2" fmla="*/ 1 h 1869548"/>
                        <a:gd name="connsiteX3" fmla="*/ 2009379 w 2559117"/>
                        <a:gd name="connsiteY3" fmla="*/ 1 h 1869548"/>
                        <a:gd name="connsiteX4" fmla="*/ 2559117 w 2559117"/>
                        <a:gd name="connsiteY4" fmla="*/ 1123373 h 1869548"/>
                        <a:gd name="connsiteX5" fmla="*/ 1086284 w 2559117"/>
                        <a:gd name="connsiteY5" fmla="*/ 1844125 h 1869548"/>
                        <a:gd name="connsiteX6" fmla="*/ 989109 w 2559117"/>
                        <a:gd name="connsiteY6" fmla="*/ 1869548 h 1869548"/>
                        <a:gd name="connsiteX7" fmla="*/ 964028 w 2559117"/>
                        <a:gd name="connsiteY7" fmla="*/ 1868490 h 1869548"/>
                        <a:gd name="connsiteX8" fmla="*/ 964027 w 2559117"/>
                        <a:gd name="connsiteY8" fmla="*/ 1868489 h 1869548"/>
                        <a:gd name="connsiteX9" fmla="*/ 940264 w 2559117"/>
                        <a:gd name="connsiteY9" fmla="*/ 1867485 h 1869548"/>
                        <a:gd name="connsiteX10" fmla="*/ 747896 w 2559117"/>
                        <a:gd name="connsiteY10" fmla="*/ 1728105 h 1869548"/>
                        <a:gd name="connsiteX11" fmla="*/ 31043 w 2559117"/>
                        <a:gd name="connsiteY11" fmla="*/ 263240 h 1869548"/>
                        <a:gd name="connsiteX12" fmla="*/ 0 w 2559117"/>
                        <a:gd name="connsiteY12" fmla="*/ 155198 h 1869548"/>
                        <a:gd name="connsiteX0" fmla="*/ 0 w 2559117"/>
                        <a:gd name="connsiteY0" fmla="*/ 155198 h 1869548"/>
                        <a:gd name="connsiteX1" fmla="*/ 1977645 w 2559117"/>
                        <a:gd name="connsiteY1" fmla="*/ 0 h 1869548"/>
                        <a:gd name="connsiteX2" fmla="*/ 1977644 w 2559117"/>
                        <a:gd name="connsiteY2" fmla="*/ 1 h 1869548"/>
                        <a:gd name="connsiteX3" fmla="*/ 2009379 w 2559117"/>
                        <a:gd name="connsiteY3" fmla="*/ 1 h 1869548"/>
                        <a:gd name="connsiteX4" fmla="*/ 2559117 w 2559117"/>
                        <a:gd name="connsiteY4" fmla="*/ 1123373 h 1869548"/>
                        <a:gd name="connsiteX5" fmla="*/ 1086284 w 2559117"/>
                        <a:gd name="connsiteY5" fmla="*/ 1844125 h 1869548"/>
                        <a:gd name="connsiteX6" fmla="*/ 989109 w 2559117"/>
                        <a:gd name="connsiteY6" fmla="*/ 1869548 h 1869548"/>
                        <a:gd name="connsiteX7" fmla="*/ 964028 w 2559117"/>
                        <a:gd name="connsiteY7" fmla="*/ 1868490 h 1869548"/>
                        <a:gd name="connsiteX8" fmla="*/ 964027 w 2559117"/>
                        <a:gd name="connsiteY8" fmla="*/ 1868489 h 1869548"/>
                        <a:gd name="connsiteX9" fmla="*/ 940264 w 2559117"/>
                        <a:gd name="connsiteY9" fmla="*/ 1867485 h 1869548"/>
                        <a:gd name="connsiteX10" fmla="*/ 747896 w 2559117"/>
                        <a:gd name="connsiteY10" fmla="*/ 1728105 h 1869548"/>
                        <a:gd name="connsiteX11" fmla="*/ 31043 w 2559117"/>
                        <a:gd name="connsiteY11" fmla="*/ 263240 h 1869548"/>
                        <a:gd name="connsiteX12" fmla="*/ 0 w 2559117"/>
                        <a:gd name="connsiteY12" fmla="*/ 155198 h 1869548"/>
                        <a:gd name="connsiteX0" fmla="*/ 0 w 2559117"/>
                        <a:gd name="connsiteY0" fmla="*/ 155198 h 1869548"/>
                        <a:gd name="connsiteX1" fmla="*/ 1977645 w 2559117"/>
                        <a:gd name="connsiteY1" fmla="*/ 0 h 1869548"/>
                        <a:gd name="connsiteX2" fmla="*/ 1977644 w 2559117"/>
                        <a:gd name="connsiteY2" fmla="*/ 1 h 1869548"/>
                        <a:gd name="connsiteX3" fmla="*/ 2009379 w 2559117"/>
                        <a:gd name="connsiteY3" fmla="*/ 1 h 1869548"/>
                        <a:gd name="connsiteX4" fmla="*/ 2559117 w 2559117"/>
                        <a:gd name="connsiteY4" fmla="*/ 1123373 h 1869548"/>
                        <a:gd name="connsiteX5" fmla="*/ 1086284 w 2559117"/>
                        <a:gd name="connsiteY5" fmla="*/ 1844125 h 1869548"/>
                        <a:gd name="connsiteX6" fmla="*/ 989109 w 2559117"/>
                        <a:gd name="connsiteY6" fmla="*/ 1869548 h 1869548"/>
                        <a:gd name="connsiteX7" fmla="*/ 964028 w 2559117"/>
                        <a:gd name="connsiteY7" fmla="*/ 1868490 h 1869548"/>
                        <a:gd name="connsiteX8" fmla="*/ 964027 w 2559117"/>
                        <a:gd name="connsiteY8" fmla="*/ 1868489 h 1869548"/>
                        <a:gd name="connsiteX9" fmla="*/ 940264 w 2559117"/>
                        <a:gd name="connsiteY9" fmla="*/ 1867485 h 1869548"/>
                        <a:gd name="connsiteX10" fmla="*/ 747896 w 2559117"/>
                        <a:gd name="connsiteY10" fmla="*/ 1728105 h 1869548"/>
                        <a:gd name="connsiteX11" fmla="*/ 31043 w 2559117"/>
                        <a:gd name="connsiteY11" fmla="*/ 263240 h 1869548"/>
                        <a:gd name="connsiteX12" fmla="*/ 0 w 2559117"/>
                        <a:gd name="connsiteY12" fmla="*/ 155198 h 1869548"/>
                        <a:gd name="connsiteX0" fmla="*/ 0 w 5475067"/>
                        <a:gd name="connsiteY0" fmla="*/ 442119 h 2156469"/>
                        <a:gd name="connsiteX1" fmla="*/ 1977645 w 5475067"/>
                        <a:gd name="connsiteY1" fmla="*/ 286921 h 2156469"/>
                        <a:gd name="connsiteX2" fmla="*/ 1977644 w 5475067"/>
                        <a:gd name="connsiteY2" fmla="*/ 286922 h 2156469"/>
                        <a:gd name="connsiteX3" fmla="*/ 2009379 w 5475067"/>
                        <a:gd name="connsiteY3" fmla="*/ 286922 h 2156469"/>
                        <a:gd name="connsiteX4" fmla="*/ 5475067 w 5475067"/>
                        <a:gd name="connsiteY4" fmla="*/ 1 h 2156469"/>
                        <a:gd name="connsiteX5" fmla="*/ 1086284 w 5475067"/>
                        <a:gd name="connsiteY5" fmla="*/ 2131046 h 2156469"/>
                        <a:gd name="connsiteX6" fmla="*/ 989109 w 5475067"/>
                        <a:gd name="connsiteY6" fmla="*/ 2156469 h 2156469"/>
                        <a:gd name="connsiteX7" fmla="*/ 964028 w 5475067"/>
                        <a:gd name="connsiteY7" fmla="*/ 2155411 h 2156469"/>
                        <a:gd name="connsiteX8" fmla="*/ 964027 w 5475067"/>
                        <a:gd name="connsiteY8" fmla="*/ 2155410 h 2156469"/>
                        <a:gd name="connsiteX9" fmla="*/ 940264 w 5475067"/>
                        <a:gd name="connsiteY9" fmla="*/ 2154406 h 2156469"/>
                        <a:gd name="connsiteX10" fmla="*/ 747896 w 5475067"/>
                        <a:gd name="connsiteY10" fmla="*/ 2015026 h 2156469"/>
                        <a:gd name="connsiteX11" fmla="*/ 31043 w 5475067"/>
                        <a:gd name="connsiteY11" fmla="*/ 550161 h 2156469"/>
                        <a:gd name="connsiteX12" fmla="*/ 0 w 5475067"/>
                        <a:gd name="connsiteY12" fmla="*/ 442119 h 2156469"/>
                        <a:gd name="connsiteX0" fmla="*/ 0 w 5475067"/>
                        <a:gd name="connsiteY0" fmla="*/ 1675367 h 3389717"/>
                        <a:gd name="connsiteX1" fmla="*/ 1977645 w 5475067"/>
                        <a:gd name="connsiteY1" fmla="*/ 1520169 h 3389717"/>
                        <a:gd name="connsiteX2" fmla="*/ 1977644 w 5475067"/>
                        <a:gd name="connsiteY2" fmla="*/ 1520170 h 3389717"/>
                        <a:gd name="connsiteX3" fmla="*/ 5127152 w 5475067"/>
                        <a:gd name="connsiteY3" fmla="*/ 0 h 3389717"/>
                        <a:gd name="connsiteX4" fmla="*/ 5475067 w 5475067"/>
                        <a:gd name="connsiteY4" fmla="*/ 1233249 h 3389717"/>
                        <a:gd name="connsiteX5" fmla="*/ 1086284 w 5475067"/>
                        <a:gd name="connsiteY5" fmla="*/ 3364294 h 3389717"/>
                        <a:gd name="connsiteX6" fmla="*/ 989109 w 5475067"/>
                        <a:gd name="connsiteY6" fmla="*/ 3389717 h 3389717"/>
                        <a:gd name="connsiteX7" fmla="*/ 964028 w 5475067"/>
                        <a:gd name="connsiteY7" fmla="*/ 3388659 h 3389717"/>
                        <a:gd name="connsiteX8" fmla="*/ 964027 w 5475067"/>
                        <a:gd name="connsiteY8" fmla="*/ 3388658 h 3389717"/>
                        <a:gd name="connsiteX9" fmla="*/ 940264 w 5475067"/>
                        <a:gd name="connsiteY9" fmla="*/ 3387654 h 3389717"/>
                        <a:gd name="connsiteX10" fmla="*/ 747896 w 5475067"/>
                        <a:gd name="connsiteY10" fmla="*/ 3248274 h 3389717"/>
                        <a:gd name="connsiteX11" fmla="*/ 31043 w 5475067"/>
                        <a:gd name="connsiteY11" fmla="*/ 1783409 h 3389717"/>
                        <a:gd name="connsiteX12" fmla="*/ 0 w 5475067"/>
                        <a:gd name="connsiteY12" fmla="*/ 1675367 h 3389717"/>
                        <a:gd name="connsiteX0" fmla="*/ 0 w 5591431"/>
                        <a:gd name="connsiteY0" fmla="*/ 1675367 h 3389717"/>
                        <a:gd name="connsiteX1" fmla="*/ 1977645 w 5591431"/>
                        <a:gd name="connsiteY1" fmla="*/ 1520169 h 3389717"/>
                        <a:gd name="connsiteX2" fmla="*/ 1977644 w 5591431"/>
                        <a:gd name="connsiteY2" fmla="*/ 1520170 h 3389717"/>
                        <a:gd name="connsiteX3" fmla="*/ 5127152 w 5591431"/>
                        <a:gd name="connsiteY3" fmla="*/ 0 h 3389717"/>
                        <a:gd name="connsiteX4" fmla="*/ 5591432 w 5591431"/>
                        <a:gd name="connsiteY4" fmla="*/ 971272 h 3389717"/>
                        <a:gd name="connsiteX5" fmla="*/ 5475067 w 5591431"/>
                        <a:gd name="connsiteY5" fmla="*/ 1233249 h 3389717"/>
                        <a:gd name="connsiteX6" fmla="*/ 1086284 w 5591431"/>
                        <a:gd name="connsiteY6" fmla="*/ 3364294 h 3389717"/>
                        <a:gd name="connsiteX7" fmla="*/ 989109 w 5591431"/>
                        <a:gd name="connsiteY7" fmla="*/ 3389717 h 3389717"/>
                        <a:gd name="connsiteX8" fmla="*/ 964028 w 5591431"/>
                        <a:gd name="connsiteY8" fmla="*/ 3388659 h 3389717"/>
                        <a:gd name="connsiteX9" fmla="*/ 964027 w 5591431"/>
                        <a:gd name="connsiteY9" fmla="*/ 3388658 h 3389717"/>
                        <a:gd name="connsiteX10" fmla="*/ 940264 w 5591431"/>
                        <a:gd name="connsiteY10" fmla="*/ 3387654 h 3389717"/>
                        <a:gd name="connsiteX11" fmla="*/ 747896 w 5591431"/>
                        <a:gd name="connsiteY11" fmla="*/ 3248274 h 3389717"/>
                        <a:gd name="connsiteX12" fmla="*/ 31043 w 5591431"/>
                        <a:gd name="connsiteY12" fmla="*/ 1783409 h 3389717"/>
                        <a:gd name="connsiteX13" fmla="*/ 0 w 5591431"/>
                        <a:gd name="connsiteY13" fmla="*/ 1675367 h 3389717"/>
                        <a:gd name="connsiteX0" fmla="*/ 0 w 5591433"/>
                        <a:gd name="connsiteY0" fmla="*/ 1675367 h 3389717"/>
                        <a:gd name="connsiteX1" fmla="*/ 1977645 w 5591433"/>
                        <a:gd name="connsiteY1" fmla="*/ 1520169 h 3389717"/>
                        <a:gd name="connsiteX2" fmla="*/ 1977644 w 5591433"/>
                        <a:gd name="connsiteY2" fmla="*/ 1520170 h 3389717"/>
                        <a:gd name="connsiteX3" fmla="*/ 5127152 w 5591433"/>
                        <a:gd name="connsiteY3" fmla="*/ 0 h 3389717"/>
                        <a:gd name="connsiteX4" fmla="*/ 5591432 w 5591433"/>
                        <a:gd name="connsiteY4" fmla="*/ 971272 h 3389717"/>
                        <a:gd name="connsiteX5" fmla="*/ 5475067 w 5591433"/>
                        <a:gd name="connsiteY5" fmla="*/ 1233249 h 3389717"/>
                        <a:gd name="connsiteX6" fmla="*/ 1086284 w 5591433"/>
                        <a:gd name="connsiteY6" fmla="*/ 3364294 h 3389717"/>
                        <a:gd name="connsiteX7" fmla="*/ 989109 w 5591433"/>
                        <a:gd name="connsiteY7" fmla="*/ 3389717 h 3389717"/>
                        <a:gd name="connsiteX8" fmla="*/ 964028 w 5591433"/>
                        <a:gd name="connsiteY8" fmla="*/ 3388659 h 3389717"/>
                        <a:gd name="connsiteX9" fmla="*/ 964027 w 5591433"/>
                        <a:gd name="connsiteY9" fmla="*/ 3388658 h 3389717"/>
                        <a:gd name="connsiteX10" fmla="*/ 940264 w 5591433"/>
                        <a:gd name="connsiteY10" fmla="*/ 3387654 h 3389717"/>
                        <a:gd name="connsiteX11" fmla="*/ 747896 w 5591433"/>
                        <a:gd name="connsiteY11" fmla="*/ 3248274 h 3389717"/>
                        <a:gd name="connsiteX12" fmla="*/ 31043 w 5591433"/>
                        <a:gd name="connsiteY12" fmla="*/ 1783409 h 3389717"/>
                        <a:gd name="connsiteX13" fmla="*/ 0 w 5591433"/>
                        <a:gd name="connsiteY13" fmla="*/ 1675367 h 3389717"/>
                        <a:gd name="connsiteX0" fmla="*/ 0 w 5591431"/>
                        <a:gd name="connsiteY0" fmla="*/ 1675367 h 3389717"/>
                        <a:gd name="connsiteX1" fmla="*/ 1977645 w 5591431"/>
                        <a:gd name="connsiteY1" fmla="*/ 1520169 h 3389717"/>
                        <a:gd name="connsiteX2" fmla="*/ 1977644 w 5591431"/>
                        <a:gd name="connsiteY2" fmla="*/ 1520170 h 3389717"/>
                        <a:gd name="connsiteX3" fmla="*/ 5127152 w 5591431"/>
                        <a:gd name="connsiteY3" fmla="*/ 0 h 3389717"/>
                        <a:gd name="connsiteX4" fmla="*/ 5591432 w 5591431"/>
                        <a:gd name="connsiteY4" fmla="*/ 971272 h 3389717"/>
                        <a:gd name="connsiteX5" fmla="*/ 5475067 w 5591431"/>
                        <a:gd name="connsiteY5" fmla="*/ 1233249 h 3389717"/>
                        <a:gd name="connsiteX6" fmla="*/ 1086284 w 5591431"/>
                        <a:gd name="connsiteY6" fmla="*/ 3364294 h 3389717"/>
                        <a:gd name="connsiteX7" fmla="*/ 989109 w 5591431"/>
                        <a:gd name="connsiteY7" fmla="*/ 3389717 h 3389717"/>
                        <a:gd name="connsiteX8" fmla="*/ 964028 w 5591431"/>
                        <a:gd name="connsiteY8" fmla="*/ 3388659 h 3389717"/>
                        <a:gd name="connsiteX9" fmla="*/ 964027 w 5591431"/>
                        <a:gd name="connsiteY9" fmla="*/ 3388658 h 3389717"/>
                        <a:gd name="connsiteX10" fmla="*/ 940264 w 5591431"/>
                        <a:gd name="connsiteY10" fmla="*/ 3387654 h 3389717"/>
                        <a:gd name="connsiteX11" fmla="*/ 747896 w 5591431"/>
                        <a:gd name="connsiteY11" fmla="*/ 3248274 h 3389717"/>
                        <a:gd name="connsiteX12" fmla="*/ 31043 w 5591431"/>
                        <a:gd name="connsiteY12" fmla="*/ 1783409 h 3389717"/>
                        <a:gd name="connsiteX13" fmla="*/ 0 w 5591431"/>
                        <a:gd name="connsiteY13" fmla="*/ 1675367 h 3389717"/>
                        <a:gd name="connsiteX0" fmla="*/ 0 w 5594861"/>
                        <a:gd name="connsiteY0" fmla="*/ 1675367 h 3389717"/>
                        <a:gd name="connsiteX1" fmla="*/ 1977645 w 5594861"/>
                        <a:gd name="connsiteY1" fmla="*/ 1520169 h 3389717"/>
                        <a:gd name="connsiteX2" fmla="*/ 1977644 w 5594861"/>
                        <a:gd name="connsiteY2" fmla="*/ 1520170 h 3389717"/>
                        <a:gd name="connsiteX3" fmla="*/ 5127152 w 5594861"/>
                        <a:gd name="connsiteY3" fmla="*/ 0 h 3389717"/>
                        <a:gd name="connsiteX4" fmla="*/ 5591432 w 5594861"/>
                        <a:gd name="connsiteY4" fmla="*/ 971272 h 3389717"/>
                        <a:gd name="connsiteX5" fmla="*/ 5475067 w 5594861"/>
                        <a:gd name="connsiteY5" fmla="*/ 1233249 h 3389717"/>
                        <a:gd name="connsiteX6" fmla="*/ 1086284 w 5594861"/>
                        <a:gd name="connsiteY6" fmla="*/ 3364294 h 3389717"/>
                        <a:gd name="connsiteX7" fmla="*/ 989109 w 5594861"/>
                        <a:gd name="connsiteY7" fmla="*/ 3389717 h 3389717"/>
                        <a:gd name="connsiteX8" fmla="*/ 964028 w 5594861"/>
                        <a:gd name="connsiteY8" fmla="*/ 3388659 h 3389717"/>
                        <a:gd name="connsiteX9" fmla="*/ 964027 w 5594861"/>
                        <a:gd name="connsiteY9" fmla="*/ 3388658 h 3389717"/>
                        <a:gd name="connsiteX10" fmla="*/ 940264 w 5594861"/>
                        <a:gd name="connsiteY10" fmla="*/ 3387654 h 3389717"/>
                        <a:gd name="connsiteX11" fmla="*/ 747896 w 5594861"/>
                        <a:gd name="connsiteY11" fmla="*/ 3248274 h 3389717"/>
                        <a:gd name="connsiteX12" fmla="*/ 31043 w 5594861"/>
                        <a:gd name="connsiteY12" fmla="*/ 1783409 h 3389717"/>
                        <a:gd name="connsiteX13" fmla="*/ 0 w 5594861"/>
                        <a:gd name="connsiteY13" fmla="*/ 1675367 h 3389717"/>
                        <a:gd name="connsiteX0" fmla="*/ 0 w 5598858"/>
                        <a:gd name="connsiteY0" fmla="*/ 1675367 h 3389717"/>
                        <a:gd name="connsiteX1" fmla="*/ 1977645 w 5598858"/>
                        <a:gd name="connsiteY1" fmla="*/ 1520169 h 3389717"/>
                        <a:gd name="connsiteX2" fmla="*/ 1977644 w 5598858"/>
                        <a:gd name="connsiteY2" fmla="*/ 1520170 h 3389717"/>
                        <a:gd name="connsiteX3" fmla="*/ 5127152 w 5598858"/>
                        <a:gd name="connsiteY3" fmla="*/ 0 h 3389717"/>
                        <a:gd name="connsiteX4" fmla="*/ 5591432 w 5598858"/>
                        <a:gd name="connsiteY4" fmla="*/ 971272 h 3389717"/>
                        <a:gd name="connsiteX5" fmla="*/ 5475067 w 5598858"/>
                        <a:gd name="connsiteY5" fmla="*/ 1233249 h 3389717"/>
                        <a:gd name="connsiteX6" fmla="*/ 1086284 w 5598858"/>
                        <a:gd name="connsiteY6" fmla="*/ 3364294 h 3389717"/>
                        <a:gd name="connsiteX7" fmla="*/ 989109 w 5598858"/>
                        <a:gd name="connsiteY7" fmla="*/ 3389717 h 3389717"/>
                        <a:gd name="connsiteX8" fmla="*/ 964028 w 5598858"/>
                        <a:gd name="connsiteY8" fmla="*/ 3388659 h 3389717"/>
                        <a:gd name="connsiteX9" fmla="*/ 964027 w 5598858"/>
                        <a:gd name="connsiteY9" fmla="*/ 3388658 h 3389717"/>
                        <a:gd name="connsiteX10" fmla="*/ 940264 w 5598858"/>
                        <a:gd name="connsiteY10" fmla="*/ 3387654 h 3389717"/>
                        <a:gd name="connsiteX11" fmla="*/ 747896 w 5598858"/>
                        <a:gd name="connsiteY11" fmla="*/ 3248274 h 3389717"/>
                        <a:gd name="connsiteX12" fmla="*/ 31043 w 5598858"/>
                        <a:gd name="connsiteY12" fmla="*/ 1783409 h 3389717"/>
                        <a:gd name="connsiteX13" fmla="*/ 0 w 5598858"/>
                        <a:gd name="connsiteY13" fmla="*/ 1675367 h 33897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5598858" h="3389717">
                          <a:moveTo>
                            <a:pt x="0" y="1675367"/>
                          </a:moveTo>
                          <a:lnTo>
                            <a:pt x="1977645" y="1520169"/>
                          </a:lnTo>
                          <a:lnTo>
                            <a:pt x="1977644" y="1520170"/>
                          </a:lnTo>
                          <a:lnTo>
                            <a:pt x="5127152" y="0"/>
                          </a:lnTo>
                          <a:cubicBezTo>
                            <a:pt x="5275997" y="319244"/>
                            <a:pt x="5480357" y="672442"/>
                            <a:pt x="5591432" y="971272"/>
                          </a:cubicBezTo>
                          <a:cubicBezTo>
                            <a:pt x="5614642" y="1117163"/>
                            <a:pt x="5585486" y="1121983"/>
                            <a:pt x="5475067" y="1233249"/>
                          </a:cubicBezTo>
                          <a:lnTo>
                            <a:pt x="1086284" y="3364294"/>
                          </a:lnTo>
                          <a:cubicBezTo>
                            <a:pt x="1054913" y="3379645"/>
                            <a:pt x="1021917" y="3387912"/>
                            <a:pt x="989109" y="3389717"/>
                          </a:cubicBezTo>
                          <a:lnTo>
                            <a:pt x="964028" y="3388659"/>
                          </a:lnTo>
                          <a:lnTo>
                            <a:pt x="964027" y="3388658"/>
                          </a:lnTo>
                          <a:lnTo>
                            <a:pt x="940264" y="3387654"/>
                          </a:lnTo>
                          <a:cubicBezTo>
                            <a:pt x="859847" y="3376399"/>
                            <a:pt x="786274" y="3326700"/>
                            <a:pt x="747896" y="3248274"/>
                          </a:cubicBezTo>
                          <a:lnTo>
                            <a:pt x="31043" y="1783409"/>
                          </a:lnTo>
                          <a:cubicBezTo>
                            <a:pt x="8411" y="1731740"/>
                            <a:pt x="8873" y="1705724"/>
                            <a:pt x="0" y="1675367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uk-UA" sz="1400"/>
                    </a:p>
                  </p:txBody>
                </p:sp>
                <p:sp>
                  <p:nvSpPr>
                    <p:cNvPr id="69" name="Полілінія: фігура 68">
                      <a:extLst>
                        <a:ext uri="{FF2B5EF4-FFF2-40B4-BE49-F238E27FC236}">
                          <a16:creationId xmlns:a16="http://schemas.microsoft.com/office/drawing/2014/main" id="{4F950815-CA23-386C-29E4-D0EC1AC2A2D2}"/>
                        </a:ext>
                      </a:extLst>
                    </p:cNvPr>
                    <p:cNvSpPr/>
                    <p:nvPr/>
                  </p:nvSpPr>
                  <p:spPr>
                    <a:xfrm rot="1564527">
                      <a:off x="6979691" y="3609204"/>
                      <a:ext cx="5122013" cy="2379817"/>
                    </a:xfrm>
                    <a:custGeom>
                      <a:avLst/>
                      <a:gdLst>
                        <a:gd name="connsiteX0" fmla="*/ 313269 w 5073471"/>
                        <a:gd name="connsiteY0" fmla="*/ 2245366 h 2245366"/>
                        <a:gd name="connsiteX1" fmla="*/ 1628278 w 5073471"/>
                        <a:gd name="connsiteY1" fmla="*/ 1601849 h 2245366"/>
                        <a:gd name="connsiteX2" fmla="*/ 1937061 w 5073471"/>
                        <a:gd name="connsiteY2" fmla="*/ 2232836 h 2245366"/>
                        <a:gd name="connsiteX3" fmla="*/ 1911457 w 5073471"/>
                        <a:gd name="connsiteY3" fmla="*/ 2245366 h 2245366"/>
                        <a:gd name="connsiteX4" fmla="*/ 89674 w 5073471"/>
                        <a:gd name="connsiteY4" fmla="*/ 2165357 h 2245366"/>
                        <a:gd name="connsiteX5" fmla="*/ 177567 w 5073471"/>
                        <a:gd name="connsiteY5" fmla="*/ 2122345 h 2245366"/>
                        <a:gd name="connsiteX6" fmla="*/ 177785 w 5073471"/>
                        <a:gd name="connsiteY6" fmla="*/ 2122790 h 2245366"/>
                        <a:gd name="connsiteX7" fmla="*/ 1795854 w 5073471"/>
                        <a:gd name="connsiteY7" fmla="*/ 1330965 h 2245366"/>
                        <a:gd name="connsiteX8" fmla="*/ 2387369 w 5073471"/>
                        <a:gd name="connsiteY8" fmla="*/ 1330965 h 2245366"/>
                        <a:gd name="connsiteX9" fmla="*/ 2387369 w 5073471"/>
                        <a:gd name="connsiteY9" fmla="*/ 1330964 h 2245366"/>
                        <a:gd name="connsiteX10" fmla="*/ 1795854 w 5073471"/>
                        <a:gd name="connsiteY10" fmla="*/ 1330965 h 2245366"/>
                        <a:gd name="connsiteX11" fmla="*/ 4462914 w 5073471"/>
                        <a:gd name="connsiteY11" fmla="*/ 25803 h 2245366"/>
                        <a:gd name="connsiteX12" fmla="*/ 4801303 w 5073471"/>
                        <a:gd name="connsiteY12" fmla="*/ 141821 h 2245366"/>
                        <a:gd name="connsiteX13" fmla="*/ 5073471 w 5073471"/>
                        <a:gd name="connsiteY13" fmla="*/ 697990 h 2245366"/>
                        <a:gd name="connsiteX14" fmla="*/ 2387369 w 5073471"/>
                        <a:gd name="connsiteY14" fmla="*/ 2012471 h 2245366"/>
                        <a:gd name="connsiteX15" fmla="*/ 1937061 w 5073471"/>
                        <a:gd name="connsiteY15" fmla="*/ 2232835 h 2245366"/>
                        <a:gd name="connsiteX16" fmla="*/ 1628278 w 5073471"/>
                        <a:gd name="connsiteY16" fmla="*/ 1601848 h 2245366"/>
                        <a:gd name="connsiteX17" fmla="*/ 313269 w 5073471"/>
                        <a:gd name="connsiteY17" fmla="*/ 2245365 h 2245366"/>
                        <a:gd name="connsiteX18" fmla="*/ 226591 w 5073471"/>
                        <a:gd name="connsiteY18" fmla="*/ 2245366 h 2245366"/>
                        <a:gd name="connsiteX19" fmla="*/ 224214 w 5073471"/>
                        <a:gd name="connsiteY19" fmla="*/ 2240508 h 2245366"/>
                        <a:gd name="connsiteX20" fmla="*/ 0 w 5073471"/>
                        <a:gd name="connsiteY20" fmla="*/ 2240508 h 2245366"/>
                        <a:gd name="connsiteX21" fmla="*/ 9975 w 5073471"/>
                        <a:gd name="connsiteY21" fmla="*/ 2226490 h 2245366"/>
                        <a:gd name="connsiteX22" fmla="*/ 89674 w 5073471"/>
                        <a:gd name="connsiteY22" fmla="*/ 2165357 h 2245366"/>
                        <a:gd name="connsiteX0" fmla="*/ 313269 w 5073471"/>
                        <a:gd name="connsiteY0" fmla="*/ 2245366 h 2245366"/>
                        <a:gd name="connsiteX1" fmla="*/ 1628278 w 5073471"/>
                        <a:gd name="connsiteY1" fmla="*/ 1601849 h 2245366"/>
                        <a:gd name="connsiteX2" fmla="*/ 1937061 w 5073471"/>
                        <a:gd name="connsiteY2" fmla="*/ 2232836 h 2245366"/>
                        <a:gd name="connsiteX3" fmla="*/ 1911457 w 5073471"/>
                        <a:gd name="connsiteY3" fmla="*/ 2245366 h 2245366"/>
                        <a:gd name="connsiteX4" fmla="*/ 313269 w 5073471"/>
                        <a:gd name="connsiteY4" fmla="*/ 2245366 h 2245366"/>
                        <a:gd name="connsiteX5" fmla="*/ 89674 w 5073471"/>
                        <a:gd name="connsiteY5" fmla="*/ 2165357 h 2245366"/>
                        <a:gd name="connsiteX6" fmla="*/ 177567 w 5073471"/>
                        <a:gd name="connsiteY6" fmla="*/ 2122345 h 2245366"/>
                        <a:gd name="connsiteX7" fmla="*/ 177785 w 5073471"/>
                        <a:gd name="connsiteY7" fmla="*/ 2122790 h 2245366"/>
                        <a:gd name="connsiteX8" fmla="*/ 1795854 w 5073471"/>
                        <a:gd name="connsiteY8" fmla="*/ 1330965 h 2245366"/>
                        <a:gd name="connsiteX9" fmla="*/ 2387369 w 5073471"/>
                        <a:gd name="connsiteY9" fmla="*/ 1330965 h 2245366"/>
                        <a:gd name="connsiteX10" fmla="*/ 1795854 w 5073471"/>
                        <a:gd name="connsiteY10" fmla="*/ 1330965 h 2245366"/>
                        <a:gd name="connsiteX11" fmla="*/ 4462914 w 5073471"/>
                        <a:gd name="connsiteY11" fmla="*/ 25803 h 2245366"/>
                        <a:gd name="connsiteX12" fmla="*/ 4801303 w 5073471"/>
                        <a:gd name="connsiteY12" fmla="*/ 141821 h 2245366"/>
                        <a:gd name="connsiteX13" fmla="*/ 5073471 w 5073471"/>
                        <a:gd name="connsiteY13" fmla="*/ 697990 h 2245366"/>
                        <a:gd name="connsiteX14" fmla="*/ 2387369 w 5073471"/>
                        <a:gd name="connsiteY14" fmla="*/ 2012471 h 2245366"/>
                        <a:gd name="connsiteX15" fmla="*/ 1937061 w 5073471"/>
                        <a:gd name="connsiteY15" fmla="*/ 2232835 h 2245366"/>
                        <a:gd name="connsiteX16" fmla="*/ 1628278 w 5073471"/>
                        <a:gd name="connsiteY16" fmla="*/ 1601848 h 2245366"/>
                        <a:gd name="connsiteX17" fmla="*/ 313269 w 5073471"/>
                        <a:gd name="connsiteY17" fmla="*/ 2245365 h 2245366"/>
                        <a:gd name="connsiteX18" fmla="*/ 226591 w 5073471"/>
                        <a:gd name="connsiteY18" fmla="*/ 2245366 h 2245366"/>
                        <a:gd name="connsiteX19" fmla="*/ 224214 w 5073471"/>
                        <a:gd name="connsiteY19" fmla="*/ 2240508 h 2245366"/>
                        <a:gd name="connsiteX20" fmla="*/ 0 w 5073471"/>
                        <a:gd name="connsiteY20" fmla="*/ 2240508 h 2245366"/>
                        <a:gd name="connsiteX21" fmla="*/ 9975 w 5073471"/>
                        <a:gd name="connsiteY21" fmla="*/ 2226490 h 2245366"/>
                        <a:gd name="connsiteX22" fmla="*/ 89674 w 5073471"/>
                        <a:gd name="connsiteY22" fmla="*/ 2165357 h 2245366"/>
                        <a:gd name="connsiteX0" fmla="*/ 313269 w 5073471"/>
                        <a:gd name="connsiteY0" fmla="*/ 2245366 h 2245366"/>
                        <a:gd name="connsiteX1" fmla="*/ 1628278 w 5073471"/>
                        <a:gd name="connsiteY1" fmla="*/ 1601849 h 2245366"/>
                        <a:gd name="connsiteX2" fmla="*/ 1937061 w 5073471"/>
                        <a:gd name="connsiteY2" fmla="*/ 2232836 h 2245366"/>
                        <a:gd name="connsiteX3" fmla="*/ 1911457 w 5073471"/>
                        <a:gd name="connsiteY3" fmla="*/ 2245366 h 2245366"/>
                        <a:gd name="connsiteX4" fmla="*/ 313269 w 5073471"/>
                        <a:gd name="connsiteY4" fmla="*/ 2245366 h 2245366"/>
                        <a:gd name="connsiteX5" fmla="*/ 89674 w 5073471"/>
                        <a:gd name="connsiteY5" fmla="*/ 2165357 h 2245366"/>
                        <a:gd name="connsiteX6" fmla="*/ 177567 w 5073471"/>
                        <a:gd name="connsiteY6" fmla="*/ 2122345 h 2245366"/>
                        <a:gd name="connsiteX7" fmla="*/ 177785 w 5073471"/>
                        <a:gd name="connsiteY7" fmla="*/ 2122790 h 2245366"/>
                        <a:gd name="connsiteX8" fmla="*/ 1795854 w 5073471"/>
                        <a:gd name="connsiteY8" fmla="*/ 1330965 h 2245366"/>
                        <a:gd name="connsiteX9" fmla="*/ 1795854 w 5073471"/>
                        <a:gd name="connsiteY9" fmla="*/ 1330965 h 2245366"/>
                        <a:gd name="connsiteX10" fmla="*/ 4462914 w 5073471"/>
                        <a:gd name="connsiteY10" fmla="*/ 25803 h 2245366"/>
                        <a:gd name="connsiteX11" fmla="*/ 4801303 w 5073471"/>
                        <a:gd name="connsiteY11" fmla="*/ 141821 h 2245366"/>
                        <a:gd name="connsiteX12" fmla="*/ 5073471 w 5073471"/>
                        <a:gd name="connsiteY12" fmla="*/ 697990 h 2245366"/>
                        <a:gd name="connsiteX13" fmla="*/ 2387369 w 5073471"/>
                        <a:gd name="connsiteY13" fmla="*/ 2012471 h 2245366"/>
                        <a:gd name="connsiteX14" fmla="*/ 1937061 w 5073471"/>
                        <a:gd name="connsiteY14" fmla="*/ 2232835 h 2245366"/>
                        <a:gd name="connsiteX15" fmla="*/ 1628278 w 5073471"/>
                        <a:gd name="connsiteY15" fmla="*/ 1601848 h 2245366"/>
                        <a:gd name="connsiteX16" fmla="*/ 313269 w 5073471"/>
                        <a:gd name="connsiteY16" fmla="*/ 2245365 h 2245366"/>
                        <a:gd name="connsiteX17" fmla="*/ 226591 w 5073471"/>
                        <a:gd name="connsiteY17" fmla="*/ 2245366 h 2245366"/>
                        <a:gd name="connsiteX18" fmla="*/ 224214 w 5073471"/>
                        <a:gd name="connsiteY18" fmla="*/ 2240508 h 2245366"/>
                        <a:gd name="connsiteX19" fmla="*/ 0 w 5073471"/>
                        <a:gd name="connsiteY19" fmla="*/ 2240508 h 2245366"/>
                        <a:gd name="connsiteX20" fmla="*/ 9975 w 5073471"/>
                        <a:gd name="connsiteY20" fmla="*/ 2226490 h 2245366"/>
                        <a:gd name="connsiteX21" fmla="*/ 89674 w 5073471"/>
                        <a:gd name="connsiteY21" fmla="*/ 2165357 h 2245366"/>
                        <a:gd name="connsiteX0" fmla="*/ 313269 w 5073471"/>
                        <a:gd name="connsiteY0" fmla="*/ 2245366 h 2245366"/>
                        <a:gd name="connsiteX1" fmla="*/ 1628278 w 5073471"/>
                        <a:gd name="connsiteY1" fmla="*/ 1601849 h 2245366"/>
                        <a:gd name="connsiteX2" fmla="*/ 1937061 w 5073471"/>
                        <a:gd name="connsiteY2" fmla="*/ 2232836 h 2245366"/>
                        <a:gd name="connsiteX3" fmla="*/ 1911457 w 5073471"/>
                        <a:gd name="connsiteY3" fmla="*/ 2245366 h 2245366"/>
                        <a:gd name="connsiteX4" fmla="*/ 313269 w 5073471"/>
                        <a:gd name="connsiteY4" fmla="*/ 2245366 h 2245366"/>
                        <a:gd name="connsiteX5" fmla="*/ 89674 w 5073471"/>
                        <a:gd name="connsiteY5" fmla="*/ 2165357 h 2245366"/>
                        <a:gd name="connsiteX6" fmla="*/ 177567 w 5073471"/>
                        <a:gd name="connsiteY6" fmla="*/ 2122345 h 2245366"/>
                        <a:gd name="connsiteX7" fmla="*/ 177785 w 5073471"/>
                        <a:gd name="connsiteY7" fmla="*/ 2122790 h 2245366"/>
                        <a:gd name="connsiteX8" fmla="*/ 1795854 w 5073471"/>
                        <a:gd name="connsiteY8" fmla="*/ 1330965 h 2245366"/>
                        <a:gd name="connsiteX9" fmla="*/ 1795854 w 5073471"/>
                        <a:gd name="connsiteY9" fmla="*/ 1330965 h 2245366"/>
                        <a:gd name="connsiteX10" fmla="*/ 4462914 w 5073471"/>
                        <a:gd name="connsiteY10" fmla="*/ 25803 h 2245366"/>
                        <a:gd name="connsiteX11" fmla="*/ 4801303 w 5073471"/>
                        <a:gd name="connsiteY11" fmla="*/ 141821 h 2245366"/>
                        <a:gd name="connsiteX12" fmla="*/ 5073471 w 5073471"/>
                        <a:gd name="connsiteY12" fmla="*/ 697990 h 2245366"/>
                        <a:gd name="connsiteX13" fmla="*/ 2387369 w 5073471"/>
                        <a:gd name="connsiteY13" fmla="*/ 2012471 h 2245366"/>
                        <a:gd name="connsiteX14" fmla="*/ 1937061 w 5073471"/>
                        <a:gd name="connsiteY14" fmla="*/ 2232835 h 2245366"/>
                        <a:gd name="connsiteX15" fmla="*/ 313269 w 5073471"/>
                        <a:gd name="connsiteY15" fmla="*/ 2245365 h 2245366"/>
                        <a:gd name="connsiteX16" fmla="*/ 226591 w 5073471"/>
                        <a:gd name="connsiteY16" fmla="*/ 2245366 h 2245366"/>
                        <a:gd name="connsiteX17" fmla="*/ 224214 w 5073471"/>
                        <a:gd name="connsiteY17" fmla="*/ 2240508 h 2245366"/>
                        <a:gd name="connsiteX18" fmla="*/ 0 w 5073471"/>
                        <a:gd name="connsiteY18" fmla="*/ 2240508 h 2245366"/>
                        <a:gd name="connsiteX19" fmla="*/ 9975 w 5073471"/>
                        <a:gd name="connsiteY19" fmla="*/ 2226490 h 2245366"/>
                        <a:gd name="connsiteX20" fmla="*/ 89674 w 5073471"/>
                        <a:gd name="connsiteY20" fmla="*/ 2165357 h 2245366"/>
                        <a:gd name="connsiteX0" fmla="*/ 313269 w 5073471"/>
                        <a:gd name="connsiteY0" fmla="*/ 2245366 h 2245366"/>
                        <a:gd name="connsiteX1" fmla="*/ 1937061 w 5073471"/>
                        <a:gd name="connsiteY1" fmla="*/ 2232836 h 2245366"/>
                        <a:gd name="connsiteX2" fmla="*/ 1911457 w 5073471"/>
                        <a:gd name="connsiteY2" fmla="*/ 2245366 h 2245366"/>
                        <a:gd name="connsiteX3" fmla="*/ 313269 w 5073471"/>
                        <a:gd name="connsiteY3" fmla="*/ 2245366 h 2245366"/>
                        <a:gd name="connsiteX4" fmla="*/ 89674 w 5073471"/>
                        <a:gd name="connsiteY4" fmla="*/ 2165357 h 2245366"/>
                        <a:gd name="connsiteX5" fmla="*/ 177567 w 5073471"/>
                        <a:gd name="connsiteY5" fmla="*/ 2122345 h 2245366"/>
                        <a:gd name="connsiteX6" fmla="*/ 177785 w 5073471"/>
                        <a:gd name="connsiteY6" fmla="*/ 2122790 h 2245366"/>
                        <a:gd name="connsiteX7" fmla="*/ 1795854 w 5073471"/>
                        <a:gd name="connsiteY7" fmla="*/ 1330965 h 2245366"/>
                        <a:gd name="connsiteX8" fmla="*/ 1795854 w 5073471"/>
                        <a:gd name="connsiteY8" fmla="*/ 1330965 h 2245366"/>
                        <a:gd name="connsiteX9" fmla="*/ 4462914 w 5073471"/>
                        <a:gd name="connsiteY9" fmla="*/ 25803 h 2245366"/>
                        <a:gd name="connsiteX10" fmla="*/ 4801303 w 5073471"/>
                        <a:gd name="connsiteY10" fmla="*/ 141821 h 2245366"/>
                        <a:gd name="connsiteX11" fmla="*/ 5073471 w 5073471"/>
                        <a:gd name="connsiteY11" fmla="*/ 697990 h 2245366"/>
                        <a:gd name="connsiteX12" fmla="*/ 2387369 w 5073471"/>
                        <a:gd name="connsiteY12" fmla="*/ 2012471 h 2245366"/>
                        <a:gd name="connsiteX13" fmla="*/ 1937061 w 5073471"/>
                        <a:gd name="connsiteY13" fmla="*/ 2232835 h 2245366"/>
                        <a:gd name="connsiteX14" fmla="*/ 313269 w 5073471"/>
                        <a:gd name="connsiteY14" fmla="*/ 2245365 h 2245366"/>
                        <a:gd name="connsiteX15" fmla="*/ 226591 w 5073471"/>
                        <a:gd name="connsiteY15" fmla="*/ 2245366 h 2245366"/>
                        <a:gd name="connsiteX16" fmla="*/ 224214 w 5073471"/>
                        <a:gd name="connsiteY16" fmla="*/ 2240508 h 2245366"/>
                        <a:gd name="connsiteX17" fmla="*/ 0 w 5073471"/>
                        <a:gd name="connsiteY17" fmla="*/ 2240508 h 2245366"/>
                        <a:gd name="connsiteX18" fmla="*/ 9975 w 5073471"/>
                        <a:gd name="connsiteY18" fmla="*/ 2226490 h 2245366"/>
                        <a:gd name="connsiteX19" fmla="*/ 89674 w 5073471"/>
                        <a:gd name="connsiteY19" fmla="*/ 2165357 h 2245366"/>
                        <a:gd name="connsiteX0" fmla="*/ 313269 w 5073471"/>
                        <a:gd name="connsiteY0" fmla="*/ 2245366 h 2245366"/>
                        <a:gd name="connsiteX1" fmla="*/ 1937061 w 5073471"/>
                        <a:gd name="connsiteY1" fmla="*/ 2232836 h 2245366"/>
                        <a:gd name="connsiteX2" fmla="*/ 1911457 w 5073471"/>
                        <a:gd name="connsiteY2" fmla="*/ 2245366 h 2245366"/>
                        <a:gd name="connsiteX3" fmla="*/ 313269 w 5073471"/>
                        <a:gd name="connsiteY3" fmla="*/ 2245366 h 2245366"/>
                        <a:gd name="connsiteX4" fmla="*/ 9975 w 5073471"/>
                        <a:gd name="connsiteY4" fmla="*/ 2226490 h 2245366"/>
                        <a:gd name="connsiteX5" fmla="*/ 177567 w 5073471"/>
                        <a:gd name="connsiteY5" fmla="*/ 2122345 h 2245366"/>
                        <a:gd name="connsiteX6" fmla="*/ 177785 w 5073471"/>
                        <a:gd name="connsiteY6" fmla="*/ 2122790 h 2245366"/>
                        <a:gd name="connsiteX7" fmla="*/ 1795854 w 5073471"/>
                        <a:gd name="connsiteY7" fmla="*/ 1330965 h 2245366"/>
                        <a:gd name="connsiteX8" fmla="*/ 1795854 w 5073471"/>
                        <a:gd name="connsiteY8" fmla="*/ 1330965 h 2245366"/>
                        <a:gd name="connsiteX9" fmla="*/ 4462914 w 5073471"/>
                        <a:gd name="connsiteY9" fmla="*/ 25803 h 2245366"/>
                        <a:gd name="connsiteX10" fmla="*/ 4801303 w 5073471"/>
                        <a:gd name="connsiteY10" fmla="*/ 141821 h 2245366"/>
                        <a:gd name="connsiteX11" fmla="*/ 5073471 w 5073471"/>
                        <a:gd name="connsiteY11" fmla="*/ 697990 h 2245366"/>
                        <a:gd name="connsiteX12" fmla="*/ 2387369 w 5073471"/>
                        <a:gd name="connsiteY12" fmla="*/ 2012471 h 2245366"/>
                        <a:gd name="connsiteX13" fmla="*/ 1937061 w 5073471"/>
                        <a:gd name="connsiteY13" fmla="*/ 2232835 h 2245366"/>
                        <a:gd name="connsiteX14" fmla="*/ 313269 w 5073471"/>
                        <a:gd name="connsiteY14" fmla="*/ 2245365 h 2245366"/>
                        <a:gd name="connsiteX15" fmla="*/ 226591 w 5073471"/>
                        <a:gd name="connsiteY15" fmla="*/ 2245366 h 2245366"/>
                        <a:gd name="connsiteX16" fmla="*/ 224214 w 5073471"/>
                        <a:gd name="connsiteY16" fmla="*/ 2240508 h 2245366"/>
                        <a:gd name="connsiteX17" fmla="*/ 0 w 5073471"/>
                        <a:gd name="connsiteY17" fmla="*/ 2240508 h 2245366"/>
                        <a:gd name="connsiteX18" fmla="*/ 9975 w 5073471"/>
                        <a:gd name="connsiteY18" fmla="*/ 2226490 h 2245366"/>
                        <a:gd name="connsiteX0" fmla="*/ 313269 w 5073471"/>
                        <a:gd name="connsiteY0" fmla="*/ 2245366 h 2245366"/>
                        <a:gd name="connsiteX1" fmla="*/ 1937061 w 5073471"/>
                        <a:gd name="connsiteY1" fmla="*/ 2232836 h 2245366"/>
                        <a:gd name="connsiteX2" fmla="*/ 1911457 w 5073471"/>
                        <a:gd name="connsiteY2" fmla="*/ 2245366 h 2245366"/>
                        <a:gd name="connsiteX3" fmla="*/ 313269 w 5073471"/>
                        <a:gd name="connsiteY3" fmla="*/ 2245366 h 2245366"/>
                        <a:gd name="connsiteX4" fmla="*/ 0 w 5073471"/>
                        <a:gd name="connsiteY4" fmla="*/ 2240508 h 2245366"/>
                        <a:gd name="connsiteX5" fmla="*/ 177567 w 5073471"/>
                        <a:gd name="connsiteY5" fmla="*/ 2122345 h 2245366"/>
                        <a:gd name="connsiteX6" fmla="*/ 177785 w 5073471"/>
                        <a:gd name="connsiteY6" fmla="*/ 2122790 h 2245366"/>
                        <a:gd name="connsiteX7" fmla="*/ 1795854 w 5073471"/>
                        <a:gd name="connsiteY7" fmla="*/ 1330965 h 2245366"/>
                        <a:gd name="connsiteX8" fmla="*/ 1795854 w 5073471"/>
                        <a:gd name="connsiteY8" fmla="*/ 1330965 h 2245366"/>
                        <a:gd name="connsiteX9" fmla="*/ 4462914 w 5073471"/>
                        <a:gd name="connsiteY9" fmla="*/ 25803 h 2245366"/>
                        <a:gd name="connsiteX10" fmla="*/ 4801303 w 5073471"/>
                        <a:gd name="connsiteY10" fmla="*/ 141821 h 2245366"/>
                        <a:gd name="connsiteX11" fmla="*/ 5073471 w 5073471"/>
                        <a:gd name="connsiteY11" fmla="*/ 697990 h 2245366"/>
                        <a:gd name="connsiteX12" fmla="*/ 2387369 w 5073471"/>
                        <a:gd name="connsiteY12" fmla="*/ 2012471 h 2245366"/>
                        <a:gd name="connsiteX13" fmla="*/ 1937061 w 5073471"/>
                        <a:gd name="connsiteY13" fmla="*/ 2232835 h 2245366"/>
                        <a:gd name="connsiteX14" fmla="*/ 313269 w 5073471"/>
                        <a:gd name="connsiteY14" fmla="*/ 2245365 h 2245366"/>
                        <a:gd name="connsiteX15" fmla="*/ 226591 w 5073471"/>
                        <a:gd name="connsiteY15" fmla="*/ 2245366 h 2245366"/>
                        <a:gd name="connsiteX16" fmla="*/ 224214 w 5073471"/>
                        <a:gd name="connsiteY16" fmla="*/ 2240508 h 2245366"/>
                        <a:gd name="connsiteX17" fmla="*/ 0 w 5073471"/>
                        <a:gd name="connsiteY17" fmla="*/ 2240508 h 2245366"/>
                        <a:gd name="connsiteX0" fmla="*/ 379237 w 5139439"/>
                        <a:gd name="connsiteY0" fmla="*/ 2245366 h 2383077"/>
                        <a:gd name="connsiteX1" fmla="*/ 2003029 w 5139439"/>
                        <a:gd name="connsiteY1" fmla="*/ 2232836 h 2383077"/>
                        <a:gd name="connsiteX2" fmla="*/ 1977425 w 5139439"/>
                        <a:gd name="connsiteY2" fmla="*/ 2245366 h 2383077"/>
                        <a:gd name="connsiteX3" fmla="*/ 379237 w 5139439"/>
                        <a:gd name="connsiteY3" fmla="*/ 2245366 h 2383077"/>
                        <a:gd name="connsiteX4" fmla="*/ 0 w 5139439"/>
                        <a:gd name="connsiteY4" fmla="*/ 2383077 h 2383077"/>
                        <a:gd name="connsiteX5" fmla="*/ 243535 w 5139439"/>
                        <a:gd name="connsiteY5" fmla="*/ 2122345 h 2383077"/>
                        <a:gd name="connsiteX6" fmla="*/ 243753 w 5139439"/>
                        <a:gd name="connsiteY6" fmla="*/ 2122790 h 2383077"/>
                        <a:gd name="connsiteX7" fmla="*/ 1861822 w 5139439"/>
                        <a:gd name="connsiteY7" fmla="*/ 1330965 h 2383077"/>
                        <a:gd name="connsiteX8" fmla="*/ 1861822 w 5139439"/>
                        <a:gd name="connsiteY8" fmla="*/ 1330965 h 2383077"/>
                        <a:gd name="connsiteX9" fmla="*/ 4528882 w 5139439"/>
                        <a:gd name="connsiteY9" fmla="*/ 25803 h 2383077"/>
                        <a:gd name="connsiteX10" fmla="*/ 4867271 w 5139439"/>
                        <a:gd name="connsiteY10" fmla="*/ 141821 h 2383077"/>
                        <a:gd name="connsiteX11" fmla="*/ 5139439 w 5139439"/>
                        <a:gd name="connsiteY11" fmla="*/ 697990 h 2383077"/>
                        <a:gd name="connsiteX12" fmla="*/ 2453337 w 5139439"/>
                        <a:gd name="connsiteY12" fmla="*/ 2012471 h 2383077"/>
                        <a:gd name="connsiteX13" fmla="*/ 2003029 w 5139439"/>
                        <a:gd name="connsiteY13" fmla="*/ 2232835 h 2383077"/>
                        <a:gd name="connsiteX14" fmla="*/ 379237 w 5139439"/>
                        <a:gd name="connsiteY14" fmla="*/ 2245365 h 2383077"/>
                        <a:gd name="connsiteX15" fmla="*/ 292559 w 5139439"/>
                        <a:gd name="connsiteY15" fmla="*/ 2245366 h 2383077"/>
                        <a:gd name="connsiteX16" fmla="*/ 290182 w 5139439"/>
                        <a:gd name="connsiteY16" fmla="*/ 2240508 h 2383077"/>
                        <a:gd name="connsiteX17" fmla="*/ 0 w 5139439"/>
                        <a:gd name="connsiteY17" fmla="*/ 2383077 h 2383077"/>
                        <a:gd name="connsiteX0" fmla="*/ 135702 w 4895904"/>
                        <a:gd name="connsiteY0" fmla="*/ 2245366 h 2245366"/>
                        <a:gd name="connsiteX1" fmla="*/ 1759494 w 4895904"/>
                        <a:gd name="connsiteY1" fmla="*/ 2232836 h 2245366"/>
                        <a:gd name="connsiteX2" fmla="*/ 1733890 w 4895904"/>
                        <a:gd name="connsiteY2" fmla="*/ 2245366 h 2245366"/>
                        <a:gd name="connsiteX3" fmla="*/ 135702 w 4895904"/>
                        <a:gd name="connsiteY3" fmla="*/ 2245366 h 2245366"/>
                        <a:gd name="connsiteX4" fmla="*/ 46647 w 4895904"/>
                        <a:gd name="connsiteY4" fmla="*/ 2240508 h 2245366"/>
                        <a:gd name="connsiteX5" fmla="*/ 0 w 4895904"/>
                        <a:gd name="connsiteY5" fmla="*/ 2122345 h 2245366"/>
                        <a:gd name="connsiteX6" fmla="*/ 218 w 4895904"/>
                        <a:gd name="connsiteY6" fmla="*/ 2122790 h 2245366"/>
                        <a:gd name="connsiteX7" fmla="*/ 1618287 w 4895904"/>
                        <a:gd name="connsiteY7" fmla="*/ 1330965 h 2245366"/>
                        <a:gd name="connsiteX8" fmla="*/ 1618287 w 4895904"/>
                        <a:gd name="connsiteY8" fmla="*/ 1330965 h 2245366"/>
                        <a:gd name="connsiteX9" fmla="*/ 4285347 w 4895904"/>
                        <a:gd name="connsiteY9" fmla="*/ 25803 h 2245366"/>
                        <a:gd name="connsiteX10" fmla="*/ 4623736 w 4895904"/>
                        <a:gd name="connsiteY10" fmla="*/ 141821 h 2245366"/>
                        <a:gd name="connsiteX11" fmla="*/ 4895904 w 4895904"/>
                        <a:gd name="connsiteY11" fmla="*/ 697990 h 2245366"/>
                        <a:gd name="connsiteX12" fmla="*/ 2209802 w 4895904"/>
                        <a:gd name="connsiteY12" fmla="*/ 2012471 h 2245366"/>
                        <a:gd name="connsiteX13" fmla="*/ 1759494 w 4895904"/>
                        <a:gd name="connsiteY13" fmla="*/ 2232835 h 2245366"/>
                        <a:gd name="connsiteX14" fmla="*/ 135702 w 4895904"/>
                        <a:gd name="connsiteY14" fmla="*/ 2245365 h 2245366"/>
                        <a:gd name="connsiteX15" fmla="*/ 49024 w 4895904"/>
                        <a:gd name="connsiteY15" fmla="*/ 2245366 h 2245366"/>
                        <a:gd name="connsiteX16" fmla="*/ 46647 w 4895904"/>
                        <a:gd name="connsiteY16" fmla="*/ 2240508 h 2245366"/>
                        <a:gd name="connsiteX0" fmla="*/ 404190 w 5164392"/>
                        <a:gd name="connsiteY0" fmla="*/ 2245366 h 2428657"/>
                        <a:gd name="connsiteX1" fmla="*/ 2027982 w 5164392"/>
                        <a:gd name="connsiteY1" fmla="*/ 2232836 h 2428657"/>
                        <a:gd name="connsiteX2" fmla="*/ 2002378 w 5164392"/>
                        <a:gd name="connsiteY2" fmla="*/ 2245366 h 2428657"/>
                        <a:gd name="connsiteX3" fmla="*/ 404190 w 5164392"/>
                        <a:gd name="connsiteY3" fmla="*/ 2245366 h 2428657"/>
                        <a:gd name="connsiteX4" fmla="*/ 0 w 5164392"/>
                        <a:gd name="connsiteY4" fmla="*/ 2428657 h 2428657"/>
                        <a:gd name="connsiteX5" fmla="*/ 268488 w 5164392"/>
                        <a:gd name="connsiteY5" fmla="*/ 2122345 h 2428657"/>
                        <a:gd name="connsiteX6" fmla="*/ 268706 w 5164392"/>
                        <a:gd name="connsiteY6" fmla="*/ 2122790 h 2428657"/>
                        <a:gd name="connsiteX7" fmla="*/ 1886775 w 5164392"/>
                        <a:gd name="connsiteY7" fmla="*/ 1330965 h 2428657"/>
                        <a:gd name="connsiteX8" fmla="*/ 1886775 w 5164392"/>
                        <a:gd name="connsiteY8" fmla="*/ 1330965 h 2428657"/>
                        <a:gd name="connsiteX9" fmla="*/ 4553835 w 5164392"/>
                        <a:gd name="connsiteY9" fmla="*/ 25803 h 2428657"/>
                        <a:gd name="connsiteX10" fmla="*/ 4892224 w 5164392"/>
                        <a:gd name="connsiteY10" fmla="*/ 141821 h 2428657"/>
                        <a:gd name="connsiteX11" fmla="*/ 5164392 w 5164392"/>
                        <a:gd name="connsiteY11" fmla="*/ 697990 h 2428657"/>
                        <a:gd name="connsiteX12" fmla="*/ 2478290 w 5164392"/>
                        <a:gd name="connsiteY12" fmla="*/ 2012471 h 2428657"/>
                        <a:gd name="connsiteX13" fmla="*/ 2027982 w 5164392"/>
                        <a:gd name="connsiteY13" fmla="*/ 2232835 h 2428657"/>
                        <a:gd name="connsiteX14" fmla="*/ 404190 w 5164392"/>
                        <a:gd name="connsiteY14" fmla="*/ 2245365 h 2428657"/>
                        <a:gd name="connsiteX15" fmla="*/ 317512 w 5164392"/>
                        <a:gd name="connsiteY15" fmla="*/ 2245366 h 2428657"/>
                        <a:gd name="connsiteX16" fmla="*/ 0 w 5164392"/>
                        <a:gd name="connsiteY16" fmla="*/ 2428657 h 2428657"/>
                        <a:gd name="connsiteX0" fmla="*/ 404190 w 5164392"/>
                        <a:gd name="connsiteY0" fmla="*/ 2245366 h 2428657"/>
                        <a:gd name="connsiteX1" fmla="*/ 2027982 w 5164392"/>
                        <a:gd name="connsiteY1" fmla="*/ 2232836 h 2428657"/>
                        <a:gd name="connsiteX2" fmla="*/ 2002378 w 5164392"/>
                        <a:gd name="connsiteY2" fmla="*/ 2245366 h 2428657"/>
                        <a:gd name="connsiteX3" fmla="*/ 404190 w 5164392"/>
                        <a:gd name="connsiteY3" fmla="*/ 2245366 h 2428657"/>
                        <a:gd name="connsiteX4" fmla="*/ 0 w 5164392"/>
                        <a:gd name="connsiteY4" fmla="*/ 2428657 h 2428657"/>
                        <a:gd name="connsiteX5" fmla="*/ 268488 w 5164392"/>
                        <a:gd name="connsiteY5" fmla="*/ 2122345 h 2428657"/>
                        <a:gd name="connsiteX6" fmla="*/ 268706 w 5164392"/>
                        <a:gd name="connsiteY6" fmla="*/ 2122790 h 2428657"/>
                        <a:gd name="connsiteX7" fmla="*/ 1886775 w 5164392"/>
                        <a:gd name="connsiteY7" fmla="*/ 1330965 h 2428657"/>
                        <a:gd name="connsiteX8" fmla="*/ 1886775 w 5164392"/>
                        <a:gd name="connsiteY8" fmla="*/ 1330965 h 2428657"/>
                        <a:gd name="connsiteX9" fmla="*/ 4553835 w 5164392"/>
                        <a:gd name="connsiteY9" fmla="*/ 25803 h 2428657"/>
                        <a:gd name="connsiteX10" fmla="*/ 4892224 w 5164392"/>
                        <a:gd name="connsiteY10" fmla="*/ 141821 h 2428657"/>
                        <a:gd name="connsiteX11" fmla="*/ 5164392 w 5164392"/>
                        <a:gd name="connsiteY11" fmla="*/ 697990 h 2428657"/>
                        <a:gd name="connsiteX12" fmla="*/ 2478290 w 5164392"/>
                        <a:gd name="connsiteY12" fmla="*/ 2012471 h 2428657"/>
                        <a:gd name="connsiteX13" fmla="*/ 2027982 w 5164392"/>
                        <a:gd name="connsiteY13" fmla="*/ 2232835 h 2428657"/>
                        <a:gd name="connsiteX14" fmla="*/ 317512 w 5164392"/>
                        <a:gd name="connsiteY14" fmla="*/ 2245366 h 2428657"/>
                        <a:gd name="connsiteX15" fmla="*/ 0 w 5164392"/>
                        <a:gd name="connsiteY15" fmla="*/ 2428657 h 2428657"/>
                        <a:gd name="connsiteX0" fmla="*/ 2002378 w 5164392"/>
                        <a:gd name="connsiteY0" fmla="*/ 2245366 h 2428657"/>
                        <a:gd name="connsiteX1" fmla="*/ 2027982 w 5164392"/>
                        <a:gd name="connsiteY1" fmla="*/ 2232836 h 2428657"/>
                        <a:gd name="connsiteX2" fmla="*/ 2002378 w 5164392"/>
                        <a:gd name="connsiteY2" fmla="*/ 2245366 h 2428657"/>
                        <a:gd name="connsiteX3" fmla="*/ 0 w 5164392"/>
                        <a:gd name="connsiteY3" fmla="*/ 2428657 h 2428657"/>
                        <a:gd name="connsiteX4" fmla="*/ 268488 w 5164392"/>
                        <a:gd name="connsiteY4" fmla="*/ 2122345 h 2428657"/>
                        <a:gd name="connsiteX5" fmla="*/ 268706 w 5164392"/>
                        <a:gd name="connsiteY5" fmla="*/ 2122790 h 2428657"/>
                        <a:gd name="connsiteX6" fmla="*/ 1886775 w 5164392"/>
                        <a:gd name="connsiteY6" fmla="*/ 1330965 h 2428657"/>
                        <a:gd name="connsiteX7" fmla="*/ 1886775 w 5164392"/>
                        <a:gd name="connsiteY7" fmla="*/ 1330965 h 2428657"/>
                        <a:gd name="connsiteX8" fmla="*/ 4553835 w 5164392"/>
                        <a:gd name="connsiteY8" fmla="*/ 25803 h 2428657"/>
                        <a:gd name="connsiteX9" fmla="*/ 4892224 w 5164392"/>
                        <a:gd name="connsiteY9" fmla="*/ 141821 h 2428657"/>
                        <a:gd name="connsiteX10" fmla="*/ 5164392 w 5164392"/>
                        <a:gd name="connsiteY10" fmla="*/ 697990 h 2428657"/>
                        <a:gd name="connsiteX11" fmla="*/ 2478290 w 5164392"/>
                        <a:gd name="connsiteY11" fmla="*/ 2012471 h 2428657"/>
                        <a:gd name="connsiteX12" fmla="*/ 2027982 w 5164392"/>
                        <a:gd name="connsiteY12" fmla="*/ 2232835 h 2428657"/>
                        <a:gd name="connsiteX13" fmla="*/ 317512 w 5164392"/>
                        <a:gd name="connsiteY13" fmla="*/ 2245366 h 2428657"/>
                        <a:gd name="connsiteX14" fmla="*/ 0 w 5164392"/>
                        <a:gd name="connsiteY14" fmla="*/ 2428657 h 2428657"/>
                        <a:gd name="connsiteX0" fmla="*/ 2002378 w 5164392"/>
                        <a:gd name="connsiteY0" fmla="*/ 2245366 h 2428657"/>
                        <a:gd name="connsiteX1" fmla="*/ 2027982 w 5164392"/>
                        <a:gd name="connsiteY1" fmla="*/ 2232836 h 2428657"/>
                        <a:gd name="connsiteX2" fmla="*/ 2002378 w 5164392"/>
                        <a:gd name="connsiteY2" fmla="*/ 2245366 h 2428657"/>
                        <a:gd name="connsiteX3" fmla="*/ 0 w 5164392"/>
                        <a:gd name="connsiteY3" fmla="*/ 2428657 h 2428657"/>
                        <a:gd name="connsiteX4" fmla="*/ 268488 w 5164392"/>
                        <a:gd name="connsiteY4" fmla="*/ 2122345 h 2428657"/>
                        <a:gd name="connsiteX5" fmla="*/ 268706 w 5164392"/>
                        <a:gd name="connsiteY5" fmla="*/ 2122790 h 2428657"/>
                        <a:gd name="connsiteX6" fmla="*/ 1886775 w 5164392"/>
                        <a:gd name="connsiteY6" fmla="*/ 1330965 h 2428657"/>
                        <a:gd name="connsiteX7" fmla="*/ 1886775 w 5164392"/>
                        <a:gd name="connsiteY7" fmla="*/ 1330965 h 2428657"/>
                        <a:gd name="connsiteX8" fmla="*/ 4553835 w 5164392"/>
                        <a:gd name="connsiteY8" fmla="*/ 25803 h 2428657"/>
                        <a:gd name="connsiteX9" fmla="*/ 4892224 w 5164392"/>
                        <a:gd name="connsiteY9" fmla="*/ 141821 h 2428657"/>
                        <a:gd name="connsiteX10" fmla="*/ 5164392 w 5164392"/>
                        <a:gd name="connsiteY10" fmla="*/ 697990 h 2428657"/>
                        <a:gd name="connsiteX11" fmla="*/ 2478290 w 5164392"/>
                        <a:gd name="connsiteY11" fmla="*/ 2012471 h 2428657"/>
                        <a:gd name="connsiteX12" fmla="*/ 2027982 w 5164392"/>
                        <a:gd name="connsiteY12" fmla="*/ 2232835 h 2428657"/>
                        <a:gd name="connsiteX13" fmla="*/ 0 w 5164392"/>
                        <a:gd name="connsiteY13" fmla="*/ 2428657 h 2428657"/>
                        <a:gd name="connsiteX0" fmla="*/ 2012426 w 5174440"/>
                        <a:gd name="connsiteY0" fmla="*/ 2245366 h 2408124"/>
                        <a:gd name="connsiteX1" fmla="*/ 2038030 w 5174440"/>
                        <a:gd name="connsiteY1" fmla="*/ 2232836 h 2408124"/>
                        <a:gd name="connsiteX2" fmla="*/ 2012426 w 5174440"/>
                        <a:gd name="connsiteY2" fmla="*/ 2245366 h 2408124"/>
                        <a:gd name="connsiteX3" fmla="*/ 0 w 5174440"/>
                        <a:gd name="connsiteY3" fmla="*/ 2408124 h 2408124"/>
                        <a:gd name="connsiteX4" fmla="*/ 278536 w 5174440"/>
                        <a:gd name="connsiteY4" fmla="*/ 2122345 h 2408124"/>
                        <a:gd name="connsiteX5" fmla="*/ 278754 w 5174440"/>
                        <a:gd name="connsiteY5" fmla="*/ 2122790 h 2408124"/>
                        <a:gd name="connsiteX6" fmla="*/ 1896823 w 5174440"/>
                        <a:gd name="connsiteY6" fmla="*/ 1330965 h 2408124"/>
                        <a:gd name="connsiteX7" fmla="*/ 1896823 w 5174440"/>
                        <a:gd name="connsiteY7" fmla="*/ 1330965 h 2408124"/>
                        <a:gd name="connsiteX8" fmla="*/ 4563883 w 5174440"/>
                        <a:gd name="connsiteY8" fmla="*/ 25803 h 2408124"/>
                        <a:gd name="connsiteX9" fmla="*/ 4902272 w 5174440"/>
                        <a:gd name="connsiteY9" fmla="*/ 141821 h 2408124"/>
                        <a:gd name="connsiteX10" fmla="*/ 5174440 w 5174440"/>
                        <a:gd name="connsiteY10" fmla="*/ 697990 h 2408124"/>
                        <a:gd name="connsiteX11" fmla="*/ 2488338 w 5174440"/>
                        <a:gd name="connsiteY11" fmla="*/ 2012471 h 2408124"/>
                        <a:gd name="connsiteX12" fmla="*/ 2038030 w 5174440"/>
                        <a:gd name="connsiteY12" fmla="*/ 2232835 h 2408124"/>
                        <a:gd name="connsiteX13" fmla="*/ 0 w 5174440"/>
                        <a:gd name="connsiteY13" fmla="*/ 2408124 h 2408124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242347 w 5138033"/>
                        <a:gd name="connsiteY5" fmla="*/ 2122790 h 2385005"/>
                        <a:gd name="connsiteX6" fmla="*/ 1860416 w 5138033"/>
                        <a:gd name="connsiteY6" fmla="*/ 1330965 h 2385005"/>
                        <a:gd name="connsiteX7" fmla="*/ 1860416 w 5138033"/>
                        <a:gd name="connsiteY7" fmla="*/ 1330965 h 2385005"/>
                        <a:gd name="connsiteX8" fmla="*/ 4527476 w 5138033"/>
                        <a:gd name="connsiteY8" fmla="*/ 25803 h 2385005"/>
                        <a:gd name="connsiteX9" fmla="*/ 4865865 w 5138033"/>
                        <a:gd name="connsiteY9" fmla="*/ 141821 h 2385005"/>
                        <a:gd name="connsiteX10" fmla="*/ 5138033 w 5138033"/>
                        <a:gd name="connsiteY10" fmla="*/ 697990 h 2385005"/>
                        <a:gd name="connsiteX11" fmla="*/ 2451931 w 5138033"/>
                        <a:gd name="connsiteY11" fmla="*/ 2012471 h 2385005"/>
                        <a:gd name="connsiteX12" fmla="*/ 2001623 w 5138033"/>
                        <a:gd name="connsiteY12" fmla="*/ 2232835 h 2385005"/>
                        <a:gd name="connsiteX13" fmla="*/ 0 w 5138033"/>
                        <a:gd name="connsiteY13" fmla="*/ 2385005 h 2385005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242347 w 5138033"/>
                        <a:gd name="connsiteY5" fmla="*/ 2122790 h 2385005"/>
                        <a:gd name="connsiteX6" fmla="*/ 1860416 w 5138033"/>
                        <a:gd name="connsiteY6" fmla="*/ 1330965 h 2385005"/>
                        <a:gd name="connsiteX7" fmla="*/ 1860416 w 5138033"/>
                        <a:gd name="connsiteY7" fmla="*/ 1330965 h 2385005"/>
                        <a:gd name="connsiteX8" fmla="*/ 4527476 w 5138033"/>
                        <a:gd name="connsiteY8" fmla="*/ 25803 h 2385005"/>
                        <a:gd name="connsiteX9" fmla="*/ 4865865 w 5138033"/>
                        <a:gd name="connsiteY9" fmla="*/ 141821 h 2385005"/>
                        <a:gd name="connsiteX10" fmla="*/ 5138033 w 5138033"/>
                        <a:gd name="connsiteY10" fmla="*/ 697990 h 2385005"/>
                        <a:gd name="connsiteX11" fmla="*/ 2451931 w 5138033"/>
                        <a:gd name="connsiteY11" fmla="*/ 2012471 h 2385005"/>
                        <a:gd name="connsiteX12" fmla="*/ 2001623 w 5138033"/>
                        <a:gd name="connsiteY12" fmla="*/ 2232835 h 2385005"/>
                        <a:gd name="connsiteX13" fmla="*/ 0 w 5138033"/>
                        <a:gd name="connsiteY13" fmla="*/ 2385005 h 2385005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242347 w 5138033"/>
                        <a:gd name="connsiteY5" fmla="*/ 2122790 h 2385005"/>
                        <a:gd name="connsiteX6" fmla="*/ 1860416 w 5138033"/>
                        <a:gd name="connsiteY6" fmla="*/ 1330965 h 2385005"/>
                        <a:gd name="connsiteX7" fmla="*/ 1860416 w 5138033"/>
                        <a:gd name="connsiteY7" fmla="*/ 1330965 h 2385005"/>
                        <a:gd name="connsiteX8" fmla="*/ 4527476 w 5138033"/>
                        <a:gd name="connsiteY8" fmla="*/ 25803 h 2385005"/>
                        <a:gd name="connsiteX9" fmla="*/ 4865865 w 5138033"/>
                        <a:gd name="connsiteY9" fmla="*/ 141821 h 2385005"/>
                        <a:gd name="connsiteX10" fmla="*/ 5138033 w 5138033"/>
                        <a:gd name="connsiteY10" fmla="*/ 697990 h 2385005"/>
                        <a:gd name="connsiteX11" fmla="*/ 2451931 w 5138033"/>
                        <a:gd name="connsiteY11" fmla="*/ 2012471 h 2385005"/>
                        <a:gd name="connsiteX12" fmla="*/ 2001623 w 5138033"/>
                        <a:gd name="connsiteY12" fmla="*/ 2232835 h 2385005"/>
                        <a:gd name="connsiteX13" fmla="*/ 0 w 5138033"/>
                        <a:gd name="connsiteY13" fmla="*/ 2385005 h 2385005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242347 w 5138033"/>
                        <a:gd name="connsiteY5" fmla="*/ 2122790 h 2385005"/>
                        <a:gd name="connsiteX6" fmla="*/ 1860416 w 5138033"/>
                        <a:gd name="connsiteY6" fmla="*/ 1330965 h 2385005"/>
                        <a:gd name="connsiteX7" fmla="*/ 1860416 w 5138033"/>
                        <a:gd name="connsiteY7" fmla="*/ 1330965 h 2385005"/>
                        <a:gd name="connsiteX8" fmla="*/ 4527476 w 5138033"/>
                        <a:gd name="connsiteY8" fmla="*/ 25803 h 2385005"/>
                        <a:gd name="connsiteX9" fmla="*/ 4865865 w 5138033"/>
                        <a:gd name="connsiteY9" fmla="*/ 141821 h 2385005"/>
                        <a:gd name="connsiteX10" fmla="*/ 5138033 w 5138033"/>
                        <a:gd name="connsiteY10" fmla="*/ 697990 h 2385005"/>
                        <a:gd name="connsiteX11" fmla="*/ 2451931 w 5138033"/>
                        <a:gd name="connsiteY11" fmla="*/ 2012471 h 2385005"/>
                        <a:gd name="connsiteX12" fmla="*/ 2001623 w 5138033"/>
                        <a:gd name="connsiteY12" fmla="*/ 2232835 h 2385005"/>
                        <a:gd name="connsiteX13" fmla="*/ 0 w 5138033"/>
                        <a:gd name="connsiteY13" fmla="*/ 2385005 h 2385005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1860416 w 5138033"/>
                        <a:gd name="connsiteY5" fmla="*/ 1330965 h 2385005"/>
                        <a:gd name="connsiteX6" fmla="*/ 1860416 w 5138033"/>
                        <a:gd name="connsiteY6" fmla="*/ 1330965 h 2385005"/>
                        <a:gd name="connsiteX7" fmla="*/ 4527476 w 5138033"/>
                        <a:gd name="connsiteY7" fmla="*/ 25803 h 2385005"/>
                        <a:gd name="connsiteX8" fmla="*/ 4865865 w 5138033"/>
                        <a:gd name="connsiteY8" fmla="*/ 141821 h 2385005"/>
                        <a:gd name="connsiteX9" fmla="*/ 5138033 w 5138033"/>
                        <a:gd name="connsiteY9" fmla="*/ 697990 h 2385005"/>
                        <a:gd name="connsiteX10" fmla="*/ 2451931 w 5138033"/>
                        <a:gd name="connsiteY10" fmla="*/ 2012471 h 2385005"/>
                        <a:gd name="connsiteX11" fmla="*/ 2001623 w 5138033"/>
                        <a:gd name="connsiteY11" fmla="*/ 2232835 h 2385005"/>
                        <a:gd name="connsiteX12" fmla="*/ 0 w 5138033"/>
                        <a:gd name="connsiteY12" fmla="*/ 2385005 h 2385005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1860416 w 5138033"/>
                        <a:gd name="connsiteY5" fmla="*/ 1330965 h 2385005"/>
                        <a:gd name="connsiteX6" fmla="*/ 1860416 w 5138033"/>
                        <a:gd name="connsiteY6" fmla="*/ 1330965 h 2385005"/>
                        <a:gd name="connsiteX7" fmla="*/ 4527476 w 5138033"/>
                        <a:gd name="connsiteY7" fmla="*/ 25803 h 2385005"/>
                        <a:gd name="connsiteX8" fmla="*/ 4865865 w 5138033"/>
                        <a:gd name="connsiteY8" fmla="*/ 141821 h 2385005"/>
                        <a:gd name="connsiteX9" fmla="*/ 5138033 w 5138033"/>
                        <a:gd name="connsiteY9" fmla="*/ 697990 h 2385005"/>
                        <a:gd name="connsiteX10" fmla="*/ 2451931 w 5138033"/>
                        <a:gd name="connsiteY10" fmla="*/ 2012471 h 2385005"/>
                        <a:gd name="connsiteX11" fmla="*/ 2001623 w 5138033"/>
                        <a:gd name="connsiteY11" fmla="*/ 2232835 h 2385005"/>
                        <a:gd name="connsiteX12" fmla="*/ 0 w 5138033"/>
                        <a:gd name="connsiteY12" fmla="*/ 2385005 h 2385005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1860416 w 5138033"/>
                        <a:gd name="connsiteY5" fmla="*/ 1330965 h 2385005"/>
                        <a:gd name="connsiteX6" fmla="*/ 1860416 w 5138033"/>
                        <a:gd name="connsiteY6" fmla="*/ 1330965 h 2385005"/>
                        <a:gd name="connsiteX7" fmla="*/ 4527476 w 5138033"/>
                        <a:gd name="connsiteY7" fmla="*/ 25803 h 2385005"/>
                        <a:gd name="connsiteX8" fmla="*/ 4865865 w 5138033"/>
                        <a:gd name="connsiteY8" fmla="*/ 141821 h 2385005"/>
                        <a:gd name="connsiteX9" fmla="*/ 5138033 w 5138033"/>
                        <a:gd name="connsiteY9" fmla="*/ 697990 h 2385005"/>
                        <a:gd name="connsiteX10" fmla="*/ 2451931 w 5138033"/>
                        <a:gd name="connsiteY10" fmla="*/ 2012471 h 2385005"/>
                        <a:gd name="connsiteX11" fmla="*/ 2001623 w 5138033"/>
                        <a:gd name="connsiteY11" fmla="*/ 2232835 h 2385005"/>
                        <a:gd name="connsiteX12" fmla="*/ 0 w 5138033"/>
                        <a:gd name="connsiteY12" fmla="*/ 2385005 h 2385005"/>
                        <a:gd name="connsiteX0" fmla="*/ 1976019 w 5138033"/>
                        <a:gd name="connsiteY0" fmla="*/ 2245366 h 2385005"/>
                        <a:gd name="connsiteX1" fmla="*/ 2001623 w 5138033"/>
                        <a:gd name="connsiteY1" fmla="*/ 2232836 h 2385005"/>
                        <a:gd name="connsiteX2" fmla="*/ 1976019 w 5138033"/>
                        <a:gd name="connsiteY2" fmla="*/ 2245366 h 2385005"/>
                        <a:gd name="connsiteX3" fmla="*/ 0 w 5138033"/>
                        <a:gd name="connsiteY3" fmla="*/ 2385005 h 2385005"/>
                        <a:gd name="connsiteX4" fmla="*/ 242129 w 5138033"/>
                        <a:gd name="connsiteY4" fmla="*/ 2122345 h 2385005"/>
                        <a:gd name="connsiteX5" fmla="*/ 1860416 w 5138033"/>
                        <a:gd name="connsiteY5" fmla="*/ 1330965 h 2385005"/>
                        <a:gd name="connsiteX6" fmla="*/ 1860416 w 5138033"/>
                        <a:gd name="connsiteY6" fmla="*/ 1330965 h 2385005"/>
                        <a:gd name="connsiteX7" fmla="*/ 4527476 w 5138033"/>
                        <a:gd name="connsiteY7" fmla="*/ 25803 h 2385005"/>
                        <a:gd name="connsiteX8" fmla="*/ 4865865 w 5138033"/>
                        <a:gd name="connsiteY8" fmla="*/ 141821 h 2385005"/>
                        <a:gd name="connsiteX9" fmla="*/ 5138033 w 5138033"/>
                        <a:gd name="connsiteY9" fmla="*/ 697990 h 2385005"/>
                        <a:gd name="connsiteX10" fmla="*/ 2451931 w 5138033"/>
                        <a:gd name="connsiteY10" fmla="*/ 2012471 h 2385005"/>
                        <a:gd name="connsiteX11" fmla="*/ 2001623 w 5138033"/>
                        <a:gd name="connsiteY11" fmla="*/ 2232835 h 2385005"/>
                        <a:gd name="connsiteX12" fmla="*/ 0 w 5138033"/>
                        <a:gd name="connsiteY12" fmla="*/ 2385005 h 2385005"/>
                        <a:gd name="connsiteX0" fmla="*/ 1959999 w 5122013"/>
                        <a:gd name="connsiteY0" fmla="*/ 2245366 h 2379817"/>
                        <a:gd name="connsiteX1" fmla="*/ 1985603 w 5122013"/>
                        <a:gd name="connsiteY1" fmla="*/ 2232836 h 2379817"/>
                        <a:gd name="connsiteX2" fmla="*/ 1959999 w 5122013"/>
                        <a:gd name="connsiteY2" fmla="*/ 2245366 h 2379817"/>
                        <a:gd name="connsiteX3" fmla="*/ 0 w 5122013"/>
                        <a:gd name="connsiteY3" fmla="*/ 2379817 h 2379817"/>
                        <a:gd name="connsiteX4" fmla="*/ 226109 w 5122013"/>
                        <a:gd name="connsiteY4" fmla="*/ 2122345 h 2379817"/>
                        <a:gd name="connsiteX5" fmla="*/ 1844396 w 5122013"/>
                        <a:gd name="connsiteY5" fmla="*/ 1330965 h 2379817"/>
                        <a:gd name="connsiteX6" fmla="*/ 1844396 w 5122013"/>
                        <a:gd name="connsiteY6" fmla="*/ 1330965 h 2379817"/>
                        <a:gd name="connsiteX7" fmla="*/ 4511456 w 5122013"/>
                        <a:gd name="connsiteY7" fmla="*/ 25803 h 2379817"/>
                        <a:gd name="connsiteX8" fmla="*/ 4849845 w 5122013"/>
                        <a:gd name="connsiteY8" fmla="*/ 141821 h 2379817"/>
                        <a:gd name="connsiteX9" fmla="*/ 5122013 w 5122013"/>
                        <a:gd name="connsiteY9" fmla="*/ 697990 h 2379817"/>
                        <a:gd name="connsiteX10" fmla="*/ 2435911 w 5122013"/>
                        <a:gd name="connsiteY10" fmla="*/ 2012471 h 2379817"/>
                        <a:gd name="connsiteX11" fmla="*/ 1985603 w 5122013"/>
                        <a:gd name="connsiteY11" fmla="*/ 2232835 h 2379817"/>
                        <a:gd name="connsiteX12" fmla="*/ 0 w 5122013"/>
                        <a:gd name="connsiteY12" fmla="*/ 2379817 h 2379817"/>
                        <a:gd name="connsiteX0" fmla="*/ 1959999 w 5122013"/>
                        <a:gd name="connsiteY0" fmla="*/ 2245366 h 2379817"/>
                        <a:gd name="connsiteX1" fmla="*/ 1985603 w 5122013"/>
                        <a:gd name="connsiteY1" fmla="*/ 2232836 h 2379817"/>
                        <a:gd name="connsiteX2" fmla="*/ 1959999 w 5122013"/>
                        <a:gd name="connsiteY2" fmla="*/ 2245366 h 2379817"/>
                        <a:gd name="connsiteX3" fmla="*/ 0 w 5122013"/>
                        <a:gd name="connsiteY3" fmla="*/ 2379817 h 2379817"/>
                        <a:gd name="connsiteX4" fmla="*/ 226109 w 5122013"/>
                        <a:gd name="connsiteY4" fmla="*/ 2122345 h 2379817"/>
                        <a:gd name="connsiteX5" fmla="*/ 1844396 w 5122013"/>
                        <a:gd name="connsiteY5" fmla="*/ 1330965 h 2379817"/>
                        <a:gd name="connsiteX6" fmla="*/ 1844396 w 5122013"/>
                        <a:gd name="connsiteY6" fmla="*/ 1330965 h 2379817"/>
                        <a:gd name="connsiteX7" fmla="*/ 4511456 w 5122013"/>
                        <a:gd name="connsiteY7" fmla="*/ 25803 h 2379817"/>
                        <a:gd name="connsiteX8" fmla="*/ 4849845 w 5122013"/>
                        <a:gd name="connsiteY8" fmla="*/ 141821 h 2379817"/>
                        <a:gd name="connsiteX9" fmla="*/ 5122013 w 5122013"/>
                        <a:gd name="connsiteY9" fmla="*/ 697990 h 2379817"/>
                        <a:gd name="connsiteX10" fmla="*/ 2435911 w 5122013"/>
                        <a:gd name="connsiteY10" fmla="*/ 2012471 h 2379817"/>
                        <a:gd name="connsiteX11" fmla="*/ 1985603 w 5122013"/>
                        <a:gd name="connsiteY11" fmla="*/ 2232835 h 2379817"/>
                        <a:gd name="connsiteX12" fmla="*/ 0 w 5122013"/>
                        <a:gd name="connsiteY12" fmla="*/ 2379817 h 2379817"/>
                        <a:gd name="connsiteX0" fmla="*/ 1959999 w 5122013"/>
                        <a:gd name="connsiteY0" fmla="*/ 2245366 h 2379817"/>
                        <a:gd name="connsiteX1" fmla="*/ 1985603 w 5122013"/>
                        <a:gd name="connsiteY1" fmla="*/ 2232836 h 2379817"/>
                        <a:gd name="connsiteX2" fmla="*/ 1959999 w 5122013"/>
                        <a:gd name="connsiteY2" fmla="*/ 2245366 h 2379817"/>
                        <a:gd name="connsiteX3" fmla="*/ 0 w 5122013"/>
                        <a:gd name="connsiteY3" fmla="*/ 2379817 h 2379817"/>
                        <a:gd name="connsiteX4" fmla="*/ 226109 w 5122013"/>
                        <a:gd name="connsiteY4" fmla="*/ 2122345 h 2379817"/>
                        <a:gd name="connsiteX5" fmla="*/ 1844396 w 5122013"/>
                        <a:gd name="connsiteY5" fmla="*/ 1330965 h 2379817"/>
                        <a:gd name="connsiteX6" fmla="*/ 1844396 w 5122013"/>
                        <a:gd name="connsiteY6" fmla="*/ 1330965 h 2379817"/>
                        <a:gd name="connsiteX7" fmla="*/ 4511456 w 5122013"/>
                        <a:gd name="connsiteY7" fmla="*/ 25803 h 2379817"/>
                        <a:gd name="connsiteX8" fmla="*/ 4849845 w 5122013"/>
                        <a:gd name="connsiteY8" fmla="*/ 141821 h 2379817"/>
                        <a:gd name="connsiteX9" fmla="*/ 5122013 w 5122013"/>
                        <a:gd name="connsiteY9" fmla="*/ 697990 h 2379817"/>
                        <a:gd name="connsiteX10" fmla="*/ 2435911 w 5122013"/>
                        <a:gd name="connsiteY10" fmla="*/ 2012471 h 2379817"/>
                        <a:gd name="connsiteX11" fmla="*/ 1985603 w 5122013"/>
                        <a:gd name="connsiteY11" fmla="*/ 2232835 h 2379817"/>
                        <a:gd name="connsiteX12" fmla="*/ 0 w 5122013"/>
                        <a:gd name="connsiteY12" fmla="*/ 2379817 h 2379817"/>
                        <a:gd name="connsiteX0" fmla="*/ 1959999 w 5122013"/>
                        <a:gd name="connsiteY0" fmla="*/ 2245366 h 2379817"/>
                        <a:gd name="connsiteX1" fmla="*/ 1985603 w 5122013"/>
                        <a:gd name="connsiteY1" fmla="*/ 2232836 h 2379817"/>
                        <a:gd name="connsiteX2" fmla="*/ 1959999 w 5122013"/>
                        <a:gd name="connsiteY2" fmla="*/ 2245366 h 2379817"/>
                        <a:gd name="connsiteX3" fmla="*/ 0 w 5122013"/>
                        <a:gd name="connsiteY3" fmla="*/ 2379817 h 2379817"/>
                        <a:gd name="connsiteX4" fmla="*/ 226109 w 5122013"/>
                        <a:gd name="connsiteY4" fmla="*/ 2122345 h 2379817"/>
                        <a:gd name="connsiteX5" fmla="*/ 1844396 w 5122013"/>
                        <a:gd name="connsiteY5" fmla="*/ 1330965 h 2379817"/>
                        <a:gd name="connsiteX6" fmla="*/ 1844396 w 5122013"/>
                        <a:gd name="connsiteY6" fmla="*/ 1330965 h 2379817"/>
                        <a:gd name="connsiteX7" fmla="*/ 4511456 w 5122013"/>
                        <a:gd name="connsiteY7" fmla="*/ 25803 h 2379817"/>
                        <a:gd name="connsiteX8" fmla="*/ 4849845 w 5122013"/>
                        <a:gd name="connsiteY8" fmla="*/ 141821 h 2379817"/>
                        <a:gd name="connsiteX9" fmla="*/ 5122013 w 5122013"/>
                        <a:gd name="connsiteY9" fmla="*/ 697990 h 2379817"/>
                        <a:gd name="connsiteX10" fmla="*/ 2435911 w 5122013"/>
                        <a:gd name="connsiteY10" fmla="*/ 2012471 h 2379817"/>
                        <a:gd name="connsiteX11" fmla="*/ 1985603 w 5122013"/>
                        <a:gd name="connsiteY11" fmla="*/ 2232835 h 2379817"/>
                        <a:gd name="connsiteX12" fmla="*/ 0 w 5122013"/>
                        <a:gd name="connsiteY12" fmla="*/ 2379817 h 23798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5122013" h="2379817">
                          <a:moveTo>
                            <a:pt x="1959999" y="2245366"/>
                          </a:moveTo>
                          <a:lnTo>
                            <a:pt x="1985603" y="2232836"/>
                          </a:lnTo>
                          <a:lnTo>
                            <a:pt x="1959999" y="2245366"/>
                          </a:lnTo>
                          <a:close/>
                          <a:moveTo>
                            <a:pt x="0" y="2379817"/>
                          </a:moveTo>
                          <a:cubicBezTo>
                            <a:pt x="48582" y="2188688"/>
                            <a:pt x="90061" y="2205166"/>
                            <a:pt x="226109" y="2122345"/>
                          </a:cubicBezTo>
                          <a:lnTo>
                            <a:pt x="1844396" y="1330965"/>
                          </a:lnTo>
                          <a:lnTo>
                            <a:pt x="1844396" y="1330965"/>
                          </a:lnTo>
                          <a:lnTo>
                            <a:pt x="4511456" y="25803"/>
                          </a:lnTo>
                          <a:cubicBezTo>
                            <a:pt x="4636937" y="-35603"/>
                            <a:pt x="4788439" y="16341"/>
                            <a:pt x="4849845" y="141821"/>
                          </a:cubicBezTo>
                          <a:lnTo>
                            <a:pt x="5122013" y="697990"/>
                          </a:lnTo>
                          <a:lnTo>
                            <a:pt x="2435911" y="2012471"/>
                          </a:lnTo>
                          <a:lnTo>
                            <a:pt x="1985603" y="2232835"/>
                          </a:lnTo>
                          <a:lnTo>
                            <a:pt x="0" y="2379817"/>
                          </a:lnTo>
                          <a:close/>
                        </a:path>
                      </a:pathLst>
                    </a:custGeom>
                    <a:solidFill>
                      <a:srgbClr val="92D1EE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uk-UA" sz="1400" dirty="0"/>
                    </a:p>
                  </p:txBody>
                </p:sp>
                <p:grpSp>
                  <p:nvGrpSpPr>
                    <p:cNvPr id="70" name="Групувати 69">
                      <a:extLst>
                        <a:ext uri="{FF2B5EF4-FFF2-40B4-BE49-F238E27FC236}">
                          <a16:creationId xmlns:a16="http://schemas.microsoft.com/office/drawing/2014/main" id="{F46B09BA-311C-126D-B42C-C24F1EE4FB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678913" y="4142356"/>
                      <a:ext cx="5384504" cy="2598837"/>
                      <a:chOff x="6678913" y="4142356"/>
                      <a:chExt cx="5384504" cy="2598837"/>
                    </a:xfrm>
                  </p:grpSpPr>
                  <p:grpSp>
                    <p:nvGrpSpPr>
                      <p:cNvPr id="71" name="Групувати 70">
                        <a:extLst>
                          <a:ext uri="{FF2B5EF4-FFF2-40B4-BE49-F238E27FC236}">
                            <a16:creationId xmlns:a16="http://schemas.microsoft.com/office/drawing/2014/main" id="{69C7B3FA-C927-A6E3-13C1-BE5BA9794CFC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678913" y="4604431"/>
                        <a:ext cx="5384504" cy="2136762"/>
                        <a:chOff x="4626392" y="4456414"/>
                        <a:chExt cx="5724960" cy="2275050"/>
                      </a:xfrm>
                    </p:grpSpPr>
                    <p:sp>
                      <p:nvSpPr>
                        <p:cNvPr id="78" name="Прямокутник: округлені кути 77">
                          <a:extLst>
                            <a:ext uri="{FF2B5EF4-FFF2-40B4-BE49-F238E27FC236}">
                              <a16:creationId xmlns:a16="http://schemas.microsoft.com/office/drawing/2014/main" id="{F6DB472D-B8A6-4311-9B1B-C01305A7276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626392" y="4456414"/>
                          <a:ext cx="5724960" cy="2275050"/>
                        </a:xfrm>
                        <a:prstGeom prst="roundRect">
                          <a:avLst>
                            <a:gd name="adj" fmla="val 11838"/>
                          </a:avLst>
                        </a:prstGeom>
                        <a:noFill/>
                        <a:ln>
                          <a:solidFill>
                            <a:srgbClr val="008CC4">
                              <a:alpha val="66000"/>
                            </a:srgbClr>
                          </a:solidFill>
                          <a:prstDash val="dash"/>
                        </a:ln>
                      </p:spPr>
                      <p:style>
                        <a:lnRef idx="2">
                          <a:schemeClr val="accent1">
                            <a:shade val="15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uk-UA" sz="1100" dirty="0"/>
                        </a:p>
                      </p:txBody>
                    </p:sp>
                    <p:cxnSp>
                      <p:nvCxnSpPr>
                        <p:cNvPr id="79" name="Пряма сполучна лінія 78">
                          <a:extLst>
                            <a:ext uri="{FF2B5EF4-FFF2-40B4-BE49-F238E27FC236}">
                              <a16:creationId xmlns:a16="http://schemas.microsoft.com/office/drawing/2014/main" id="{A4524AA9-5BDE-19B1-1FE7-5B2AB67D03BF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770469" y="5387181"/>
                          <a:ext cx="5360666" cy="17398"/>
                        </a:xfrm>
                        <a:prstGeom prst="line">
                          <a:avLst/>
                        </a:prstGeom>
                        <a:ln w="12700">
                          <a:solidFill>
                            <a:schemeClr val="bg2">
                              <a:lumMod val="2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80" name="Пряма сполучна лінія 79">
                          <a:extLst>
                            <a:ext uri="{FF2B5EF4-FFF2-40B4-BE49-F238E27FC236}">
                              <a16:creationId xmlns:a16="http://schemas.microsoft.com/office/drawing/2014/main" id="{B4EB64B6-2DC8-4ED2-6009-FA2837F17332}"/>
                            </a:ext>
                          </a:extLst>
                        </p:cNvPr>
                        <p:cNvCxnSpPr/>
                        <p:nvPr/>
                      </p:nvCxnSpPr>
                      <p:spPr>
                        <a:xfrm flipH="1" flipV="1">
                          <a:off x="4785959" y="4639433"/>
                          <a:ext cx="1866800" cy="744604"/>
                        </a:xfrm>
                        <a:prstGeom prst="line">
                          <a:avLst/>
                        </a:prstGeom>
                        <a:ln>
                          <a:solidFill>
                            <a:schemeClr val="bg2">
                              <a:lumMod val="25000"/>
                            </a:schemeClr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81" name="Групувати 80">
                          <a:extLst>
                            <a:ext uri="{FF2B5EF4-FFF2-40B4-BE49-F238E27FC236}">
                              <a16:creationId xmlns:a16="http://schemas.microsoft.com/office/drawing/2014/main" id="{279652AA-91A6-D3A0-0E30-843B342398F0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4755227" y="4496848"/>
                          <a:ext cx="5381468" cy="2056352"/>
                          <a:chOff x="4755227" y="4496848"/>
                          <a:chExt cx="5381468" cy="2056352"/>
                        </a:xfrm>
                      </p:grpSpPr>
                      <p:grpSp>
                        <p:nvGrpSpPr>
                          <p:cNvPr id="82" name="Групувати 81">
                            <a:extLst>
                              <a:ext uri="{FF2B5EF4-FFF2-40B4-BE49-F238E27FC236}">
                                <a16:creationId xmlns:a16="http://schemas.microsoft.com/office/drawing/2014/main" id="{A0A06C7A-EE8A-9AA1-2957-FEB530F1EF06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7197916" y="5505636"/>
                            <a:ext cx="556002" cy="389472"/>
                            <a:chOff x="7358126" y="5565330"/>
                            <a:chExt cx="235582" cy="165021"/>
                          </a:xfrm>
                          <a:solidFill>
                            <a:srgbClr val="78C2E0"/>
                          </a:solidFill>
                        </p:grpSpPr>
                        <p:sp>
                          <p:nvSpPr>
                            <p:cNvPr id="109" name="Полілінія: фігура 108">
                              <a:extLst>
                                <a:ext uri="{FF2B5EF4-FFF2-40B4-BE49-F238E27FC236}">
                                  <a16:creationId xmlns:a16="http://schemas.microsoft.com/office/drawing/2014/main" id="{8D2C61E6-5CB2-BD24-AA4C-8ECFA243574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7358126" y="5565330"/>
                              <a:ext cx="103070" cy="165021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03070" h="165021">
                                  <a:moveTo>
                                    <a:pt x="50977" y="0"/>
                                  </a:moveTo>
                                  <a:cubicBezTo>
                                    <a:pt x="64891" y="123"/>
                                    <a:pt x="75974" y="3759"/>
                                    <a:pt x="84226" y="10907"/>
                                  </a:cubicBezTo>
                                  <a:cubicBezTo>
                                    <a:pt x="92478" y="18055"/>
                                    <a:pt x="96704" y="27977"/>
                                    <a:pt x="96903" y="40672"/>
                                  </a:cubicBezTo>
                                  <a:cubicBezTo>
                                    <a:pt x="96899" y="49718"/>
                                    <a:pt x="94853" y="57418"/>
                                    <a:pt x="90766" y="63775"/>
                                  </a:cubicBezTo>
                                  <a:cubicBezTo>
                                    <a:pt x="86679" y="70131"/>
                                    <a:pt x="80579" y="75086"/>
                                    <a:pt x="72466" y="78638"/>
                                  </a:cubicBezTo>
                                  <a:lnTo>
                                    <a:pt x="72466" y="79324"/>
                                  </a:lnTo>
                                  <a:cubicBezTo>
                                    <a:pt x="82434" y="81229"/>
                                    <a:pt x="90019" y="85649"/>
                                    <a:pt x="95219" y="92583"/>
                                  </a:cubicBezTo>
                                  <a:cubicBezTo>
                                    <a:pt x="100419" y="99517"/>
                                    <a:pt x="103036" y="107823"/>
                                    <a:pt x="103070" y="117500"/>
                                  </a:cubicBezTo>
                                  <a:cubicBezTo>
                                    <a:pt x="102732" y="132378"/>
                                    <a:pt x="97698" y="143983"/>
                                    <a:pt x="87966" y="152316"/>
                                  </a:cubicBezTo>
                                  <a:cubicBezTo>
                                    <a:pt x="78234" y="160648"/>
                                    <a:pt x="65828" y="164883"/>
                                    <a:pt x="50749" y="165021"/>
                                  </a:cubicBezTo>
                                  <a:cubicBezTo>
                                    <a:pt x="38461" y="164911"/>
                                    <a:pt x="28003" y="162447"/>
                                    <a:pt x="19373" y="157628"/>
                                  </a:cubicBezTo>
                                  <a:cubicBezTo>
                                    <a:pt x="10744" y="152808"/>
                                    <a:pt x="4286" y="146291"/>
                                    <a:pt x="0" y="138074"/>
                                  </a:cubicBezTo>
                                  <a:lnTo>
                                    <a:pt x="14859" y="118872"/>
                                  </a:lnTo>
                                  <a:cubicBezTo>
                                    <a:pt x="18916" y="124901"/>
                                    <a:pt x="23888" y="129702"/>
                                    <a:pt x="29775" y="133274"/>
                                  </a:cubicBezTo>
                                  <a:cubicBezTo>
                                    <a:pt x="35661" y="136846"/>
                                    <a:pt x="42119" y="138674"/>
                                    <a:pt x="49149" y="138760"/>
                                  </a:cubicBezTo>
                                  <a:cubicBezTo>
                                    <a:pt x="57726" y="138593"/>
                                    <a:pt x="64174" y="136412"/>
                                    <a:pt x="68494" y="132216"/>
                                  </a:cubicBezTo>
                                  <a:cubicBezTo>
                                    <a:pt x="72813" y="128021"/>
                                    <a:pt x="74976" y="122811"/>
                                    <a:pt x="74980" y="116586"/>
                                  </a:cubicBezTo>
                                  <a:cubicBezTo>
                                    <a:pt x="74899" y="109242"/>
                                    <a:pt x="72261" y="103641"/>
                                    <a:pt x="67065" y="99784"/>
                                  </a:cubicBezTo>
                                  <a:cubicBezTo>
                                    <a:pt x="61869" y="95926"/>
                                    <a:pt x="54602" y="93983"/>
                                    <a:pt x="45262" y="93955"/>
                                  </a:cubicBezTo>
                                  <a:lnTo>
                                    <a:pt x="33832" y="93955"/>
                                  </a:lnTo>
                                  <a:lnTo>
                                    <a:pt x="33832" y="67666"/>
                                  </a:lnTo>
                                  <a:lnTo>
                                    <a:pt x="44119" y="67666"/>
                                  </a:lnTo>
                                  <a:cubicBezTo>
                                    <a:pt x="50849" y="67608"/>
                                    <a:pt x="56592" y="65664"/>
                                    <a:pt x="61350" y="61832"/>
                                  </a:cubicBezTo>
                                  <a:cubicBezTo>
                                    <a:pt x="66108" y="58001"/>
                                    <a:pt x="68594" y="52625"/>
                                    <a:pt x="68808" y="45705"/>
                                  </a:cubicBezTo>
                                  <a:cubicBezTo>
                                    <a:pt x="68818" y="39891"/>
                                    <a:pt x="67141" y="35220"/>
                                    <a:pt x="63779" y="31693"/>
                                  </a:cubicBezTo>
                                  <a:cubicBezTo>
                                    <a:pt x="60417" y="28167"/>
                                    <a:pt x="55311" y="26356"/>
                                    <a:pt x="48463" y="26260"/>
                                  </a:cubicBezTo>
                                  <a:cubicBezTo>
                                    <a:pt x="42105" y="26246"/>
                                    <a:pt x="36475" y="27647"/>
                                    <a:pt x="31575" y="30464"/>
                                  </a:cubicBezTo>
                                  <a:cubicBezTo>
                                    <a:pt x="26674" y="33280"/>
                                    <a:pt x="22245" y="37598"/>
                                    <a:pt x="18288" y="43417"/>
                                  </a:cubicBezTo>
                                  <a:lnTo>
                                    <a:pt x="3657" y="24890"/>
                                  </a:lnTo>
                                  <a:cubicBezTo>
                                    <a:pt x="8058" y="16760"/>
                                    <a:pt x="14287" y="10585"/>
                                    <a:pt x="22345" y="6365"/>
                                  </a:cubicBezTo>
                                  <a:cubicBezTo>
                                    <a:pt x="30403" y="2145"/>
                                    <a:pt x="39947" y="24"/>
                                    <a:pt x="50977" y="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909090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15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wrap="square" rtlCol="0" anchor="ctr">
                              <a:noAutofit/>
                            </a:bodyPr>
                            <a:lstStyle/>
                            <a:p>
                              <a:pPr algn="ctr"/>
                              <a:endParaRPr lang="uk-UA" sz="1200"/>
                            </a:p>
                          </p:txBody>
                        </p:sp>
                        <p:sp>
                          <p:nvSpPr>
                            <p:cNvPr id="110" name="Полілінія: фігура 109">
                              <a:extLst>
                                <a:ext uri="{FF2B5EF4-FFF2-40B4-BE49-F238E27FC236}">
                                  <a16:creationId xmlns:a16="http://schemas.microsoft.com/office/drawing/2014/main" id="{8E81F73E-FD27-6364-4AE8-38E03D81393B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7486522" y="5566016"/>
                              <a:ext cx="107186" cy="16364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07186" h="163649">
                                  <a:moveTo>
                                    <a:pt x="53707" y="0"/>
                                  </a:moveTo>
                                  <a:cubicBezTo>
                                    <a:pt x="71939" y="351"/>
                                    <a:pt x="85424" y="7872"/>
                                    <a:pt x="94163" y="22562"/>
                                  </a:cubicBezTo>
                                  <a:cubicBezTo>
                                    <a:pt x="102903" y="37253"/>
                                    <a:pt x="107243" y="57007"/>
                                    <a:pt x="107185" y="81825"/>
                                  </a:cubicBezTo>
                                  <a:cubicBezTo>
                                    <a:pt x="107262" y="106642"/>
                                    <a:pt x="102998" y="126396"/>
                                    <a:pt x="94392" y="141086"/>
                                  </a:cubicBezTo>
                                  <a:cubicBezTo>
                                    <a:pt x="85786" y="155777"/>
                                    <a:pt x="72377" y="163298"/>
                                    <a:pt x="54165" y="163649"/>
                                  </a:cubicBezTo>
                                  <a:cubicBezTo>
                                    <a:pt x="35804" y="163298"/>
                                    <a:pt x="22176" y="155777"/>
                                    <a:pt x="13279" y="141086"/>
                                  </a:cubicBezTo>
                                  <a:cubicBezTo>
                                    <a:pt x="4383" y="126396"/>
                                    <a:pt x="-43" y="106642"/>
                                    <a:pt x="1" y="81825"/>
                                  </a:cubicBezTo>
                                  <a:cubicBezTo>
                                    <a:pt x="-62" y="57007"/>
                                    <a:pt x="4288" y="37253"/>
                                    <a:pt x="13051" y="22562"/>
                                  </a:cubicBezTo>
                                  <a:cubicBezTo>
                                    <a:pt x="21814" y="7872"/>
                                    <a:pt x="35366" y="351"/>
                                    <a:pt x="53707" y="0"/>
                                  </a:cubicBezTo>
                                  <a:close/>
                                  <a:moveTo>
                                    <a:pt x="53707" y="24660"/>
                                  </a:moveTo>
                                  <a:cubicBezTo>
                                    <a:pt x="44735" y="24627"/>
                                    <a:pt x="38206" y="29324"/>
                                    <a:pt x="34122" y="38751"/>
                                  </a:cubicBezTo>
                                  <a:cubicBezTo>
                                    <a:pt x="30039" y="48179"/>
                                    <a:pt x="28028" y="62536"/>
                                    <a:pt x="28090" y="81825"/>
                                  </a:cubicBezTo>
                                  <a:cubicBezTo>
                                    <a:pt x="28104" y="101322"/>
                                    <a:pt x="30306" y="115775"/>
                                    <a:pt x="34694" y="125183"/>
                                  </a:cubicBezTo>
                                  <a:cubicBezTo>
                                    <a:pt x="39083" y="134592"/>
                                    <a:pt x="45573" y="139270"/>
                                    <a:pt x="54165" y="139217"/>
                                  </a:cubicBezTo>
                                  <a:cubicBezTo>
                                    <a:pt x="63219" y="139298"/>
                                    <a:pt x="69699" y="134677"/>
                                    <a:pt x="73607" y="125355"/>
                                  </a:cubicBezTo>
                                  <a:cubicBezTo>
                                    <a:pt x="77514" y="116032"/>
                                    <a:pt x="79420" y="101522"/>
                                    <a:pt x="79325" y="81825"/>
                                  </a:cubicBezTo>
                                  <a:cubicBezTo>
                                    <a:pt x="79401" y="62136"/>
                                    <a:pt x="77419" y="47664"/>
                                    <a:pt x="73378" y="38408"/>
                                  </a:cubicBezTo>
                                  <a:cubicBezTo>
                                    <a:pt x="69337" y="29152"/>
                                    <a:pt x="62780" y="24569"/>
                                    <a:pt x="53707" y="2466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909090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15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wrap="square" rtlCol="0" anchor="ctr">
                              <a:noAutofit/>
                            </a:bodyPr>
                            <a:lstStyle/>
                            <a:p>
                              <a:pPr algn="ctr"/>
                              <a:endParaRPr lang="uk-UA" sz="1200"/>
                            </a:p>
                          </p:txBody>
                        </p:sp>
                      </p:grpSp>
                      <p:grpSp>
                        <p:nvGrpSpPr>
                          <p:cNvPr id="83" name="Групувати 82">
                            <a:extLst>
                              <a:ext uri="{FF2B5EF4-FFF2-40B4-BE49-F238E27FC236}">
                                <a16:creationId xmlns:a16="http://schemas.microsoft.com/office/drawing/2014/main" id="{0432C68C-4277-FF1B-7DA8-D69E22125BAF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7273101" y="6114907"/>
                            <a:ext cx="455690" cy="381228"/>
                            <a:chOff x="10534062" y="4482286"/>
                            <a:chExt cx="197254" cy="165021"/>
                          </a:xfrm>
                          <a:solidFill>
                            <a:srgbClr val="78C2E0"/>
                          </a:solidFill>
                        </p:grpSpPr>
                        <p:sp>
                          <p:nvSpPr>
                            <p:cNvPr id="107" name="Полілінія: фігура 106">
                              <a:extLst>
                                <a:ext uri="{FF2B5EF4-FFF2-40B4-BE49-F238E27FC236}">
                                  <a16:creationId xmlns:a16="http://schemas.microsoft.com/office/drawing/2014/main" id="{B7421CD4-7428-60EA-E330-0B141D24398F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0621616" y="4482286"/>
                              <a:ext cx="109700" cy="165021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09700" h="165021">
                                  <a:moveTo>
                                    <a:pt x="53020" y="0"/>
                                  </a:moveTo>
                                  <a:cubicBezTo>
                                    <a:pt x="70988" y="313"/>
                                    <a:pt x="84893" y="6024"/>
                                    <a:pt x="94736" y="17133"/>
                                  </a:cubicBezTo>
                                  <a:cubicBezTo>
                                    <a:pt x="104580" y="28243"/>
                                    <a:pt x="109567" y="42874"/>
                                    <a:pt x="109700" y="61027"/>
                                  </a:cubicBezTo>
                                  <a:cubicBezTo>
                                    <a:pt x="109534" y="81562"/>
                                    <a:pt x="105830" y="99250"/>
                                    <a:pt x="98588" y="114091"/>
                                  </a:cubicBezTo>
                                  <a:cubicBezTo>
                                    <a:pt x="91347" y="128932"/>
                                    <a:pt x="81564" y="140662"/>
                                    <a:pt x="69240" y="149282"/>
                                  </a:cubicBezTo>
                                  <a:cubicBezTo>
                                    <a:pt x="56916" y="157902"/>
                                    <a:pt x="43047" y="163148"/>
                                    <a:pt x="27633" y="165021"/>
                                  </a:cubicBezTo>
                                  <a:lnTo>
                                    <a:pt x="18955" y="144218"/>
                                  </a:lnTo>
                                  <a:cubicBezTo>
                                    <a:pt x="35445" y="140851"/>
                                    <a:pt x="48706" y="134441"/>
                                    <a:pt x="58740" y="124989"/>
                                  </a:cubicBezTo>
                                  <a:cubicBezTo>
                                    <a:pt x="68774" y="115537"/>
                                    <a:pt x="75406" y="103360"/>
                                    <a:pt x="78637" y="88456"/>
                                  </a:cubicBezTo>
                                  <a:cubicBezTo>
                                    <a:pt x="75311" y="93052"/>
                                    <a:pt x="71099" y="96591"/>
                                    <a:pt x="66000" y="99074"/>
                                  </a:cubicBezTo>
                                  <a:cubicBezTo>
                                    <a:pt x="60902" y="101557"/>
                                    <a:pt x="54974" y="102813"/>
                                    <a:pt x="48217" y="102841"/>
                                  </a:cubicBezTo>
                                  <a:cubicBezTo>
                                    <a:pt x="34405" y="102547"/>
                                    <a:pt x="22996" y="97827"/>
                                    <a:pt x="13992" y="88679"/>
                                  </a:cubicBezTo>
                                  <a:cubicBezTo>
                                    <a:pt x="4987" y="79532"/>
                                    <a:pt x="323" y="67722"/>
                                    <a:pt x="0" y="53250"/>
                                  </a:cubicBezTo>
                                  <a:cubicBezTo>
                                    <a:pt x="180" y="42011"/>
                                    <a:pt x="2865" y="32430"/>
                                    <a:pt x="8054" y="24506"/>
                                  </a:cubicBezTo>
                                  <a:cubicBezTo>
                                    <a:pt x="13243" y="16582"/>
                                    <a:pt x="19854" y="10525"/>
                                    <a:pt x="27889" y="6336"/>
                                  </a:cubicBezTo>
                                  <a:cubicBezTo>
                                    <a:pt x="35924" y="2147"/>
                                    <a:pt x="44301" y="35"/>
                                    <a:pt x="53020" y="0"/>
                                  </a:cubicBezTo>
                                  <a:close/>
                                  <a:moveTo>
                                    <a:pt x="53020" y="26260"/>
                                  </a:moveTo>
                                  <a:cubicBezTo>
                                    <a:pt x="45468" y="26508"/>
                                    <a:pt x="39416" y="29100"/>
                                    <a:pt x="34866" y="34037"/>
                                  </a:cubicBezTo>
                                  <a:cubicBezTo>
                                    <a:pt x="30315" y="38974"/>
                                    <a:pt x="27980" y="44768"/>
                                    <a:pt x="27861" y="51420"/>
                                  </a:cubicBezTo>
                                  <a:cubicBezTo>
                                    <a:pt x="27918" y="58639"/>
                                    <a:pt x="30262" y="64844"/>
                                    <a:pt x="34894" y="70033"/>
                                  </a:cubicBezTo>
                                  <a:cubicBezTo>
                                    <a:pt x="39526" y="75222"/>
                                    <a:pt x="46102" y="77938"/>
                                    <a:pt x="54621" y="78181"/>
                                  </a:cubicBezTo>
                                  <a:cubicBezTo>
                                    <a:pt x="61802" y="78000"/>
                                    <a:pt x="67625" y="76189"/>
                                    <a:pt x="72090" y="72749"/>
                                  </a:cubicBezTo>
                                  <a:cubicBezTo>
                                    <a:pt x="76555" y="69308"/>
                                    <a:pt x="79805" y="65325"/>
                                    <a:pt x="81839" y="60798"/>
                                  </a:cubicBezTo>
                                  <a:cubicBezTo>
                                    <a:pt x="81839" y="51354"/>
                                    <a:pt x="79438" y="43310"/>
                                    <a:pt x="74634" y="36667"/>
                                  </a:cubicBezTo>
                                  <a:cubicBezTo>
                                    <a:pt x="69831" y="30025"/>
                                    <a:pt x="62627" y="26556"/>
                                    <a:pt x="53020" y="26260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rgbClr val="909090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15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wrap="square" rtlCol="0" anchor="ctr">
                              <a:noAutofit/>
                            </a:bodyPr>
                            <a:lstStyle/>
                            <a:p>
                              <a:pPr algn="ctr"/>
                              <a:endParaRPr lang="uk-UA" sz="1200"/>
                            </a:p>
                          </p:txBody>
                        </p:sp>
                        <p:sp>
                          <p:nvSpPr>
                            <p:cNvPr id="108" name="Полілінія: фігура 107">
                              <a:extLst>
                                <a:ext uri="{FF2B5EF4-FFF2-40B4-BE49-F238E27FC236}">
                                  <a16:creationId xmlns:a16="http://schemas.microsoft.com/office/drawing/2014/main" id="{D65F9ACC-59DF-F014-35BF-16482952CF8D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0534062" y="4484352"/>
                              <a:ext cx="59865" cy="16044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9865" h="160449">
                                  <a:moveTo>
                                    <a:pt x="40912" y="0"/>
                                  </a:moveTo>
                                  <a:lnTo>
                                    <a:pt x="59865" y="0"/>
                                  </a:lnTo>
                                  <a:lnTo>
                                    <a:pt x="59865" y="160449"/>
                                  </a:lnTo>
                                  <a:lnTo>
                                    <a:pt x="33605" y="160449"/>
                                  </a:lnTo>
                                  <a:lnTo>
                                    <a:pt x="33605" y="37485"/>
                                  </a:lnTo>
                                  <a:lnTo>
                                    <a:pt x="13945" y="52341"/>
                                  </a:lnTo>
                                  <a:lnTo>
                                    <a:pt x="0" y="30628"/>
                                  </a:lnTo>
                                  <a:lnTo>
                                    <a:pt x="40912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909090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15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wrap="square" rtlCol="0" anchor="ctr">
                              <a:noAutofit/>
                            </a:bodyPr>
                            <a:lstStyle/>
                            <a:p>
                              <a:pPr algn="ctr"/>
                              <a:endParaRPr lang="uk-UA" sz="1200"/>
                            </a:p>
                          </p:txBody>
                        </p:sp>
                      </p:grpSp>
                      <p:grpSp>
                        <p:nvGrpSpPr>
                          <p:cNvPr id="84" name="Групувати 83">
                            <a:extLst>
                              <a:ext uri="{FF2B5EF4-FFF2-40B4-BE49-F238E27FC236}">
                                <a16:creationId xmlns:a16="http://schemas.microsoft.com/office/drawing/2014/main" id="{B13E9CAC-69E6-F3B8-262D-11BCD941A937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8612363" y="4647578"/>
                            <a:ext cx="1524332" cy="652385"/>
                            <a:chOff x="8853960" y="4768692"/>
                            <a:chExt cx="998452" cy="427322"/>
                          </a:xfrm>
                        </p:grpSpPr>
                        <p:grpSp>
                          <p:nvGrpSpPr>
                            <p:cNvPr id="100" name="Групувати 99">
                              <a:extLst>
                                <a:ext uri="{FF2B5EF4-FFF2-40B4-BE49-F238E27FC236}">
                                  <a16:creationId xmlns:a16="http://schemas.microsoft.com/office/drawing/2014/main" id="{D0F0277B-15EF-2B5D-3587-8C00AC40E9F8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8853960" y="4805701"/>
                              <a:ext cx="792859" cy="390313"/>
                              <a:chOff x="2379637" y="5686744"/>
                              <a:chExt cx="1269468" cy="624942"/>
                            </a:xfrm>
                          </p:grpSpPr>
                          <p:sp>
                            <p:nvSpPr>
                              <p:cNvPr id="104" name="TextBox 103">
                                <a:extLst>
                                  <a:ext uri="{FF2B5EF4-FFF2-40B4-BE49-F238E27FC236}">
                                    <a16:creationId xmlns:a16="http://schemas.microsoft.com/office/drawing/2014/main" id="{322E734B-65B3-4C08-EF65-188032339D86}"/>
                                  </a:ext>
                                </a:extLst>
                              </p:cNvPr>
                              <p:cNvSpPr txBox="1"/>
                              <p:nvPr/>
                            </p:nvSpPr>
                            <p:spPr>
                              <a:xfrm rot="16200000">
                                <a:off x="2716863" y="5801913"/>
                                <a:ext cx="608400" cy="378061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93341" h="368703">
                                    <a:moveTo>
                                      <a:pt x="593341" y="180213"/>
                                    </a:moveTo>
                                    <a:cubicBezTo>
                                      <a:pt x="592892" y="217341"/>
                                      <a:pt x="585417" y="248183"/>
                                      <a:pt x="570917" y="272739"/>
                                    </a:cubicBezTo>
                                    <a:cubicBezTo>
                                      <a:pt x="556418" y="297294"/>
                                      <a:pt x="537588" y="315659"/>
                                      <a:pt x="514427" y="327834"/>
                                    </a:cubicBezTo>
                                    <a:cubicBezTo>
                                      <a:pt x="491267" y="340008"/>
                                      <a:pt x="466472" y="346088"/>
                                      <a:pt x="440041" y="346072"/>
                                    </a:cubicBezTo>
                                    <a:cubicBezTo>
                                      <a:pt x="398712" y="345280"/>
                                      <a:pt x="359119" y="335921"/>
                                      <a:pt x="321261" y="317995"/>
                                    </a:cubicBezTo>
                                    <a:cubicBezTo>
                                      <a:pt x="283404" y="300070"/>
                                      <a:pt x="248762" y="278328"/>
                                      <a:pt x="217337" y="252770"/>
                                    </a:cubicBezTo>
                                    <a:cubicBezTo>
                                      <a:pt x="185911" y="227212"/>
                                      <a:pt x="159182" y="202588"/>
                                      <a:pt x="137150" y="178900"/>
                                    </a:cubicBezTo>
                                    <a:cubicBezTo>
                                      <a:pt x="115117" y="155212"/>
                                      <a:pt x="99262" y="137209"/>
                                      <a:pt x="89583" y="124892"/>
                                    </a:cubicBezTo>
                                    <a:lnTo>
                                      <a:pt x="89583" y="368703"/>
                                    </a:lnTo>
                                    <a:lnTo>
                                      <a:pt x="0" y="368703"/>
                                    </a:lnTo>
                                    <a:lnTo>
                                      <a:pt x="0" y="0"/>
                                    </a:lnTo>
                                    <a:lnTo>
                                      <a:pt x="77024" y="0"/>
                                    </a:lnTo>
                                    <a:cubicBezTo>
                                      <a:pt x="108712" y="33093"/>
                                      <a:pt x="143881" y="68329"/>
                                      <a:pt x="182528" y="105706"/>
                                    </a:cubicBezTo>
                                    <a:cubicBezTo>
                                      <a:pt x="221176" y="143084"/>
                                      <a:pt x="260942" y="175153"/>
                                      <a:pt x="301827" y="201913"/>
                                    </a:cubicBezTo>
                                    <a:cubicBezTo>
                                      <a:pt x="342712" y="228673"/>
                                      <a:pt x="382356" y="242674"/>
                                      <a:pt x="420758" y="243916"/>
                                    </a:cubicBezTo>
                                    <a:cubicBezTo>
                                      <a:pt x="444478" y="243846"/>
                                      <a:pt x="463063" y="237490"/>
                                      <a:pt x="476512" y="224847"/>
                                    </a:cubicBezTo>
                                    <a:cubicBezTo>
                                      <a:pt x="489961" y="212204"/>
                                      <a:pt x="496808" y="193694"/>
                                      <a:pt x="497053" y="169316"/>
                                    </a:cubicBezTo>
                                    <a:cubicBezTo>
                                      <a:pt x="496861" y="148239"/>
                                      <a:pt x="489909" y="130462"/>
                                      <a:pt x="476198" y="115986"/>
                                    </a:cubicBezTo>
                                    <a:cubicBezTo>
                                      <a:pt x="462486" y="101509"/>
                                      <a:pt x="443168" y="91067"/>
                                      <a:pt x="418242" y="84658"/>
                                    </a:cubicBezTo>
                                    <a:lnTo>
                                      <a:pt x="454294" y="4191"/>
                                    </a:lnTo>
                                    <a:cubicBezTo>
                                      <a:pt x="497477" y="12678"/>
                                      <a:pt x="531334" y="32375"/>
                                      <a:pt x="555865" y="63284"/>
                                    </a:cubicBezTo>
                                    <a:cubicBezTo>
                                      <a:pt x="580397" y="94193"/>
                                      <a:pt x="592889" y="133169"/>
                                      <a:pt x="593341" y="180213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chemeClr val="bg1"/>
                              </a:solidFill>
                              <a:ln>
                                <a:noFill/>
                              </a:ln>
                              <a:effectLst/>
                            </p:spPr>
                            <p:txBody>
  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  <a:prstTxWarp prst="textNoShape">
                                  <a:avLst/>
                                </a:prstTxWarp>
                                <a:noAutofit/>
                              </a:bodyPr>
                              <a:lstStyle>
                                <a:defPPr>
                                  <a:defRPr lang="uk-UA"/>
                                </a:defPPr>
                                <a:lvl1pPr>
                                  <a:defRPr sz="5400" b="1" kern="100">
                                    <a:solidFill>
                                      <a:schemeClr val="bg2">
                                        <a:lumMod val="50000"/>
                                      </a:schemeClr>
                                    </a:solidFill>
                                    <a:effectLst/>
                                    <a:latin typeface="Circe Bold" panose="020B0602020203020203" pitchFamily="34" charset="-52"/>
                                    <a:ea typeface="Aptos" panose="020B0004020202020204" pitchFamily="34" charset="0"/>
                                    <a:cs typeface="Times New Roman" panose="02020603050405020304" pitchFamily="18" charset="0"/>
                                  </a:defRPr>
                                </a:lvl1pPr>
                              </a:lstStyle>
                              <a:p>
                                <a:endParaRPr lang="uk-UA" sz="400" dirty="0">
                                  <a:solidFill>
                                    <a:srgbClr val="7AC7EA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05" name="TextBox 104">
                                <a:extLst>
                                  <a:ext uri="{FF2B5EF4-FFF2-40B4-BE49-F238E27FC236}">
                                    <a16:creationId xmlns:a16="http://schemas.microsoft.com/office/drawing/2014/main" id="{2305E64B-59E7-B76A-654F-18AE2FDD2A5B}"/>
                                  </a:ext>
                                </a:extLst>
                              </p:cNvPr>
                              <p:cNvSpPr txBox="1"/>
                              <p:nvPr/>
                            </p:nvSpPr>
                            <p:spPr>
                              <a:xfrm rot="16200000">
                                <a:off x="2266187" y="5815018"/>
                                <a:ext cx="610118" cy="383217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95017" h="373732">
                                    <a:moveTo>
                                      <a:pt x="595017" y="88011"/>
                                    </a:moveTo>
                                    <a:lnTo>
                                      <a:pt x="595017" y="365358"/>
                                    </a:lnTo>
                                    <a:lnTo>
                                      <a:pt x="498729" y="365358"/>
                                    </a:lnTo>
                                    <a:lnTo>
                                      <a:pt x="498729" y="172669"/>
                                    </a:lnTo>
                                    <a:lnTo>
                                      <a:pt x="382956" y="155905"/>
                                    </a:lnTo>
                                    <a:cubicBezTo>
                                      <a:pt x="383828" y="160603"/>
                                      <a:pt x="384596" y="165876"/>
                                      <a:pt x="385259" y="171726"/>
                                    </a:cubicBezTo>
                                    <a:cubicBezTo>
                                      <a:pt x="385922" y="177576"/>
                                      <a:pt x="386270" y="183478"/>
                                      <a:pt x="386305" y="189433"/>
                                    </a:cubicBezTo>
                                    <a:cubicBezTo>
                                      <a:pt x="385751" y="242574"/>
                                      <a:pt x="369070" y="286280"/>
                                      <a:pt x="336262" y="320550"/>
                                    </a:cubicBezTo>
                                    <a:cubicBezTo>
                                      <a:pt x="303454" y="354820"/>
                                      <a:pt x="257847" y="372548"/>
                                      <a:pt x="199440" y="373732"/>
                                    </a:cubicBezTo>
                                    <a:cubicBezTo>
                                      <a:pt x="157124" y="373304"/>
                                      <a:pt x="121133" y="364112"/>
                                      <a:pt x="91469" y="346158"/>
                                    </a:cubicBezTo>
                                    <a:cubicBezTo>
                                      <a:pt x="61804" y="328204"/>
                                      <a:pt x="39173" y="304057"/>
                                      <a:pt x="23574" y="273717"/>
                                    </a:cubicBezTo>
                                    <a:cubicBezTo>
                                      <a:pt x="7976" y="243377"/>
                                      <a:pt x="118" y="209415"/>
                                      <a:pt x="0" y="171831"/>
                                    </a:cubicBezTo>
                                    <a:cubicBezTo>
                                      <a:pt x="35" y="139420"/>
                                      <a:pt x="7082" y="107429"/>
                                      <a:pt x="21142" y="75857"/>
                                    </a:cubicBezTo>
                                    <a:cubicBezTo>
                                      <a:pt x="35201" y="44285"/>
                                      <a:pt x="56064" y="18999"/>
                                      <a:pt x="83729" y="0"/>
                                    </a:cubicBezTo>
                                    <a:lnTo>
                                      <a:pt x="156670" y="55321"/>
                                    </a:lnTo>
                                    <a:cubicBezTo>
                                      <a:pt x="138010" y="68505"/>
                                      <a:pt x="123334" y="85933"/>
                                      <a:pt x="112642" y="107604"/>
                                    </a:cubicBezTo>
                                    <a:cubicBezTo>
                                      <a:pt x="101949" y="129275"/>
                                      <a:pt x="96498" y="151522"/>
                                      <a:pt x="96288" y="174345"/>
                                    </a:cubicBezTo>
                                    <a:cubicBezTo>
                                      <a:pt x="96795" y="202932"/>
                                      <a:pt x="106055" y="226017"/>
                                      <a:pt x="124068" y="243602"/>
                                    </a:cubicBezTo>
                                    <a:cubicBezTo>
                                      <a:pt x="142081" y="261186"/>
                                      <a:pt x="165808" y="270232"/>
                                      <a:pt x="195247" y="270738"/>
                                    </a:cubicBezTo>
                                    <a:cubicBezTo>
                                      <a:pt x="225263" y="270459"/>
                                      <a:pt x="249933" y="259493"/>
                                      <a:pt x="269256" y="237839"/>
                                    </a:cubicBezTo>
                                    <a:cubicBezTo>
                                      <a:pt x="288580" y="216186"/>
                                      <a:pt x="298573" y="185521"/>
                                      <a:pt x="299237" y="145847"/>
                                    </a:cubicBezTo>
                                    <a:cubicBezTo>
                                      <a:pt x="299080" y="126428"/>
                                      <a:pt x="297508" y="107848"/>
                                      <a:pt x="294520" y="90106"/>
                                    </a:cubicBezTo>
                                    <a:cubicBezTo>
                                      <a:pt x="291533" y="72364"/>
                                      <a:pt x="288073" y="58814"/>
                                      <a:pt x="284142" y="49454"/>
                                    </a:cubicBezTo>
                                    <a:lnTo>
                                      <a:pt x="595017" y="88011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chemeClr val="bg1"/>
                              </a:solidFill>
                              <a:ln>
                                <a:noFill/>
                              </a:ln>
                              <a:effectLst/>
                            </p:spPr>
                            <p:txBody>
  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  <a:prstTxWarp prst="textNoShape">
                                  <a:avLst/>
                                </a:prstTxWarp>
                                <a:noAutofit/>
                              </a:bodyPr>
                              <a:lstStyle>
                                <a:defPPr>
                                  <a:defRPr lang="uk-UA"/>
                                </a:defPPr>
                                <a:lvl1pPr>
                                  <a:defRPr sz="5400" b="1" kern="100">
                                    <a:solidFill>
                                      <a:schemeClr val="bg2">
                                        <a:lumMod val="50000"/>
                                      </a:schemeClr>
                                    </a:solidFill>
                                    <a:effectLst/>
                                    <a:latin typeface="Circe Bold" panose="020B0602020203020203" pitchFamily="34" charset="-52"/>
                                    <a:ea typeface="Aptos" panose="020B0004020202020204" pitchFamily="34" charset="0"/>
                                    <a:cs typeface="Times New Roman" panose="02020603050405020304" pitchFamily="18" charset="0"/>
                                  </a:defRPr>
                                </a:lvl1pPr>
                              </a:lstStyle>
                              <a:p>
                                <a:endParaRPr lang="uk-UA" sz="400" dirty="0">
                                  <a:solidFill>
                                    <a:srgbClr val="7AC7EA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06" name="TextBox 105">
                                <a:extLst>
                                  <a:ext uri="{FF2B5EF4-FFF2-40B4-BE49-F238E27FC236}">
                                    <a16:creationId xmlns:a16="http://schemas.microsoft.com/office/drawing/2014/main" id="{1E0ECD24-9AB6-0C5F-78F1-7ECB233C6BD2}"/>
                                  </a:ext>
                                </a:extLst>
                              </p:cNvPr>
                              <p:cNvSpPr txBox="1"/>
                              <p:nvPr/>
                            </p:nvSpPr>
                            <p:spPr>
                              <a:xfrm rot="16200000">
                                <a:off x="3159688" y="5812816"/>
                                <a:ext cx="600664" cy="378170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585797" h="368809">
                                    <a:moveTo>
                                      <a:pt x="585797" y="0"/>
                                    </a:moveTo>
                                    <a:lnTo>
                                      <a:pt x="585797" y="368809"/>
                                    </a:lnTo>
                                    <a:lnTo>
                                      <a:pt x="521326" y="368809"/>
                                    </a:lnTo>
                                    <a:lnTo>
                                      <a:pt x="0" y="160935"/>
                                    </a:lnTo>
                                    <a:lnTo>
                                      <a:pt x="0" y="55321"/>
                                    </a:lnTo>
                                    <a:lnTo>
                                      <a:pt x="489509" y="253137"/>
                                    </a:lnTo>
                                    <a:lnTo>
                                      <a:pt x="489509" y="0"/>
                                    </a:lnTo>
                                    <a:lnTo>
                                      <a:pt x="585797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chemeClr val="bg1"/>
                              </a:solidFill>
                              <a:ln>
                                <a:noFill/>
                              </a:ln>
                              <a:effectLst/>
                            </p:spPr>
                            <p:txBody>
  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  <a:prstTxWarp prst="textNoShape">
                                  <a:avLst/>
                                </a:prstTxWarp>
                                <a:noAutofit/>
                              </a:bodyPr>
                              <a:lstStyle>
                                <a:defPPr>
                                  <a:defRPr lang="uk-UA"/>
                                </a:defPPr>
                                <a:lvl1pPr>
                                  <a:defRPr sz="5400" b="1" kern="100">
                                    <a:solidFill>
                                      <a:schemeClr val="bg2">
                                        <a:lumMod val="50000"/>
                                      </a:schemeClr>
                                    </a:solidFill>
                                    <a:effectLst/>
                                    <a:latin typeface="Circe Bold" panose="020B0602020203020203" pitchFamily="34" charset="-52"/>
                                    <a:ea typeface="Aptos" panose="020B0004020202020204" pitchFamily="34" charset="0"/>
                                    <a:cs typeface="Times New Roman" panose="02020603050405020304" pitchFamily="18" charset="0"/>
                                  </a:defRPr>
                                </a:lvl1pPr>
                              </a:lstStyle>
                              <a:p>
                                <a:endParaRPr lang="uk-UA" sz="400" dirty="0">
                                  <a:solidFill>
                                    <a:srgbClr val="7AC7EA"/>
                                  </a:solidFill>
                                </a:endParaRPr>
                              </a:p>
                            </p:txBody>
                          </p:sp>
                        </p:grpSp>
                        <p:grpSp>
                          <p:nvGrpSpPr>
                            <p:cNvPr id="101" name="Групувати 100">
                              <a:extLst>
                                <a:ext uri="{FF2B5EF4-FFF2-40B4-BE49-F238E27FC236}">
                                  <a16:creationId xmlns:a16="http://schemas.microsoft.com/office/drawing/2014/main" id="{6C8E00E9-FD0A-E055-4D66-C8784E7157E4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 rot="16200000">
                              <a:off x="9559553" y="4888360"/>
                              <a:ext cx="412527" cy="173191"/>
                              <a:chOff x="13233291" y="8388752"/>
                              <a:chExt cx="1176913" cy="494106"/>
                            </a:xfrm>
                          </p:grpSpPr>
                          <p:sp>
                            <p:nvSpPr>
                              <p:cNvPr id="102" name="TextBox 101">
                                <a:extLst>
                                  <a:ext uri="{FF2B5EF4-FFF2-40B4-BE49-F238E27FC236}">
                                    <a16:creationId xmlns:a16="http://schemas.microsoft.com/office/drawing/2014/main" id="{5CD84B4A-77DA-D1B3-E6B9-1278B668DFB3}"/>
                                  </a:ext>
                                </a:extLst>
                              </p:cNvPr>
                              <p:cNvSpPr txBox="1"/>
                              <p:nvPr/>
                            </p:nvSpPr>
                            <p:spPr>
                              <a:xfrm>
                                <a:off x="13752241" y="8397414"/>
                                <a:ext cx="657963" cy="471624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95025" h="139794">
                                    <a:moveTo>
                                      <a:pt x="195025" y="0"/>
                                    </a:moveTo>
                                    <a:lnTo>
                                      <a:pt x="155020" y="139794"/>
                                    </a:lnTo>
                                    <a:lnTo>
                                      <a:pt x="132017" y="139794"/>
                                    </a:lnTo>
                                    <a:lnTo>
                                      <a:pt x="98213" y="38743"/>
                                    </a:lnTo>
                                    <a:lnTo>
                                      <a:pt x="65009" y="139794"/>
                                    </a:lnTo>
                                    <a:lnTo>
                                      <a:pt x="41806" y="139794"/>
                                    </a:lnTo>
                                    <a:lnTo>
                                      <a:pt x="0" y="0"/>
                                    </a:lnTo>
                                    <a:lnTo>
                                      <a:pt x="27604" y="0"/>
                                    </a:lnTo>
                                    <a:lnTo>
                                      <a:pt x="55807" y="99653"/>
                                    </a:lnTo>
                                    <a:lnTo>
                                      <a:pt x="87011" y="0"/>
                                    </a:lnTo>
                                    <a:lnTo>
                                      <a:pt x="111414" y="0"/>
                                    </a:lnTo>
                                    <a:lnTo>
                                      <a:pt x="143418" y="99853"/>
                                    </a:lnTo>
                                    <a:lnTo>
                                      <a:pt x="171422" y="0"/>
                                    </a:lnTo>
                                    <a:lnTo>
                                      <a:pt x="195025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>
                                <a:noFill/>
                              </a:ln>
                              <a:effectLst/>
                            </p:spPr>
                            <p:txBody>
  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  <a:prstTxWarp prst="textNoShape">
                                  <a:avLst/>
                                </a:prstTxWarp>
                                <a:noAutofit/>
                              </a:bodyPr>
                              <a:lstStyle>
                                <a:defPPr>
                                  <a:defRPr lang="uk-UA"/>
                                </a:defPPr>
                                <a:lvl1pPr>
                                  <a:defRPr sz="2000" b="1" kern="100">
                                    <a:solidFill>
                                      <a:srgbClr val="7AC7EA"/>
                                    </a:solidFill>
                                    <a:effectLst/>
                                    <a:latin typeface="Circe Bold" panose="020B0602020203020203" pitchFamily="34" charset="-52"/>
                                    <a:ea typeface="Aptos" panose="020B0004020202020204" pitchFamily="34" charset="0"/>
                                    <a:cs typeface="Times New Roman" panose="02020603050405020304" pitchFamily="18" charset="0"/>
                                  </a:defRPr>
                                </a:lvl1pPr>
                              </a:lstStyle>
                              <a:p>
                                <a:endParaRPr lang="uk-UA" sz="1000" dirty="0"/>
                              </a:p>
                            </p:txBody>
                          </p:sp>
                          <p:sp>
                            <p:nvSpPr>
                              <p:cNvPr id="103" name="TextBox 102">
                                <a:extLst>
                                  <a:ext uri="{FF2B5EF4-FFF2-40B4-BE49-F238E27FC236}">
                                    <a16:creationId xmlns:a16="http://schemas.microsoft.com/office/drawing/2014/main" id="{B263F81F-0740-6760-50AA-F5B583F30ED2}"/>
                                  </a:ext>
                                </a:extLst>
                              </p:cNvPr>
                              <p:cNvSpPr txBox="1"/>
                              <p:nvPr/>
                            </p:nvSpPr>
                            <p:spPr>
                              <a:xfrm>
                                <a:off x="13233291" y="8388752"/>
                                <a:ext cx="499768" cy="494106"/>
                              </a:xfrm>
                              <a:custGeom>
                                <a:avLst/>
                                <a:gdLst/>
                                <a:ahLst/>
                                <a:cxnLst/>
                                <a:rect l="l" t="t" r="r" b="b"/>
                                <a:pathLst>
                                  <a:path w="141393" h="139792">
                                    <a:moveTo>
                                      <a:pt x="141393" y="0"/>
                                    </a:moveTo>
                                    <a:lnTo>
                                      <a:pt x="141393" y="139792"/>
                                    </a:lnTo>
                                    <a:lnTo>
                                      <a:pt x="117015" y="139792"/>
                                    </a:lnTo>
                                    <a:lnTo>
                                      <a:pt x="117015" y="38742"/>
                                    </a:lnTo>
                                    <a:lnTo>
                                      <a:pt x="72798" y="100850"/>
                                    </a:lnTo>
                                    <a:lnTo>
                                      <a:pt x="69196" y="100850"/>
                                    </a:lnTo>
                                    <a:lnTo>
                                      <a:pt x="24578" y="39341"/>
                                    </a:lnTo>
                                    <a:lnTo>
                                      <a:pt x="24578" y="139792"/>
                                    </a:lnTo>
                                    <a:lnTo>
                                      <a:pt x="0" y="139792"/>
                                    </a:lnTo>
                                    <a:lnTo>
                                      <a:pt x="0" y="0"/>
                                    </a:lnTo>
                                    <a:lnTo>
                                      <a:pt x="24778" y="0"/>
                                    </a:lnTo>
                                    <a:lnTo>
                                      <a:pt x="72597" y="65302"/>
                                    </a:lnTo>
                                    <a:lnTo>
                                      <a:pt x="118214" y="0"/>
                                    </a:lnTo>
                                    <a:lnTo>
                                      <a:pt x="141393" y="0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>
                                <a:noFill/>
                              </a:ln>
                              <a:effectLst/>
                            </p:spPr>
                            <p:txBody>
  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  <a:prstTxWarp prst="textNoShape">
                                  <a:avLst/>
                                </a:prstTxWarp>
                                <a:noAutofit/>
                              </a:bodyPr>
                              <a:lstStyle>
                                <a:defPPr>
                                  <a:defRPr lang="uk-UA"/>
                                </a:defPPr>
                                <a:lvl1pPr>
                                  <a:defRPr sz="5400" b="1" kern="100">
                                    <a:solidFill>
                                      <a:schemeClr val="bg2">
                                        <a:lumMod val="50000"/>
                                      </a:schemeClr>
                                    </a:solidFill>
                                    <a:effectLst/>
                                    <a:latin typeface="Circe Bold" panose="020B0602020203020203" pitchFamily="34" charset="-52"/>
                                    <a:ea typeface="Aptos" panose="020B0004020202020204" pitchFamily="34" charset="0"/>
                                    <a:cs typeface="Times New Roman" panose="02020603050405020304" pitchFamily="18" charset="0"/>
                                  </a:defRPr>
                                </a:lvl1pPr>
                              </a:lstStyle>
                              <a:p>
                                <a:endParaRPr lang="uk-UA" sz="400" dirty="0">
                                  <a:solidFill>
                                    <a:srgbClr val="7AC7EA"/>
                                  </a:solidFill>
                                </a:endParaRPr>
                              </a:p>
                            </p:txBody>
                          </p:sp>
                        </p:grpSp>
                      </p:grpSp>
                      <p:sp>
                        <p:nvSpPr>
                          <p:cNvPr id="85" name="TextBox 84">
                            <a:extLst>
                              <a:ext uri="{FF2B5EF4-FFF2-40B4-BE49-F238E27FC236}">
                                <a16:creationId xmlns:a16="http://schemas.microsoft.com/office/drawing/2014/main" id="{8C276F66-E86E-D014-CC14-D896134079A2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5590137" y="4595692"/>
                            <a:ext cx="972410" cy="463599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pPr algn="r"/>
                            <a:r>
                              <a:rPr lang="en-US" sz="1200" b="1" dirty="0">
                                <a:solidFill>
                                  <a:schemeClr val="bg2">
                                    <a:lumMod val="25000"/>
                                  </a:schemeClr>
                                </a:solidFill>
                              </a:rPr>
                              <a:t>TOTAL</a:t>
                            </a:r>
                          </a:p>
                        </p:txBody>
                      </p:sp>
                      <p:sp>
                        <p:nvSpPr>
                          <p:cNvPr id="86" name="TextBox 85">
                            <a:extLst>
                              <a:ext uri="{FF2B5EF4-FFF2-40B4-BE49-F238E27FC236}">
                                <a16:creationId xmlns:a16="http://schemas.microsoft.com/office/drawing/2014/main" id="{5E190F11-0F2A-7C11-363B-0A507872FA63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4755227" y="5010298"/>
                            <a:ext cx="1200777" cy="463599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1200" b="1" dirty="0">
                                <a:solidFill>
                                  <a:schemeClr val="bg2">
                                    <a:lumMod val="25000"/>
                                  </a:schemeClr>
                                </a:solidFill>
                              </a:rPr>
                              <a:t>WE USE </a:t>
                            </a:r>
                            <a:endParaRPr lang="uk-UA" sz="1200" b="1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</a:endParaRPr>
                          </a:p>
                        </p:txBody>
                      </p:sp>
                      <p:grpSp>
                        <p:nvGrpSpPr>
                          <p:cNvPr id="87" name="Групувати 86">
                            <a:extLst>
                              <a:ext uri="{FF2B5EF4-FFF2-40B4-BE49-F238E27FC236}">
                                <a16:creationId xmlns:a16="http://schemas.microsoft.com/office/drawing/2014/main" id="{3C0F1E46-33F9-D97A-0C21-1C149A10804F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7125245" y="4710610"/>
                            <a:ext cx="825634" cy="602250"/>
                            <a:chOff x="12320176" y="8904935"/>
                            <a:chExt cx="1206551" cy="880110"/>
                          </a:xfrm>
                          <a:solidFill>
                            <a:srgbClr val="46B1E1"/>
                          </a:solidFill>
                        </p:grpSpPr>
                        <p:sp>
                          <p:nvSpPr>
                            <p:cNvPr id="98" name="Полілінія: фігура 97">
                              <a:extLst>
                                <a:ext uri="{FF2B5EF4-FFF2-40B4-BE49-F238E27FC236}">
                                  <a16:creationId xmlns:a16="http://schemas.microsoft.com/office/drawing/2014/main" id="{6BF875C3-74FA-E255-C5A7-54C91746B55D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2320176" y="8904935"/>
                              <a:ext cx="585064" cy="880110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85064" h="880110">
                                  <a:moveTo>
                                    <a:pt x="282774" y="0"/>
                                  </a:moveTo>
                                  <a:cubicBezTo>
                                    <a:pt x="378599" y="1668"/>
                                    <a:pt x="452760" y="32128"/>
                                    <a:pt x="505258" y="91379"/>
                                  </a:cubicBezTo>
                                  <a:cubicBezTo>
                                    <a:pt x="557756" y="150629"/>
                                    <a:pt x="584358" y="228662"/>
                                    <a:pt x="585064" y="325476"/>
                                  </a:cubicBezTo>
                                  <a:cubicBezTo>
                                    <a:pt x="584178" y="434998"/>
                                    <a:pt x="564425" y="529334"/>
                                    <a:pt x="525804" y="608485"/>
                                  </a:cubicBezTo>
                                  <a:cubicBezTo>
                                    <a:pt x="487182" y="687635"/>
                                    <a:pt x="435007" y="750197"/>
                                    <a:pt x="369278" y="796170"/>
                                  </a:cubicBezTo>
                                  <a:cubicBezTo>
                                    <a:pt x="303550" y="842142"/>
                                    <a:pt x="229581" y="870123"/>
                                    <a:pt x="147373" y="880110"/>
                                  </a:cubicBezTo>
                                  <a:lnTo>
                                    <a:pt x="101090" y="769163"/>
                                  </a:lnTo>
                                  <a:cubicBezTo>
                                    <a:pt x="189036" y="751203"/>
                                    <a:pt x="259766" y="717019"/>
                                    <a:pt x="313279" y="666609"/>
                                  </a:cubicBezTo>
                                  <a:cubicBezTo>
                                    <a:pt x="366793" y="616199"/>
                                    <a:pt x="402165" y="551252"/>
                                    <a:pt x="419397" y="471767"/>
                                  </a:cubicBezTo>
                                  <a:cubicBezTo>
                                    <a:pt x="401658" y="496275"/>
                                    <a:pt x="379193" y="515151"/>
                                    <a:pt x="352000" y="528394"/>
                                  </a:cubicBezTo>
                                  <a:cubicBezTo>
                                    <a:pt x="324808" y="541638"/>
                                    <a:pt x="293193" y="548335"/>
                                    <a:pt x="257157" y="548488"/>
                                  </a:cubicBezTo>
                                  <a:cubicBezTo>
                                    <a:pt x="183492" y="546919"/>
                                    <a:pt x="122646" y="521742"/>
                                    <a:pt x="74621" y="472957"/>
                                  </a:cubicBezTo>
                                  <a:cubicBezTo>
                                    <a:pt x="26596" y="424171"/>
                                    <a:pt x="1722" y="361185"/>
                                    <a:pt x="0" y="284001"/>
                                  </a:cubicBezTo>
                                  <a:cubicBezTo>
                                    <a:pt x="961" y="224060"/>
                                    <a:pt x="15279" y="172959"/>
                                    <a:pt x="42952" y="130698"/>
                                  </a:cubicBezTo>
                                  <a:cubicBezTo>
                                    <a:pt x="70626" y="88437"/>
                                    <a:pt x="105889" y="56136"/>
                                    <a:pt x="148742" y="33793"/>
                                  </a:cubicBezTo>
                                  <a:cubicBezTo>
                                    <a:pt x="191596" y="11451"/>
                                    <a:pt x="236273" y="186"/>
                                    <a:pt x="282774" y="0"/>
                                  </a:cubicBezTo>
                                  <a:close/>
                                  <a:moveTo>
                                    <a:pt x="282774" y="140056"/>
                                  </a:moveTo>
                                  <a:cubicBezTo>
                                    <a:pt x="242493" y="141377"/>
                                    <a:pt x="210218" y="155202"/>
                                    <a:pt x="185948" y="181531"/>
                                  </a:cubicBezTo>
                                  <a:cubicBezTo>
                                    <a:pt x="161678" y="207860"/>
                                    <a:pt x="149226" y="238764"/>
                                    <a:pt x="148590" y="274242"/>
                                  </a:cubicBezTo>
                                  <a:cubicBezTo>
                                    <a:pt x="148895" y="312744"/>
                                    <a:pt x="161399" y="345833"/>
                                    <a:pt x="186101" y="373509"/>
                                  </a:cubicBezTo>
                                  <a:cubicBezTo>
                                    <a:pt x="210803" y="401184"/>
                                    <a:pt x="245873" y="415670"/>
                                    <a:pt x="291313" y="416966"/>
                                  </a:cubicBezTo>
                                  <a:cubicBezTo>
                                    <a:pt x="329611" y="416001"/>
                                    <a:pt x="360666" y="406343"/>
                                    <a:pt x="384479" y="387995"/>
                                  </a:cubicBezTo>
                                  <a:cubicBezTo>
                                    <a:pt x="408291" y="369646"/>
                                    <a:pt x="425623" y="348400"/>
                                    <a:pt x="436474" y="324256"/>
                                  </a:cubicBezTo>
                                  <a:cubicBezTo>
                                    <a:pt x="436474" y="273886"/>
                                    <a:pt x="423666" y="230987"/>
                                    <a:pt x="398049" y="195560"/>
                                  </a:cubicBezTo>
                                  <a:cubicBezTo>
                                    <a:pt x="372433" y="160133"/>
                                    <a:pt x="334008" y="141631"/>
                                    <a:pt x="282774" y="140056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15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wrap="square" rtlCol="0" anchor="ctr">
                              <a:noAutofit/>
                            </a:bodyPr>
                            <a:lstStyle/>
                            <a:p>
                              <a:pPr algn="ctr"/>
                              <a:endParaRPr lang="uk-UA" sz="100"/>
                            </a:p>
                          </p:txBody>
                        </p:sp>
                        <p:sp>
                          <p:nvSpPr>
                            <p:cNvPr id="99" name="Полілінія: фігура 98">
                              <a:extLst>
                                <a:ext uri="{FF2B5EF4-FFF2-40B4-BE49-F238E27FC236}">
                                  <a16:creationId xmlns:a16="http://schemas.microsoft.com/office/drawing/2014/main" id="{E2253CE6-C7EA-6784-044B-4A3F2FC3415A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2990279" y="8919566"/>
                              <a:ext cx="536448" cy="852069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536448" h="852069">
                                  <a:moveTo>
                                    <a:pt x="0" y="0"/>
                                  </a:moveTo>
                                  <a:lnTo>
                                    <a:pt x="536448" y="0"/>
                                  </a:lnTo>
                                  <a:lnTo>
                                    <a:pt x="536448" y="93777"/>
                                  </a:lnTo>
                                  <a:lnTo>
                                    <a:pt x="234086" y="852069"/>
                                  </a:lnTo>
                                  <a:lnTo>
                                    <a:pt x="80467" y="852069"/>
                                  </a:lnTo>
                                  <a:lnTo>
                                    <a:pt x="368198" y="140056"/>
                                  </a:lnTo>
                                  <a:lnTo>
                                    <a:pt x="0" y="140056"/>
                                  </a:lnTo>
                                  <a:lnTo>
                                    <a:pt x="0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15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wrap="square" rtlCol="0" anchor="ctr">
                              <a:noAutofit/>
                            </a:bodyPr>
                            <a:lstStyle/>
                            <a:p>
                              <a:pPr algn="ctr"/>
                              <a:endParaRPr lang="uk-UA" sz="100"/>
                            </a:p>
                          </p:txBody>
                        </p:sp>
                      </p:grpSp>
                      <p:cxnSp>
                        <p:nvCxnSpPr>
                          <p:cNvPr id="88" name="Пряма сполучна лінія 87">
                            <a:extLst>
                              <a:ext uri="{FF2B5EF4-FFF2-40B4-BE49-F238E27FC236}">
                                <a16:creationId xmlns:a16="http://schemas.microsoft.com/office/drawing/2014/main" id="{6FD7C782-509C-C0E8-DB99-6F05F2019F3C}"/>
                              </a:ext>
                            </a:extLst>
                          </p:cNvPr>
                          <p:cNvCxnSpPr/>
                          <p:nvPr/>
                        </p:nvCxnSpPr>
                        <p:spPr>
                          <a:xfrm flipH="1" flipV="1">
                            <a:off x="6652759" y="4496848"/>
                            <a:ext cx="9689" cy="2056352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bg2">
                                <a:lumMod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cxnSp>
                        <p:nvCxnSpPr>
                          <p:cNvPr id="89" name="Пряма сполучна лінія 88">
                            <a:extLst>
                              <a:ext uri="{FF2B5EF4-FFF2-40B4-BE49-F238E27FC236}">
                                <a16:creationId xmlns:a16="http://schemas.microsoft.com/office/drawing/2014/main" id="{1C6B0F9B-229C-1E52-A28D-A606F074F71D}"/>
                              </a:ext>
                            </a:extLst>
                          </p:cNvPr>
                          <p:cNvCxnSpPr/>
                          <p:nvPr/>
                        </p:nvCxnSpPr>
                        <p:spPr>
                          <a:xfrm flipV="1">
                            <a:off x="8391182" y="4496848"/>
                            <a:ext cx="0" cy="2056352"/>
                          </a:xfrm>
                          <a:prstGeom prst="line">
                            <a:avLst/>
                          </a:prstGeom>
                          <a:ln>
                            <a:solidFill>
                              <a:schemeClr val="bg2">
                                <a:lumMod val="25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sp>
                        <p:nvSpPr>
                          <p:cNvPr id="90" name="TextBox 89">
                            <a:extLst>
                              <a:ext uri="{FF2B5EF4-FFF2-40B4-BE49-F238E27FC236}">
                                <a16:creationId xmlns:a16="http://schemas.microsoft.com/office/drawing/2014/main" id="{0F107AAC-FC2B-4950-1FFA-C55FA15D78DC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5289842" y="5521792"/>
                            <a:ext cx="1307941" cy="437843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pPr algn="ctr"/>
                            <a:r>
                              <a:rPr lang="en-US" sz="1100" dirty="0">
                                <a:solidFill>
                                  <a:schemeClr val="bg2">
                                    <a:lumMod val="25000"/>
                                  </a:schemeClr>
                                </a:solidFill>
                                <a:latin typeface="+mj-lt"/>
                              </a:rPr>
                              <a:t>INJECTION</a:t>
                            </a:r>
                            <a:endParaRPr lang="uk-UA" sz="11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endParaRPr>
                          </a:p>
                        </p:txBody>
                      </p:sp>
                      <p:sp>
                        <p:nvSpPr>
                          <p:cNvPr id="91" name="TextBox 90">
                            <a:extLst>
                              <a:ext uri="{FF2B5EF4-FFF2-40B4-BE49-F238E27FC236}">
                                <a16:creationId xmlns:a16="http://schemas.microsoft.com/office/drawing/2014/main" id="{664A1B54-AC8F-6B1C-A316-B253DFD50312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4945513" y="6097149"/>
                            <a:ext cx="1677659" cy="437843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pPr algn="ctr"/>
                            <a:r>
                              <a:rPr lang="en-US" sz="1100" dirty="0">
                                <a:solidFill>
                                  <a:schemeClr val="bg2">
                                    <a:lumMod val="25000"/>
                                  </a:schemeClr>
                                </a:solidFill>
                                <a:latin typeface="+mj-lt"/>
                              </a:rPr>
                              <a:t>WITHDRAWAL</a:t>
                            </a:r>
                            <a:endParaRPr lang="uk-UA" sz="11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endParaRPr>
                          </a:p>
                        </p:txBody>
                      </p:sp>
                      <p:grpSp>
                        <p:nvGrpSpPr>
                          <p:cNvPr id="92" name="Групувати 91">
                            <a:extLst>
                              <a:ext uri="{FF2B5EF4-FFF2-40B4-BE49-F238E27FC236}">
                                <a16:creationId xmlns:a16="http://schemas.microsoft.com/office/drawing/2014/main" id="{F170EECA-3D3E-09A0-9FBF-65FEC2981E3E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9822761" y="5580347"/>
                            <a:ext cx="134480" cy="320288"/>
                            <a:chOff x="9995624" y="4948604"/>
                            <a:chExt cx="169998" cy="404882"/>
                          </a:xfrm>
                          <a:solidFill>
                            <a:srgbClr val="A7B6C9"/>
                          </a:solidFill>
                        </p:grpSpPr>
                        <p:sp>
                          <p:nvSpPr>
                            <p:cNvPr id="96" name="TextBox 95">
                              <a:extLst>
                                <a:ext uri="{FF2B5EF4-FFF2-40B4-BE49-F238E27FC236}">
                                  <a16:creationId xmlns:a16="http://schemas.microsoft.com/office/drawing/2014/main" id="{0D7AF771-8BBF-C32F-4440-824EB6E046E9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>
                            <a:xfrm rot="16200000">
                              <a:off x="9966050" y="4980659"/>
                              <a:ext cx="226373" cy="16226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95025" h="139794">
                                  <a:moveTo>
                                    <a:pt x="195025" y="0"/>
                                  </a:moveTo>
                                  <a:lnTo>
                                    <a:pt x="155020" y="139794"/>
                                  </a:lnTo>
                                  <a:lnTo>
                                    <a:pt x="132017" y="139794"/>
                                  </a:lnTo>
                                  <a:lnTo>
                                    <a:pt x="98213" y="38743"/>
                                  </a:lnTo>
                                  <a:lnTo>
                                    <a:pt x="65009" y="139794"/>
                                  </a:lnTo>
                                  <a:lnTo>
                                    <a:pt x="41806" y="139794"/>
                                  </a:lnTo>
                                  <a:lnTo>
                                    <a:pt x="0" y="0"/>
                                  </a:lnTo>
                                  <a:lnTo>
                                    <a:pt x="27604" y="0"/>
                                  </a:lnTo>
                                  <a:lnTo>
                                    <a:pt x="55807" y="99653"/>
                                  </a:lnTo>
                                  <a:lnTo>
                                    <a:pt x="87011" y="0"/>
                                  </a:lnTo>
                                  <a:lnTo>
                                    <a:pt x="111414" y="0"/>
                                  </a:lnTo>
                                  <a:lnTo>
                                    <a:pt x="143418" y="99853"/>
                                  </a:lnTo>
                                  <a:lnTo>
                                    <a:pt x="171422" y="0"/>
                                  </a:lnTo>
                                  <a:lnTo>
                                    <a:pt x="195025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B3B3B3"/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<a:prstTxWarp prst="textNoShape">
                                <a:avLst/>
                              </a:prstTxWarp>
                              <a:noAutofit/>
                            </a:bodyPr>
                            <a:lstStyle>
                              <a:defPPr>
                                <a:defRPr lang="uk-UA"/>
                              </a:defPPr>
                              <a:lvl1pPr>
                                <a:defRPr sz="2000" b="1" kern="100">
                                  <a:solidFill>
                                    <a:srgbClr val="7AC7EA"/>
                                  </a:solidFill>
                                  <a:effectLst/>
                                  <a:latin typeface="Circe Bold" panose="020B0602020203020203" pitchFamily="34" charset="-52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defRPr>
                              </a:lvl1pPr>
                            </a:lstStyle>
                            <a:p>
                              <a:endParaRPr lang="uk-UA" sz="1000" dirty="0"/>
                            </a:p>
                          </p:txBody>
                        </p:sp>
                        <p:sp>
                          <p:nvSpPr>
                            <p:cNvPr id="97" name="TextBox 96">
                              <a:extLst>
                                <a:ext uri="{FF2B5EF4-FFF2-40B4-BE49-F238E27FC236}">
                                  <a16:creationId xmlns:a16="http://schemas.microsoft.com/office/drawing/2014/main" id="{D75BB6CC-FE48-25CD-F086-25354B957D8D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>
                            <a:xfrm rot="16200000">
                              <a:off x="9994650" y="5182514"/>
                              <a:ext cx="171946" cy="169998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1393" h="139792">
                                  <a:moveTo>
                                    <a:pt x="141393" y="0"/>
                                  </a:moveTo>
                                  <a:lnTo>
                                    <a:pt x="141393" y="139792"/>
                                  </a:lnTo>
                                  <a:lnTo>
                                    <a:pt x="117015" y="139792"/>
                                  </a:lnTo>
                                  <a:lnTo>
                                    <a:pt x="117015" y="38742"/>
                                  </a:lnTo>
                                  <a:lnTo>
                                    <a:pt x="72798" y="100850"/>
                                  </a:lnTo>
                                  <a:lnTo>
                                    <a:pt x="69196" y="100850"/>
                                  </a:lnTo>
                                  <a:lnTo>
                                    <a:pt x="24578" y="39341"/>
                                  </a:lnTo>
                                  <a:lnTo>
                                    <a:pt x="24578" y="139792"/>
                                  </a:lnTo>
                                  <a:lnTo>
                                    <a:pt x="0" y="139792"/>
                                  </a:lnTo>
                                  <a:lnTo>
                                    <a:pt x="0" y="0"/>
                                  </a:lnTo>
                                  <a:lnTo>
                                    <a:pt x="24778" y="0"/>
                                  </a:lnTo>
                                  <a:lnTo>
                                    <a:pt x="72597" y="65302"/>
                                  </a:lnTo>
                                  <a:lnTo>
                                    <a:pt x="118214" y="0"/>
                                  </a:lnTo>
                                  <a:lnTo>
                                    <a:pt x="141393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B3B3B3"/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<a:prstTxWarp prst="textNoShape">
                                <a:avLst/>
                              </a:prstTxWarp>
                              <a:noAutofit/>
                            </a:bodyPr>
                            <a:lstStyle>
                              <a:defPPr>
                                <a:defRPr lang="uk-UA"/>
                              </a:defPPr>
                              <a:lvl1pPr>
                                <a:defRPr sz="5400" b="1" kern="100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effectLst/>
                                  <a:latin typeface="Circe Bold" panose="020B0602020203020203" pitchFamily="34" charset="-52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defRPr>
                              </a:lvl1pPr>
                            </a:lstStyle>
                            <a:p>
                              <a:endParaRPr lang="uk-UA" sz="400" dirty="0">
                                <a:solidFill>
                                  <a:srgbClr val="7AC7EA"/>
                                </a:solidFill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93" name="Групувати 92">
                            <a:extLst>
                              <a:ext uri="{FF2B5EF4-FFF2-40B4-BE49-F238E27FC236}">
                                <a16:creationId xmlns:a16="http://schemas.microsoft.com/office/drawing/2014/main" id="{EFE6814E-24E4-2FCF-7B52-08A621C5116C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9822759" y="6146836"/>
                            <a:ext cx="134480" cy="320277"/>
                            <a:chOff x="9995622" y="5023112"/>
                            <a:chExt cx="169998" cy="404867"/>
                          </a:xfrm>
                          <a:solidFill>
                            <a:srgbClr val="A7B6C9"/>
                          </a:solidFill>
                        </p:grpSpPr>
                        <p:sp>
                          <p:nvSpPr>
                            <p:cNvPr id="94" name="TextBox 93">
                              <a:extLst>
                                <a:ext uri="{FF2B5EF4-FFF2-40B4-BE49-F238E27FC236}">
                                  <a16:creationId xmlns:a16="http://schemas.microsoft.com/office/drawing/2014/main" id="{D65672FC-E337-09C5-917C-69CFDE577593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>
                            <a:xfrm rot="16200000">
                              <a:off x="9966050" y="5055166"/>
                              <a:ext cx="226372" cy="162263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95025" h="139794">
                                  <a:moveTo>
                                    <a:pt x="195025" y="0"/>
                                  </a:moveTo>
                                  <a:lnTo>
                                    <a:pt x="155020" y="139794"/>
                                  </a:lnTo>
                                  <a:lnTo>
                                    <a:pt x="132017" y="139794"/>
                                  </a:lnTo>
                                  <a:lnTo>
                                    <a:pt x="98213" y="38743"/>
                                  </a:lnTo>
                                  <a:lnTo>
                                    <a:pt x="65009" y="139794"/>
                                  </a:lnTo>
                                  <a:lnTo>
                                    <a:pt x="41806" y="139794"/>
                                  </a:lnTo>
                                  <a:lnTo>
                                    <a:pt x="0" y="0"/>
                                  </a:lnTo>
                                  <a:lnTo>
                                    <a:pt x="27604" y="0"/>
                                  </a:lnTo>
                                  <a:lnTo>
                                    <a:pt x="55807" y="99653"/>
                                  </a:lnTo>
                                  <a:lnTo>
                                    <a:pt x="87011" y="0"/>
                                  </a:lnTo>
                                  <a:lnTo>
                                    <a:pt x="111414" y="0"/>
                                  </a:lnTo>
                                  <a:lnTo>
                                    <a:pt x="143418" y="99853"/>
                                  </a:lnTo>
                                  <a:lnTo>
                                    <a:pt x="171422" y="0"/>
                                  </a:lnTo>
                                  <a:lnTo>
                                    <a:pt x="195025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B3B3B3"/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<a:prstTxWarp prst="textNoShape">
                                <a:avLst/>
                              </a:prstTxWarp>
                              <a:noAutofit/>
                            </a:bodyPr>
                            <a:lstStyle>
                              <a:defPPr>
                                <a:defRPr lang="uk-UA"/>
                              </a:defPPr>
                              <a:lvl1pPr>
                                <a:defRPr sz="2000" b="1" kern="100">
                                  <a:solidFill>
                                    <a:srgbClr val="7AC7EA"/>
                                  </a:solidFill>
                                  <a:effectLst/>
                                  <a:latin typeface="Circe Bold" panose="020B0602020203020203" pitchFamily="34" charset="-52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defRPr>
                              </a:lvl1pPr>
                            </a:lstStyle>
                            <a:p>
                              <a:endParaRPr lang="uk-UA" sz="1000" dirty="0"/>
                            </a:p>
                          </p:txBody>
                        </p:sp>
                        <p:sp>
                          <p:nvSpPr>
                            <p:cNvPr id="95" name="TextBox 94">
                              <a:extLst>
                                <a:ext uri="{FF2B5EF4-FFF2-40B4-BE49-F238E27FC236}">
                                  <a16:creationId xmlns:a16="http://schemas.microsoft.com/office/drawing/2014/main" id="{4488DD61-CC29-2CB8-FF6E-A41C0C2057B8}"/>
                                </a:ext>
                              </a:extLst>
                            </p:cNvPr>
                            <p:cNvSpPr txBox="1"/>
                            <p:nvPr/>
                          </p:nvSpPr>
                          <p:spPr>
                            <a:xfrm rot="16200000">
                              <a:off x="9994649" y="5257008"/>
                              <a:ext cx="171944" cy="169998"/>
                            </a:xfrm>
                            <a:custGeom>
                              <a:avLst/>
                              <a:gdLst/>
                              <a:ahLst/>
                              <a:cxnLst/>
                              <a:rect l="l" t="t" r="r" b="b"/>
                              <a:pathLst>
                                <a:path w="141393" h="139792">
                                  <a:moveTo>
                                    <a:pt x="141393" y="0"/>
                                  </a:moveTo>
                                  <a:lnTo>
                                    <a:pt x="141393" y="139792"/>
                                  </a:lnTo>
                                  <a:lnTo>
                                    <a:pt x="117015" y="139792"/>
                                  </a:lnTo>
                                  <a:lnTo>
                                    <a:pt x="117015" y="38742"/>
                                  </a:lnTo>
                                  <a:lnTo>
                                    <a:pt x="72798" y="100850"/>
                                  </a:lnTo>
                                  <a:lnTo>
                                    <a:pt x="69196" y="100850"/>
                                  </a:lnTo>
                                  <a:lnTo>
                                    <a:pt x="24578" y="39341"/>
                                  </a:lnTo>
                                  <a:lnTo>
                                    <a:pt x="24578" y="139792"/>
                                  </a:lnTo>
                                  <a:lnTo>
                                    <a:pt x="0" y="139792"/>
                                  </a:lnTo>
                                  <a:lnTo>
                                    <a:pt x="0" y="0"/>
                                  </a:lnTo>
                                  <a:lnTo>
                                    <a:pt x="24778" y="0"/>
                                  </a:lnTo>
                                  <a:lnTo>
                                    <a:pt x="72597" y="65302"/>
                                  </a:lnTo>
                                  <a:lnTo>
                                    <a:pt x="118214" y="0"/>
                                  </a:lnTo>
                                  <a:lnTo>
                                    <a:pt x="141393" y="0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B3B3B3"/>
                            </a:solidFill>
                            <a:ln>
                              <a:noFill/>
                            </a:ln>
                            <a:effectLst/>
                          </p:spPr>
                          <p:txBody>
          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          <a:prstTxWarp prst="textNoShape">
                                <a:avLst/>
                              </a:prstTxWarp>
                              <a:noAutofit/>
                            </a:bodyPr>
                            <a:lstStyle>
                              <a:defPPr>
                                <a:defRPr lang="uk-UA"/>
                              </a:defPPr>
                              <a:lvl1pPr>
                                <a:defRPr sz="5400" b="1" kern="100">
                                  <a:solidFill>
                                    <a:schemeClr val="bg2">
                                      <a:lumMod val="50000"/>
                                    </a:schemeClr>
                                  </a:solidFill>
                                  <a:effectLst/>
                                  <a:latin typeface="Circe Bold" panose="020B0602020203020203" pitchFamily="34" charset="-52"/>
                                  <a:ea typeface="Aptos" panose="020B0004020202020204" pitchFamily="34" charset="0"/>
                                  <a:cs typeface="Times New Roman" panose="02020603050405020304" pitchFamily="18" charset="0"/>
                                </a:defRPr>
                              </a:lvl1pPr>
                            </a:lstStyle>
                            <a:p>
                              <a:endParaRPr lang="uk-UA" sz="400" dirty="0">
                                <a:solidFill>
                                  <a:srgbClr val="7AC7EA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</p:grpSp>
                  <p:grpSp>
                    <p:nvGrpSpPr>
                      <p:cNvPr id="72" name="Групувати 71">
                        <a:extLst>
                          <a:ext uri="{FF2B5EF4-FFF2-40B4-BE49-F238E27FC236}">
                            <a16:creationId xmlns:a16="http://schemas.microsoft.com/office/drawing/2014/main" id="{8343F15A-018E-A173-C3BC-4319CFFD70A9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632306" y="4142829"/>
                        <a:ext cx="1559644" cy="664513"/>
                        <a:chOff x="8537614" y="3755613"/>
                        <a:chExt cx="1559644" cy="664513"/>
                      </a:xfrm>
                    </p:grpSpPr>
                    <p:sp>
                      <p:nvSpPr>
                        <p:cNvPr id="76" name="Прямокутник: округлені кути 75">
                          <a:extLst>
                            <a:ext uri="{FF2B5EF4-FFF2-40B4-BE49-F238E27FC236}">
                              <a16:creationId xmlns:a16="http://schemas.microsoft.com/office/drawing/2014/main" id="{9E90BAA8-E367-CD35-B717-7471D6948D6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8537614" y="3755613"/>
                          <a:ext cx="1559644" cy="628503"/>
                        </a:xfrm>
                        <a:prstGeom prst="round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15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uk-UA" sz="1400" dirty="0"/>
                        </a:p>
                      </p:txBody>
                    </p:sp>
                    <p:sp>
                      <p:nvSpPr>
                        <p:cNvPr id="77" name="TextBox 76">
                          <a:extLst>
                            <a:ext uri="{FF2B5EF4-FFF2-40B4-BE49-F238E27FC236}">
                              <a16:creationId xmlns:a16="http://schemas.microsoft.com/office/drawing/2014/main" id="{3C80B3A9-039A-879C-C085-69E54E164350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8572181" y="3766997"/>
                          <a:ext cx="1489698" cy="65312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en-US" sz="105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COMPRESSOR</a:t>
                          </a:r>
                        </a:p>
                        <a:p>
                          <a:pPr algn="ctr"/>
                          <a:r>
                            <a:rPr lang="en-US" sz="105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UNITS</a:t>
                          </a:r>
                          <a:endParaRPr lang="uk-UA" sz="105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p:txBody>
                    </p:sp>
                  </p:grpSp>
                  <p:grpSp>
                    <p:nvGrpSpPr>
                      <p:cNvPr id="73" name="Групувати 72">
                        <a:extLst>
                          <a:ext uri="{FF2B5EF4-FFF2-40B4-BE49-F238E27FC236}">
                            <a16:creationId xmlns:a16="http://schemas.microsoft.com/office/drawing/2014/main" id="{33089FFE-B748-884F-F4D5-A243CD8A836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0318253" y="4142356"/>
                        <a:ext cx="1538042" cy="664986"/>
                        <a:chOff x="10318253" y="4142356"/>
                        <a:chExt cx="1538042" cy="664986"/>
                      </a:xfrm>
                    </p:grpSpPr>
                    <p:sp>
                      <p:nvSpPr>
                        <p:cNvPr id="74" name="Прямокутник: округлені кути 73">
                          <a:extLst>
                            <a:ext uri="{FF2B5EF4-FFF2-40B4-BE49-F238E27FC236}">
                              <a16:creationId xmlns:a16="http://schemas.microsoft.com/office/drawing/2014/main" id="{C4834D85-C20B-3283-A92B-3BDDFC6702E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0318253" y="4142356"/>
                          <a:ext cx="1538042" cy="632841"/>
                        </a:xfrm>
                        <a:prstGeom prst="roundRect">
                          <a:avLst/>
                        </a:prstGeom>
                        <a:solidFill>
                          <a:schemeClr val="bg1"/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15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uk-UA" sz="1400" dirty="0"/>
                        </a:p>
                      </p:txBody>
                    </p:sp>
                    <p:sp>
                      <p:nvSpPr>
                        <p:cNvPr id="75" name="TextBox 74">
                          <a:extLst>
                            <a:ext uri="{FF2B5EF4-FFF2-40B4-BE49-F238E27FC236}">
                              <a16:creationId xmlns:a16="http://schemas.microsoft.com/office/drawing/2014/main" id="{A53D8B43-7F04-185A-249F-C1BD7DB006D3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10342912" y="4154213"/>
                          <a:ext cx="1489698" cy="653129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pPr algn="ctr"/>
                          <a:r>
                            <a:rPr lang="en-US" sz="105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COMPRESSOR</a:t>
                          </a:r>
                        </a:p>
                        <a:p>
                          <a:pPr algn="ctr"/>
                          <a:r>
                            <a:rPr lang="en-US" sz="105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CAPACITY </a:t>
                          </a:r>
                          <a:endParaRPr lang="uk-UA" sz="105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p:txBody>
                    </p:sp>
                  </p:grpSp>
                </p:grpSp>
              </p:grpSp>
              <p:grpSp>
                <p:nvGrpSpPr>
                  <p:cNvPr id="58" name="Групувати 57">
                    <a:extLst>
                      <a:ext uri="{FF2B5EF4-FFF2-40B4-BE49-F238E27FC236}">
                        <a16:creationId xmlns:a16="http://schemas.microsoft.com/office/drawing/2014/main" id="{D649382E-57AE-3B94-B28A-0C1EEEC21C11}"/>
                      </a:ext>
                    </a:extLst>
                  </p:cNvPr>
                  <p:cNvGrpSpPr/>
                  <p:nvPr/>
                </p:nvGrpSpPr>
                <p:grpSpPr>
                  <a:xfrm>
                    <a:off x="3337779" y="5574094"/>
                    <a:ext cx="566640" cy="223802"/>
                    <a:chOff x="5330858" y="5596339"/>
                    <a:chExt cx="504857" cy="199399"/>
                  </a:xfrm>
                </p:grpSpPr>
                <p:sp>
                  <p:nvSpPr>
                    <p:cNvPr id="64" name="TextBox 63">
                      <a:extLst>
                        <a:ext uri="{FF2B5EF4-FFF2-40B4-BE49-F238E27FC236}">
                          <a16:creationId xmlns:a16="http://schemas.microsoft.com/office/drawing/2014/main" id="{604723C4-B666-189A-8936-670F614BD2B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30858" y="5596339"/>
                      <a:ext cx="133935" cy="19939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33935" h="199399">
                          <a:moveTo>
                            <a:pt x="66829" y="0"/>
                          </a:moveTo>
                          <a:cubicBezTo>
                            <a:pt x="84399" y="217"/>
                            <a:pt x="98993" y="4886"/>
                            <a:pt x="110611" y="14007"/>
                          </a:cubicBezTo>
                          <a:cubicBezTo>
                            <a:pt x="122229" y="23127"/>
                            <a:pt x="128256" y="35393"/>
                            <a:pt x="128692" y="50804"/>
                          </a:cubicBezTo>
                          <a:cubicBezTo>
                            <a:pt x="128623" y="60426"/>
                            <a:pt x="126002" y="69374"/>
                            <a:pt x="120827" y="77648"/>
                          </a:cubicBezTo>
                          <a:cubicBezTo>
                            <a:pt x="115653" y="85921"/>
                            <a:pt x="108340" y="92172"/>
                            <a:pt x="98888" y="96402"/>
                          </a:cubicBezTo>
                          <a:lnTo>
                            <a:pt x="98888" y="97231"/>
                          </a:lnTo>
                          <a:cubicBezTo>
                            <a:pt x="108679" y="99285"/>
                            <a:pt x="116901" y="104361"/>
                            <a:pt x="123552" y="112458"/>
                          </a:cubicBezTo>
                          <a:cubicBezTo>
                            <a:pt x="130204" y="120554"/>
                            <a:pt x="133665" y="130947"/>
                            <a:pt x="133935" y="143637"/>
                          </a:cubicBezTo>
                          <a:cubicBezTo>
                            <a:pt x="133499" y="161544"/>
                            <a:pt x="127058" y="175290"/>
                            <a:pt x="114613" y="184876"/>
                          </a:cubicBezTo>
                          <a:cubicBezTo>
                            <a:pt x="102167" y="194461"/>
                            <a:pt x="86331" y="199302"/>
                            <a:pt x="67106" y="199399"/>
                          </a:cubicBezTo>
                          <a:cubicBezTo>
                            <a:pt x="47869" y="199245"/>
                            <a:pt x="31987" y="194519"/>
                            <a:pt x="19461" y="185221"/>
                          </a:cubicBezTo>
                          <a:cubicBezTo>
                            <a:pt x="6934" y="175923"/>
                            <a:pt x="448" y="162983"/>
                            <a:pt x="0" y="146399"/>
                          </a:cubicBezTo>
                          <a:cubicBezTo>
                            <a:pt x="207" y="133882"/>
                            <a:pt x="3381" y="123420"/>
                            <a:pt x="9520" y="115013"/>
                          </a:cubicBezTo>
                          <a:cubicBezTo>
                            <a:pt x="15660" y="106605"/>
                            <a:pt x="23524" y="100770"/>
                            <a:pt x="33113" y="97507"/>
                          </a:cubicBezTo>
                          <a:lnTo>
                            <a:pt x="33113" y="96678"/>
                          </a:lnTo>
                          <a:cubicBezTo>
                            <a:pt x="25445" y="93404"/>
                            <a:pt x="18983" y="87797"/>
                            <a:pt x="13728" y="79858"/>
                          </a:cubicBezTo>
                          <a:cubicBezTo>
                            <a:pt x="8474" y="71919"/>
                            <a:pt x="5738" y="62234"/>
                            <a:pt x="5519" y="50804"/>
                          </a:cubicBezTo>
                          <a:cubicBezTo>
                            <a:pt x="5949" y="35393"/>
                            <a:pt x="11919" y="23127"/>
                            <a:pt x="23427" y="14007"/>
                          </a:cubicBezTo>
                          <a:cubicBezTo>
                            <a:pt x="34936" y="4886"/>
                            <a:pt x="49403" y="217"/>
                            <a:pt x="66829" y="0"/>
                          </a:cubicBezTo>
                          <a:close/>
                          <a:moveTo>
                            <a:pt x="66553" y="31731"/>
                          </a:moveTo>
                          <a:cubicBezTo>
                            <a:pt x="58158" y="31858"/>
                            <a:pt x="51525" y="34161"/>
                            <a:pt x="46654" y="38641"/>
                          </a:cubicBezTo>
                          <a:cubicBezTo>
                            <a:pt x="41783" y="43122"/>
                            <a:pt x="39296" y="49018"/>
                            <a:pt x="39192" y="56332"/>
                          </a:cubicBezTo>
                          <a:cubicBezTo>
                            <a:pt x="39302" y="63052"/>
                            <a:pt x="41639" y="68823"/>
                            <a:pt x="46205" y="73643"/>
                          </a:cubicBezTo>
                          <a:cubicBezTo>
                            <a:pt x="50771" y="78463"/>
                            <a:pt x="56909" y="80985"/>
                            <a:pt x="64618" y="81210"/>
                          </a:cubicBezTo>
                          <a:lnTo>
                            <a:pt x="69869" y="81210"/>
                          </a:lnTo>
                          <a:cubicBezTo>
                            <a:pt x="77314" y="80985"/>
                            <a:pt x="83291" y="78463"/>
                            <a:pt x="87799" y="73643"/>
                          </a:cubicBezTo>
                          <a:cubicBezTo>
                            <a:pt x="92307" y="68823"/>
                            <a:pt x="94622" y="63052"/>
                            <a:pt x="94743" y="56332"/>
                          </a:cubicBezTo>
                          <a:cubicBezTo>
                            <a:pt x="94604" y="48414"/>
                            <a:pt x="91979" y="42344"/>
                            <a:pt x="86866" y="38123"/>
                          </a:cubicBezTo>
                          <a:cubicBezTo>
                            <a:pt x="81753" y="33902"/>
                            <a:pt x="74982" y="31771"/>
                            <a:pt x="66553" y="31731"/>
                          </a:cubicBezTo>
                          <a:close/>
                          <a:moveTo>
                            <a:pt x="65171" y="112976"/>
                          </a:moveTo>
                          <a:cubicBezTo>
                            <a:pt x="56736" y="113045"/>
                            <a:pt x="49493" y="115462"/>
                            <a:pt x="43442" y="120226"/>
                          </a:cubicBezTo>
                          <a:cubicBezTo>
                            <a:pt x="37390" y="124991"/>
                            <a:pt x="34224" y="131690"/>
                            <a:pt x="33941" y="140322"/>
                          </a:cubicBezTo>
                          <a:cubicBezTo>
                            <a:pt x="34016" y="148108"/>
                            <a:pt x="36907" y="154565"/>
                            <a:pt x="42613" y="159692"/>
                          </a:cubicBezTo>
                          <a:cubicBezTo>
                            <a:pt x="48318" y="164820"/>
                            <a:pt x="56391" y="167478"/>
                            <a:pt x="66829" y="167668"/>
                          </a:cubicBezTo>
                          <a:cubicBezTo>
                            <a:pt x="78276" y="167495"/>
                            <a:pt x="86751" y="164871"/>
                            <a:pt x="92255" y="159796"/>
                          </a:cubicBezTo>
                          <a:cubicBezTo>
                            <a:pt x="97759" y="154720"/>
                            <a:pt x="100431" y="148229"/>
                            <a:pt x="100270" y="140322"/>
                          </a:cubicBezTo>
                          <a:cubicBezTo>
                            <a:pt x="99936" y="131327"/>
                            <a:pt x="96942" y="124525"/>
                            <a:pt x="91288" y="119916"/>
                          </a:cubicBezTo>
                          <a:cubicBezTo>
                            <a:pt x="85634" y="115306"/>
                            <a:pt x="78494" y="112993"/>
                            <a:pt x="69869" y="112976"/>
                          </a:cubicBezTo>
                          <a:lnTo>
                            <a:pt x="65171" y="112976"/>
                          </a:ln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  <p:sp>
                  <p:nvSpPr>
                    <p:cNvPr id="65" name="TextBox 64">
                      <a:extLst>
                        <a:ext uri="{FF2B5EF4-FFF2-40B4-BE49-F238E27FC236}">
                          <a16:creationId xmlns:a16="http://schemas.microsoft.com/office/drawing/2014/main" id="{789A5418-B45C-00F5-B5B5-3C8D4DB5A17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483114" y="5599653"/>
                      <a:ext cx="123162" cy="19608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3162" h="196085">
                          <a:moveTo>
                            <a:pt x="29004" y="0"/>
                          </a:moveTo>
                          <a:lnTo>
                            <a:pt x="120403" y="0"/>
                          </a:lnTo>
                          <a:lnTo>
                            <a:pt x="120403" y="31732"/>
                          </a:lnTo>
                          <a:lnTo>
                            <a:pt x="56903" y="31732"/>
                          </a:lnTo>
                          <a:lnTo>
                            <a:pt x="51378" y="69884"/>
                          </a:lnTo>
                          <a:cubicBezTo>
                            <a:pt x="52926" y="69597"/>
                            <a:pt x="54664" y="69344"/>
                            <a:pt x="56592" y="69125"/>
                          </a:cubicBezTo>
                          <a:cubicBezTo>
                            <a:pt x="58520" y="68907"/>
                            <a:pt x="60465" y="68792"/>
                            <a:pt x="62427" y="68780"/>
                          </a:cubicBezTo>
                          <a:cubicBezTo>
                            <a:pt x="79940" y="68963"/>
                            <a:pt x="94343" y="74460"/>
                            <a:pt x="105636" y="85272"/>
                          </a:cubicBezTo>
                          <a:cubicBezTo>
                            <a:pt x="116930" y="96084"/>
                            <a:pt x="122772" y="111113"/>
                            <a:pt x="123162" y="130361"/>
                          </a:cubicBezTo>
                          <a:cubicBezTo>
                            <a:pt x="123021" y="144306"/>
                            <a:pt x="119992" y="156167"/>
                            <a:pt x="114075" y="165942"/>
                          </a:cubicBezTo>
                          <a:cubicBezTo>
                            <a:pt x="108159" y="175718"/>
                            <a:pt x="100201" y="183176"/>
                            <a:pt x="90203" y="188317"/>
                          </a:cubicBezTo>
                          <a:cubicBezTo>
                            <a:pt x="80204" y="193457"/>
                            <a:pt x="69012" y="196047"/>
                            <a:pt x="56627" y="196085"/>
                          </a:cubicBezTo>
                          <a:cubicBezTo>
                            <a:pt x="45946" y="196074"/>
                            <a:pt x="35403" y="193752"/>
                            <a:pt x="24999" y="189118"/>
                          </a:cubicBezTo>
                          <a:cubicBezTo>
                            <a:pt x="14594" y="184485"/>
                            <a:pt x="6262" y="177610"/>
                            <a:pt x="0" y="168493"/>
                          </a:cubicBezTo>
                          <a:lnTo>
                            <a:pt x="18231" y="144456"/>
                          </a:lnTo>
                          <a:cubicBezTo>
                            <a:pt x="22576" y="150605"/>
                            <a:pt x="28319" y="155441"/>
                            <a:pt x="35461" y="158965"/>
                          </a:cubicBezTo>
                          <a:cubicBezTo>
                            <a:pt x="42602" y="162489"/>
                            <a:pt x="49934" y="164285"/>
                            <a:pt x="57455" y="164354"/>
                          </a:cubicBezTo>
                          <a:cubicBezTo>
                            <a:pt x="66876" y="164187"/>
                            <a:pt x="74483" y="161136"/>
                            <a:pt x="80278" y="155199"/>
                          </a:cubicBezTo>
                          <a:cubicBezTo>
                            <a:pt x="86073" y="149263"/>
                            <a:pt x="89054" y="141444"/>
                            <a:pt x="89221" y="131743"/>
                          </a:cubicBezTo>
                          <a:cubicBezTo>
                            <a:pt x="89129" y="121851"/>
                            <a:pt x="85515" y="113721"/>
                            <a:pt x="78379" y="107353"/>
                          </a:cubicBezTo>
                          <a:cubicBezTo>
                            <a:pt x="71243" y="100985"/>
                            <a:pt x="61138" y="97692"/>
                            <a:pt x="48064" y="97473"/>
                          </a:cubicBezTo>
                          <a:cubicBezTo>
                            <a:pt x="41664" y="97525"/>
                            <a:pt x="35541" y="98043"/>
                            <a:pt x="29695" y="99028"/>
                          </a:cubicBezTo>
                          <a:cubicBezTo>
                            <a:pt x="23848" y="100012"/>
                            <a:pt x="19382" y="101152"/>
                            <a:pt x="16298" y="102448"/>
                          </a:cubicBezTo>
                          <a:lnTo>
                            <a:pt x="29004" y="0"/>
                          </a:ln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  <p:sp>
                  <p:nvSpPr>
                    <p:cNvPr id="66" name="TextBox 65">
                      <a:extLst>
                        <a:ext uri="{FF2B5EF4-FFF2-40B4-BE49-F238E27FC236}">
                          <a16:creationId xmlns:a16="http://schemas.microsoft.com/office/drawing/2014/main" id="{60C3C94D-9B5F-9787-14C5-D200A24675C1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690732" y="5599653"/>
                      <a:ext cx="144983" cy="19304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44983" h="193047">
                          <a:moveTo>
                            <a:pt x="74581" y="0"/>
                          </a:moveTo>
                          <a:lnTo>
                            <a:pt x="111018" y="0"/>
                          </a:lnTo>
                          <a:lnTo>
                            <a:pt x="41157" y="116567"/>
                          </a:lnTo>
                          <a:lnTo>
                            <a:pt x="88392" y="116567"/>
                          </a:lnTo>
                          <a:lnTo>
                            <a:pt x="88392" y="68780"/>
                          </a:lnTo>
                          <a:lnTo>
                            <a:pt x="120123" y="68780"/>
                          </a:lnTo>
                          <a:lnTo>
                            <a:pt x="120123" y="116567"/>
                          </a:lnTo>
                          <a:lnTo>
                            <a:pt x="144983" y="116567"/>
                          </a:lnTo>
                          <a:lnTo>
                            <a:pt x="144983" y="148299"/>
                          </a:lnTo>
                          <a:lnTo>
                            <a:pt x="120123" y="148299"/>
                          </a:lnTo>
                          <a:lnTo>
                            <a:pt x="120123" y="193047"/>
                          </a:lnTo>
                          <a:lnTo>
                            <a:pt x="88392" y="193047"/>
                          </a:lnTo>
                          <a:lnTo>
                            <a:pt x="88392" y="148299"/>
                          </a:lnTo>
                          <a:lnTo>
                            <a:pt x="0" y="148299"/>
                          </a:lnTo>
                          <a:lnTo>
                            <a:pt x="0" y="124845"/>
                          </a:lnTo>
                          <a:lnTo>
                            <a:pt x="74581" y="0"/>
                          </a:ln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  <p:sp>
                  <p:nvSpPr>
                    <p:cNvPr id="67" name="TextBox 66">
                      <a:extLst>
                        <a:ext uri="{FF2B5EF4-FFF2-40B4-BE49-F238E27FC236}">
                          <a16:creationId xmlns:a16="http://schemas.microsoft.com/office/drawing/2014/main" id="{DDE1E616-111F-C1D8-D337-90BDD6F0C84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632344" y="5751577"/>
                      <a:ext cx="42227" cy="4250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42227" h="42504">
                          <a:moveTo>
                            <a:pt x="22079" y="0"/>
                          </a:moveTo>
                          <a:cubicBezTo>
                            <a:pt x="28111" y="247"/>
                            <a:pt x="32953" y="2444"/>
                            <a:pt x="36604" y="6589"/>
                          </a:cubicBezTo>
                          <a:cubicBezTo>
                            <a:pt x="40255" y="10735"/>
                            <a:pt x="42130" y="15347"/>
                            <a:pt x="42227" y="20424"/>
                          </a:cubicBezTo>
                          <a:cubicBezTo>
                            <a:pt x="42130" y="26295"/>
                            <a:pt x="40255" y="31389"/>
                            <a:pt x="36604" y="35708"/>
                          </a:cubicBezTo>
                          <a:cubicBezTo>
                            <a:pt x="32953" y="40026"/>
                            <a:pt x="28111" y="42291"/>
                            <a:pt x="22079" y="42504"/>
                          </a:cubicBezTo>
                          <a:cubicBezTo>
                            <a:pt x="15122" y="42291"/>
                            <a:pt x="9717" y="40026"/>
                            <a:pt x="5865" y="35708"/>
                          </a:cubicBezTo>
                          <a:cubicBezTo>
                            <a:pt x="2012" y="31389"/>
                            <a:pt x="57" y="26295"/>
                            <a:pt x="0" y="20424"/>
                          </a:cubicBezTo>
                          <a:cubicBezTo>
                            <a:pt x="57" y="15347"/>
                            <a:pt x="2012" y="10735"/>
                            <a:pt x="5865" y="6589"/>
                          </a:cubicBezTo>
                          <a:cubicBezTo>
                            <a:pt x="9717" y="2444"/>
                            <a:pt x="15122" y="247"/>
                            <a:pt x="22079" y="0"/>
                          </a:cubicBez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</p:grpSp>
              <p:grpSp>
                <p:nvGrpSpPr>
                  <p:cNvPr id="59" name="Групувати 58">
                    <a:extLst>
                      <a:ext uri="{FF2B5EF4-FFF2-40B4-BE49-F238E27FC236}">
                        <a16:creationId xmlns:a16="http://schemas.microsoft.com/office/drawing/2014/main" id="{47F76753-CD40-EAFA-1C65-EC854CE9B330}"/>
                      </a:ext>
                    </a:extLst>
                  </p:cNvPr>
                  <p:cNvGrpSpPr/>
                  <p:nvPr/>
                </p:nvGrpSpPr>
                <p:grpSpPr>
                  <a:xfrm>
                    <a:off x="3381861" y="5916912"/>
                    <a:ext cx="503266" cy="223802"/>
                    <a:chOff x="5341168" y="5954898"/>
                    <a:chExt cx="448394" cy="199399"/>
                  </a:xfrm>
                </p:grpSpPr>
                <p:sp>
                  <p:nvSpPr>
                    <p:cNvPr id="60" name="TextBox 59">
                      <a:extLst>
                        <a:ext uri="{FF2B5EF4-FFF2-40B4-BE49-F238E27FC236}">
                          <a16:creationId xmlns:a16="http://schemas.microsoft.com/office/drawing/2014/main" id="{8C811ACF-73A4-AC34-DCD7-2837569F8DA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665019" y="5954898"/>
                      <a:ext cx="124543" cy="19939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4543" h="199399">
                          <a:moveTo>
                            <a:pt x="61599" y="0"/>
                          </a:moveTo>
                          <a:cubicBezTo>
                            <a:pt x="78411" y="148"/>
                            <a:pt x="91803" y="4541"/>
                            <a:pt x="101774" y="13179"/>
                          </a:cubicBezTo>
                          <a:cubicBezTo>
                            <a:pt x="111746" y="21816"/>
                            <a:pt x="116852" y="33805"/>
                            <a:pt x="117093" y="49145"/>
                          </a:cubicBezTo>
                          <a:cubicBezTo>
                            <a:pt x="117087" y="60075"/>
                            <a:pt x="114615" y="69380"/>
                            <a:pt x="109676" y="77061"/>
                          </a:cubicBezTo>
                          <a:cubicBezTo>
                            <a:pt x="104738" y="84741"/>
                            <a:pt x="97367" y="90728"/>
                            <a:pt x="87564" y="95021"/>
                          </a:cubicBezTo>
                          <a:lnTo>
                            <a:pt x="87564" y="95850"/>
                          </a:lnTo>
                          <a:cubicBezTo>
                            <a:pt x="99609" y="98151"/>
                            <a:pt x="108774" y="103492"/>
                            <a:pt x="115057" y="111871"/>
                          </a:cubicBezTo>
                          <a:cubicBezTo>
                            <a:pt x="121341" y="120249"/>
                            <a:pt x="124503" y="130286"/>
                            <a:pt x="124543" y="141979"/>
                          </a:cubicBezTo>
                          <a:cubicBezTo>
                            <a:pt x="124136" y="159956"/>
                            <a:pt x="118052" y="173979"/>
                            <a:pt x="106293" y="184048"/>
                          </a:cubicBezTo>
                          <a:cubicBezTo>
                            <a:pt x="94533" y="194116"/>
                            <a:pt x="79543" y="199233"/>
                            <a:pt x="61322" y="199399"/>
                          </a:cubicBezTo>
                          <a:cubicBezTo>
                            <a:pt x="46475" y="199267"/>
                            <a:pt x="33838" y="196290"/>
                            <a:pt x="23411" y="190466"/>
                          </a:cubicBezTo>
                          <a:cubicBezTo>
                            <a:pt x="12983" y="184643"/>
                            <a:pt x="5180" y="176767"/>
                            <a:pt x="0" y="166839"/>
                          </a:cubicBezTo>
                          <a:lnTo>
                            <a:pt x="17955" y="143637"/>
                          </a:lnTo>
                          <a:cubicBezTo>
                            <a:pt x="22858" y="150922"/>
                            <a:pt x="28866" y="156723"/>
                            <a:pt x="35979" y="161039"/>
                          </a:cubicBezTo>
                          <a:cubicBezTo>
                            <a:pt x="43092" y="165355"/>
                            <a:pt x="50895" y="167565"/>
                            <a:pt x="59389" y="167668"/>
                          </a:cubicBezTo>
                          <a:cubicBezTo>
                            <a:pt x="69753" y="167467"/>
                            <a:pt x="77545" y="164831"/>
                            <a:pt x="82764" y="159761"/>
                          </a:cubicBezTo>
                          <a:cubicBezTo>
                            <a:pt x="87984" y="154691"/>
                            <a:pt x="90596" y="148396"/>
                            <a:pt x="90602" y="140874"/>
                          </a:cubicBezTo>
                          <a:cubicBezTo>
                            <a:pt x="90504" y="132001"/>
                            <a:pt x="87316" y="125233"/>
                            <a:pt x="81038" y="120572"/>
                          </a:cubicBezTo>
                          <a:cubicBezTo>
                            <a:pt x="74760" y="115910"/>
                            <a:pt x="65978" y="113563"/>
                            <a:pt x="54693" y="113528"/>
                          </a:cubicBezTo>
                          <a:lnTo>
                            <a:pt x="40882" y="113528"/>
                          </a:lnTo>
                          <a:lnTo>
                            <a:pt x="40882" y="81762"/>
                          </a:lnTo>
                          <a:lnTo>
                            <a:pt x="53312" y="81762"/>
                          </a:lnTo>
                          <a:cubicBezTo>
                            <a:pt x="61443" y="81693"/>
                            <a:pt x="68383" y="79343"/>
                            <a:pt x="74132" y="74714"/>
                          </a:cubicBezTo>
                          <a:cubicBezTo>
                            <a:pt x="79881" y="70084"/>
                            <a:pt x="82885" y="63588"/>
                            <a:pt x="83144" y="55226"/>
                          </a:cubicBezTo>
                          <a:cubicBezTo>
                            <a:pt x="83156" y="48201"/>
                            <a:pt x="81130" y="42557"/>
                            <a:pt x="77067" y="38296"/>
                          </a:cubicBezTo>
                          <a:cubicBezTo>
                            <a:pt x="73004" y="34034"/>
                            <a:pt x="66835" y="31846"/>
                            <a:pt x="58560" y="31731"/>
                          </a:cubicBezTo>
                          <a:cubicBezTo>
                            <a:pt x="50878" y="31714"/>
                            <a:pt x="44076" y="33407"/>
                            <a:pt x="38154" y="36810"/>
                          </a:cubicBezTo>
                          <a:cubicBezTo>
                            <a:pt x="32232" y="40214"/>
                            <a:pt x="26881" y="45431"/>
                            <a:pt x="22098" y="52462"/>
                          </a:cubicBezTo>
                          <a:lnTo>
                            <a:pt x="4420" y="30075"/>
                          </a:lnTo>
                          <a:cubicBezTo>
                            <a:pt x="9737" y="20251"/>
                            <a:pt x="17264" y="12790"/>
                            <a:pt x="27001" y="7691"/>
                          </a:cubicBezTo>
                          <a:cubicBezTo>
                            <a:pt x="36738" y="2592"/>
                            <a:pt x="48271" y="28"/>
                            <a:pt x="61599" y="0"/>
                          </a:cubicBez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  <p:sp>
                  <p:nvSpPr>
                    <p:cNvPr id="61" name="TextBox 60">
                      <a:extLst>
                        <a:ext uri="{FF2B5EF4-FFF2-40B4-BE49-F238E27FC236}">
                          <a16:creationId xmlns:a16="http://schemas.microsoft.com/office/drawing/2014/main" id="{CB38CFD3-5B0A-6355-F1B2-DB3B3AB79F2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41168" y="5958212"/>
                      <a:ext cx="123162" cy="19608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3162" h="196085">
                          <a:moveTo>
                            <a:pt x="29004" y="0"/>
                          </a:moveTo>
                          <a:lnTo>
                            <a:pt x="120403" y="0"/>
                          </a:lnTo>
                          <a:lnTo>
                            <a:pt x="120403" y="31732"/>
                          </a:lnTo>
                          <a:lnTo>
                            <a:pt x="56903" y="31732"/>
                          </a:lnTo>
                          <a:lnTo>
                            <a:pt x="51378" y="69884"/>
                          </a:lnTo>
                          <a:cubicBezTo>
                            <a:pt x="52926" y="69597"/>
                            <a:pt x="54664" y="69344"/>
                            <a:pt x="56592" y="69125"/>
                          </a:cubicBezTo>
                          <a:cubicBezTo>
                            <a:pt x="58520" y="68907"/>
                            <a:pt x="60465" y="68792"/>
                            <a:pt x="62427" y="68780"/>
                          </a:cubicBezTo>
                          <a:cubicBezTo>
                            <a:pt x="79940" y="68963"/>
                            <a:pt x="94343" y="74460"/>
                            <a:pt x="105636" y="85272"/>
                          </a:cubicBezTo>
                          <a:cubicBezTo>
                            <a:pt x="116930" y="96084"/>
                            <a:pt x="122772" y="111113"/>
                            <a:pt x="123162" y="130361"/>
                          </a:cubicBezTo>
                          <a:cubicBezTo>
                            <a:pt x="123021" y="144306"/>
                            <a:pt x="119992" y="156167"/>
                            <a:pt x="114075" y="165942"/>
                          </a:cubicBezTo>
                          <a:cubicBezTo>
                            <a:pt x="108159" y="175718"/>
                            <a:pt x="100201" y="183176"/>
                            <a:pt x="90203" y="188317"/>
                          </a:cubicBezTo>
                          <a:cubicBezTo>
                            <a:pt x="80204" y="193457"/>
                            <a:pt x="69012" y="196047"/>
                            <a:pt x="56627" y="196085"/>
                          </a:cubicBezTo>
                          <a:cubicBezTo>
                            <a:pt x="45946" y="196074"/>
                            <a:pt x="35403" y="193752"/>
                            <a:pt x="24999" y="189118"/>
                          </a:cubicBezTo>
                          <a:cubicBezTo>
                            <a:pt x="14594" y="184485"/>
                            <a:pt x="6262" y="177610"/>
                            <a:pt x="0" y="168493"/>
                          </a:cubicBezTo>
                          <a:lnTo>
                            <a:pt x="18231" y="144456"/>
                          </a:lnTo>
                          <a:cubicBezTo>
                            <a:pt x="22576" y="150605"/>
                            <a:pt x="28319" y="155441"/>
                            <a:pt x="35461" y="158965"/>
                          </a:cubicBezTo>
                          <a:cubicBezTo>
                            <a:pt x="42602" y="162489"/>
                            <a:pt x="49934" y="164285"/>
                            <a:pt x="57455" y="164354"/>
                          </a:cubicBezTo>
                          <a:cubicBezTo>
                            <a:pt x="66876" y="164187"/>
                            <a:pt x="74483" y="161136"/>
                            <a:pt x="80278" y="155199"/>
                          </a:cubicBezTo>
                          <a:cubicBezTo>
                            <a:pt x="86073" y="149263"/>
                            <a:pt x="89054" y="141444"/>
                            <a:pt x="89221" y="131743"/>
                          </a:cubicBezTo>
                          <a:cubicBezTo>
                            <a:pt x="89129" y="121851"/>
                            <a:pt x="85515" y="113721"/>
                            <a:pt x="78379" y="107353"/>
                          </a:cubicBezTo>
                          <a:cubicBezTo>
                            <a:pt x="71243" y="100985"/>
                            <a:pt x="61138" y="97692"/>
                            <a:pt x="48064" y="97473"/>
                          </a:cubicBezTo>
                          <a:cubicBezTo>
                            <a:pt x="41664" y="97525"/>
                            <a:pt x="35541" y="98043"/>
                            <a:pt x="29695" y="99028"/>
                          </a:cubicBezTo>
                          <a:cubicBezTo>
                            <a:pt x="23848" y="100012"/>
                            <a:pt x="19382" y="101152"/>
                            <a:pt x="16298" y="102448"/>
                          </a:cubicBezTo>
                          <a:lnTo>
                            <a:pt x="29004" y="0"/>
                          </a:ln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  <p:sp>
                  <p:nvSpPr>
                    <p:cNvPr id="62" name="TextBox 61">
                      <a:extLst>
                        <a:ext uri="{FF2B5EF4-FFF2-40B4-BE49-F238E27FC236}">
                          <a16:creationId xmlns:a16="http://schemas.microsoft.com/office/drawing/2014/main" id="{AD77D2F5-8866-5792-E0FB-BF721ECB914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484856" y="5958212"/>
                      <a:ext cx="121539" cy="193047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21539" h="193047">
                          <a:moveTo>
                            <a:pt x="0" y="0"/>
                          </a:moveTo>
                          <a:lnTo>
                            <a:pt x="121539" y="0"/>
                          </a:lnTo>
                          <a:lnTo>
                            <a:pt x="121539" y="21246"/>
                          </a:lnTo>
                          <a:lnTo>
                            <a:pt x="53035" y="193047"/>
                          </a:lnTo>
                          <a:lnTo>
                            <a:pt x="18231" y="193047"/>
                          </a:lnTo>
                          <a:lnTo>
                            <a:pt x="83420" y="31732"/>
                          </a:lnTo>
                          <a:lnTo>
                            <a:pt x="0" y="3173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  <p:sp>
                  <p:nvSpPr>
                    <p:cNvPr id="63" name="TextBox 62">
                      <a:extLst>
                        <a:ext uri="{FF2B5EF4-FFF2-40B4-BE49-F238E27FC236}">
                          <a16:creationId xmlns:a16="http://schemas.microsoft.com/office/drawing/2014/main" id="{40CAE744-CFDB-72E8-5136-ADAEB0A4FD8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604698" y="6110136"/>
                      <a:ext cx="42227" cy="42504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42227" h="42504">
                          <a:moveTo>
                            <a:pt x="22079" y="0"/>
                          </a:moveTo>
                          <a:cubicBezTo>
                            <a:pt x="28111" y="247"/>
                            <a:pt x="32953" y="2444"/>
                            <a:pt x="36604" y="6589"/>
                          </a:cubicBezTo>
                          <a:cubicBezTo>
                            <a:pt x="40255" y="10735"/>
                            <a:pt x="42130" y="15347"/>
                            <a:pt x="42227" y="20424"/>
                          </a:cubicBezTo>
                          <a:cubicBezTo>
                            <a:pt x="42130" y="26295"/>
                            <a:pt x="40255" y="31389"/>
                            <a:pt x="36604" y="35708"/>
                          </a:cubicBezTo>
                          <a:cubicBezTo>
                            <a:pt x="32953" y="40026"/>
                            <a:pt x="28111" y="42291"/>
                            <a:pt x="22079" y="42504"/>
                          </a:cubicBezTo>
                          <a:cubicBezTo>
                            <a:pt x="15122" y="42291"/>
                            <a:pt x="9717" y="40026"/>
                            <a:pt x="5865" y="35708"/>
                          </a:cubicBezTo>
                          <a:cubicBezTo>
                            <a:pt x="2012" y="31389"/>
                            <a:pt x="57" y="26295"/>
                            <a:pt x="0" y="20424"/>
                          </a:cubicBezTo>
                          <a:cubicBezTo>
                            <a:pt x="57" y="15347"/>
                            <a:pt x="2012" y="10735"/>
                            <a:pt x="5865" y="6589"/>
                          </a:cubicBezTo>
                          <a:cubicBezTo>
                            <a:pt x="9717" y="2444"/>
                            <a:pt x="15122" y="247"/>
                            <a:pt x="22079" y="0"/>
                          </a:cubicBezTo>
                          <a:close/>
                        </a:path>
                      </a:pathLst>
                    </a:custGeom>
                    <a:solidFill>
                      <a:srgbClr val="909090"/>
                    </a:solidFill>
                    <a:ln>
                      <a:noFill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uk-UA" sz="2200" dirty="0">
                        <a:solidFill>
                          <a:srgbClr val="78C2E0"/>
                        </a:solidFill>
                        <a:latin typeface="Circe Bold" panose="020B0602020203020203" pitchFamily="34" charset="-52"/>
                      </a:endParaRPr>
                    </a:p>
                  </p:txBody>
                </p:sp>
              </p:grpSp>
            </p:grpSp>
            <p:grpSp>
              <p:nvGrpSpPr>
                <p:cNvPr id="132" name="Групувати 131">
                  <a:extLst>
                    <a:ext uri="{FF2B5EF4-FFF2-40B4-BE49-F238E27FC236}">
                      <a16:creationId xmlns:a16="http://schemas.microsoft.com/office/drawing/2014/main" id="{2FBB547C-4046-A069-8514-00947D8ED323}"/>
                    </a:ext>
                  </a:extLst>
                </p:cNvPr>
                <p:cNvGrpSpPr/>
                <p:nvPr/>
              </p:nvGrpSpPr>
              <p:grpSpPr>
                <a:xfrm>
                  <a:off x="9406989" y="2536782"/>
                  <a:ext cx="62604" cy="65370"/>
                  <a:chOff x="3930839" y="1020215"/>
                  <a:chExt cx="98270" cy="102612"/>
                </a:xfrm>
              </p:grpSpPr>
              <p:sp>
                <p:nvSpPr>
                  <p:cNvPr id="133" name="TextBox 132">
                    <a:extLst>
                      <a:ext uri="{FF2B5EF4-FFF2-40B4-BE49-F238E27FC236}">
                        <a16:creationId xmlns:a16="http://schemas.microsoft.com/office/drawing/2014/main" id="{CC15669E-3F48-FAD8-B3AA-ECE0D9C7C195}"/>
                      </a:ext>
                    </a:extLst>
                  </p:cNvPr>
                  <p:cNvSpPr txBox="1"/>
                  <p:nvPr/>
                </p:nvSpPr>
                <p:spPr>
                  <a:xfrm>
                    <a:off x="3963757" y="1020215"/>
                    <a:ext cx="33119" cy="3311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119" h="33119">
                        <a:moveTo>
                          <a:pt x="16674" y="0"/>
                        </a:moveTo>
                        <a:cubicBezTo>
                          <a:pt x="21256" y="129"/>
                          <a:pt x="25110" y="1756"/>
                          <a:pt x="28237" y="4882"/>
                        </a:cubicBezTo>
                        <a:cubicBezTo>
                          <a:pt x="31363" y="8009"/>
                          <a:pt x="32991" y="11863"/>
                          <a:pt x="33119" y="16445"/>
                        </a:cubicBezTo>
                        <a:cubicBezTo>
                          <a:pt x="32991" y="21237"/>
                          <a:pt x="31363" y="25186"/>
                          <a:pt x="28237" y="28294"/>
                        </a:cubicBezTo>
                        <a:cubicBezTo>
                          <a:pt x="25110" y="31401"/>
                          <a:pt x="21256" y="33009"/>
                          <a:pt x="16674" y="33119"/>
                        </a:cubicBezTo>
                        <a:cubicBezTo>
                          <a:pt x="11882" y="33009"/>
                          <a:pt x="7933" y="31401"/>
                          <a:pt x="4825" y="28294"/>
                        </a:cubicBezTo>
                        <a:cubicBezTo>
                          <a:pt x="1718" y="25186"/>
                          <a:pt x="110" y="21237"/>
                          <a:pt x="0" y="16445"/>
                        </a:cubicBezTo>
                        <a:cubicBezTo>
                          <a:pt x="110" y="11863"/>
                          <a:pt x="1718" y="8009"/>
                          <a:pt x="4825" y="4882"/>
                        </a:cubicBezTo>
                        <a:cubicBezTo>
                          <a:pt x="7933" y="1756"/>
                          <a:pt x="11882" y="129"/>
                          <a:pt x="16674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dirty="0">
                      <a:latin typeface="Circe Bold" panose="020B0602020203020203" pitchFamily="34" charset="-52"/>
                    </a:endParaRPr>
                  </a:p>
                </p:txBody>
              </p:sp>
              <p:sp>
                <p:nvSpPr>
                  <p:cNvPr id="134" name="TextBox 133">
                    <a:extLst>
                      <a:ext uri="{FF2B5EF4-FFF2-40B4-BE49-F238E27FC236}">
                        <a16:creationId xmlns:a16="http://schemas.microsoft.com/office/drawing/2014/main" id="{616DEB69-7247-C9D4-B332-4C460CAD955C}"/>
                      </a:ext>
                    </a:extLst>
                  </p:cNvPr>
                  <p:cNvSpPr txBox="1"/>
                  <p:nvPr/>
                </p:nvSpPr>
                <p:spPr>
                  <a:xfrm>
                    <a:off x="3930839" y="1035974"/>
                    <a:ext cx="33375" cy="331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375" h="33144">
                        <a:moveTo>
                          <a:pt x="16460" y="0"/>
                        </a:moveTo>
                        <a:cubicBezTo>
                          <a:pt x="21265" y="138"/>
                          <a:pt x="25256" y="1803"/>
                          <a:pt x="28432" y="4996"/>
                        </a:cubicBezTo>
                        <a:cubicBezTo>
                          <a:pt x="31609" y="8189"/>
                          <a:pt x="33256" y="12082"/>
                          <a:pt x="33375" y="16674"/>
                        </a:cubicBezTo>
                        <a:cubicBezTo>
                          <a:pt x="33256" y="21363"/>
                          <a:pt x="31609" y="25252"/>
                          <a:pt x="28432" y="28340"/>
                        </a:cubicBezTo>
                        <a:cubicBezTo>
                          <a:pt x="25256" y="31429"/>
                          <a:pt x="21265" y="33030"/>
                          <a:pt x="16460" y="33144"/>
                        </a:cubicBezTo>
                        <a:cubicBezTo>
                          <a:pt x="11873" y="33030"/>
                          <a:pt x="8016" y="31429"/>
                          <a:pt x="4887" y="28340"/>
                        </a:cubicBezTo>
                        <a:cubicBezTo>
                          <a:pt x="1758" y="25252"/>
                          <a:pt x="129" y="21363"/>
                          <a:pt x="0" y="16674"/>
                        </a:cubicBezTo>
                        <a:cubicBezTo>
                          <a:pt x="129" y="12082"/>
                          <a:pt x="1758" y="8189"/>
                          <a:pt x="4887" y="4996"/>
                        </a:cubicBezTo>
                        <a:cubicBezTo>
                          <a:pt x="8016" y="1803"/>
                          <a:pt x="11873" y="138"/>
                          <a:pt x="16460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dirty="0">
                      <a:latin typeface="Circe Bold" panose="020B0602020203020203" pitchFamily="34" charset="-52"/>
                    </a:endParaRPr>
                  </a:p>
                </p:txBody>
              </p:sp>
              <p:sp>
                <p:nvSpPr>
                  <p:cNvPr id="135" name="TextBox 134">
                    <a:extLst>
                      <a:ext uri="{FF2B5EF4-FFF2-40B4-BE49-F238E27FC236}">
                        <a16:creationId xmlns:a16="http://schemas.microsoft.com/office/drawing/2014/main" id="{C3932717-5B4F-13F0-301C-D25E7FB83C81}"/>
                      </a:ext>
                    </a:extLst>
                  </p:cNvPr>
                  <p:cNvSpPr txBox="1"/>
                  <p:nvPr/>
                </p:nvSpPr>
                <p:spPr>
                  <a:xfrm>
                    <a:off x="3995734" y="1035974"/>
                    <a:ext cx="33375" cy="3314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375" h="33144">
                        <a:moveTo>
                          <a:pt x="16687" y="0"/>
                        </a:moveTo>
                        <a:cubicBezTo>
                          <a:pt x="21383" y="138"/>
                          <a:pt x="25307" y="1803"/>
                          <a:pt x="28460" y="4996"/>
                        </a:cubicBezTo>
                        <a:cubicBezTo>
                          <a:pt x="31613" y="8189"/>
                          <a:pt x="33251" y="12082"/>
                          <a:pt x="33375" y="16674"/>
                        </a:cubicBezTo>
                        <a:cubicBezTo>
                          <a:pt x="33251" y="21363"/>
                          <a:pt x="31613" y="25252"/>
                          <a:pt x="28460" y="28340"/>
                        </a:cubicBezTo>
                        <a:cubicBezTo>
                          <a:pt x="25307" y="31429"/>
                          <a:pt x="21383" y="33030"/>
                          <a:pt x="16687" y="33144"/>
                        </a:cubicBezTo>
                        <a:cubicBezTo>
                          <a:pt x="12091" y="33030"/>
                          <a:pt x="8196" y="31429"/>
                          <a:pt x="5000" y="28340"/>
                        </a:cubicBezTo>
                        <a:cubicBezTo>
                          <a:pt x="1805" y="25252"/>
                          <a:pt x="138" y="21363"/>
                          <a:pt x="0" y="16674"/>
                        </a:cubicBezTo>
                        <a:cubicBezTo>
                          <a:pt x="138" y="12082"/>
                          <a:pt x="1805" y="8189"/>
                          <a:pt x="5000" y="4996"/>
                        </a:cubicBezTo>
                        <a:cubicBezTo>
                          <a:pt x="8196" y="1803"/>
                          <a:pt x="12091" y="138"/>
                          <a:pt x="16687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dirty="0">
                      <a:latin typeface="Circe Bold" panose="020B0602020203020203" pitchFamily="34" charset="-52"/>
                    </a:endParaRPr>
                  </a:p>
                </p:txBody>
              </p:sp>
              <p:sp>
                <p:nvSpPr>
                  <p:cNvPr id="136" name="TextBox 135">
                    <a:extLst>
                      <a:ext uri="{FF2B5EF4-FFF2-40B4-BE49-F238E27FC236}">
                        <a16:creationId xmlns:a16="http://schemas.microsoft.com/office/drawing/2014/main" id="{274F83CA-CB99-AB73-8573-70FC4C70F1D8}"/>
                      </a:ext>
                    </a:extLst>
                  </p:cNvPr>
                  <p:cNvSpPr txBox="1"/>
                  <p:nvPr/>
                </p:nvSpPr>
                <p:spPr>
                  <a:xfrm>
                    <a:off x="3930839" y="1073008"/>
                    <a:ext cx="33375" cy="3314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375" h="33146">
                        <a:moveTo>
                          <a:pt x="16460" y="0"/>
                        </a:moveTo>
                        <a:cubicBezTo>
                          <a:pt x="21265" y="133"/>
                          <a:pt x="25256" y="1811"/>
                          <a:pt x="28432" y="5033"/>
                        </a:cubicBezTo>
                        <a:cubicBezTo>
                          <a:pt x="31609" y="8255"/>
                          <a:pt x="33256" y="12220"/>
                          <a:pt x="33375" y="16929"/>
                        </a:cubicBezTo>
                        <a:cubicBezTo>
                          <a:pt x="33256" y="21502"/>
                          <a:pt x="31609" y="25318"/>
                          <a:pt x="28432" y="28378"/>
                        </a:cubicBezTo>
                        <a:cubicBezTo>
                          <a:pt x="25256" y="31437"/>
                          <a:pt x="21265" y="33027"/>
                          <a:pt x="16460" y="33146"/>
                        </a:cubicBezTo>
                        <a:cubicBezTo>
                          <a:pt x="11873" y="33027"/>
                          <a:pt x="8016" y="31437"/>
                          <a:pt x="4887" y="28378"/>
                        </a:cubicBezTo>
                        <a:cubicBezTo>
                          <a:pt x="1758" y="25318"/>
                          <a:pt x="129" y="21502"/>
                          <a:pt x="0" y="16929"/>
                        </a:cubicBezTo>
                        <a:cubicBezTo>
                          <a:pt x="129" y="12220"/>
                          <a:pt x="1758" y="8255"/>
                          <a:pt x="4887" y="5033"/>
                        </a:cubicBezTo>
                        <a:cubicBezTo>
                          <a:pt x="8016" y="1811"/>
                          <a:pt x="11873" y="133"/>
                          <a:pt x="16460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dirty="0">
                      <a:latin typeface="Circe Bold" panose="020B0602020203020203" pitchFamily="34" charset="-52"/>
                    </a:endParaRPr>
                  </a:p>
                </p:txBody>
              </p:sp>
              <p:sp>
                <p:nvSpPr>
                  <p:cNvPr id="137" name="TextBox 136">
                    <a:extLst>
                      <a:ext uri="{FF2B5EF4-FFF2-40B4-BE49-F238E27FC236}">
                        <a16:creationId xmlns:a16="http://schemas.microsoft.com/office/drawing/2014/main" id="{1330CF5B-37CC-BE15-3C85-337B8DC07E76}"/>
                      </a:ext>
                    </a:extLst>
                  </p:cNvPr>
                  <p:cNvSpPr txBox="1"/>
                  <p:nvPr/>
                </p:nvSpPr>
                <p:spPr>
                  <a:xfrm>
                    <a:off x="3995734" y="1073008"/>
                    <a:ext cx="33375" cy="3314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3375" h="33146">
                        <a:moveTo>
                          <a:pt x="16687" y="0"/>
                        </a:moveTo>
                        <a:cubicBezTo>
                          <a:pt x="21383" y="133"/>
                          <a:pt x="25307" y="1811"/>
                          <a:pt x="28460" y="5033"/>
                        </a:cubicBezTo>
                        <a:cubicBezTo>
                          <a:pt x="31613" y="8255"/>
                          <a:pt x="33251" y="12220"/>
                          <a:pt x="33375" y="16929"/>
                        </a:cubicBezTo>
                        <a:cubicBezTo>
                          <a:pt x="33251" y="21502"/>
                          <a:pt x="31613" y="25318"/>
                          <a:pt x="28460" y="28378"/>
                        </a:cubicBezTo>
                        <a:cubicBezTo>
                          <a:pt x="25307" y="31437"/>
                          <a:pt x="21383" y="33027"/>
                          <a:pt x="16687" y="33146"/>
                        </a:cubicBezTo>
                        <a:cubicBezTo>
                          <a:pt x="12091" y="33027"/>
                          <a:pt x="8196" y="31437"/>
                          <a:pt x="5000" y="28378"/>
                        </a:cubicBezTo>
                        <a:cubicBezTo>
                          <a:pt x="1805" y="25318"/>
                          <a:pt x="138" y="21502"/>
                          <a:pt x="0" y="16929"/>
                        </a:cubicBezTo>
                        <a:cubicBezTo>
                          <a:pt x="138" y="12220"/>
                          <a:pt x="1805" y="8255"/>
                          <a:pt x="5000" y="5033"/>
                        </a:cubicBezTo>
                        <a:cubicBezTo>
                          <a:pt x="8196" y="1811"/>
                          <a:pt x="12091" y="133"/>
                          <a:pt x="16687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dirty="0">
                      <a:latin typeface="Circe Bold" panose="020B0602020203020203" pitchFamily="34" charset="-52"/>
                    </a:endParaRPr>
                  </a:p>
                </p:txBody>
              </p:sp>
              <p:sp>
                <p:nvSpPr>
                  <p:cNvPr id="138" name="TextBox 137">
                    <a:extLst>
                      <a:ext uri="{FF2B5EF4-FFF2-40B4-BE49-F238E27FC236}">
                        <a16:creationId xmlns:a16="http://schemas.microsoft.com/office/drawing/2014/main" id="{1E4D8660-AC19-F68A-9777-A1EA81199C4D}"/>
                      </a:ext>
                    </a:extLst>
                  </p:cNvPr>
                  <p:cNvSpPr txBox="1"/>
                  <p:nvPr/>
                </p:nvSpPr>
                <p:spPr>
                  <a:xfrm>
                    <a:off x="3963301" y="1089709"/>
                    <a:ext cx="32889" cy="3311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2889" h="33118">
                        <a:moveTo>
                          <a:pt x="16445" y="0"/>
                        </a:moveTo>
                        <a:cubicBezTo>
                          <a:pt x="21027" y="133"/>
                          <a:pt x="24881" y="1808"/>
                          <a:pt x="28007" y="5025"/>
                        </a:cubicBezTo>
                        <a:cubicBezTo>
                          <a:pt x="31134" y="8241"/>
                          <a:pt x="32761" y="12200"/>
                          <a:pt x="32889" y="16901"/>
                        </a:cubicBezTo>
                        <a:cubicBezTo>
                          <a:pt x="32761" y="21474"/>
                          <a:pt x="31134" y="25291"/>
                          <a:pt x="28007" y="28350"/>
                        </a:cubicBezTo>
                        <a:cubicBezTo>
                          <a:pt x="24881" y="31410"/>
                          <a:pt x="21027" y="32999"/>
                          <a:pt x="16445" y="33118"/>
                        </a:cubicBezTo>
                        <a:cubicBezTo>
                          <a:pt x="11762" y="32999"/>
                          <a:pt x="7879" y="31410"/>
                          <a:pt x="4796" y="28350"/>
                        </a:cubicBezTo>
                        <a:cubicBezTo>
                          <a:pt x="1713" y="25291"/>
                          <a:pt x="114" y="21474"/>
                          <a:pt x="0" y="16901"/>
                        </a:cubicBezTo>
                        <a:cubicBezTo>
                          <a:pt x="114" y="12200"/>
                          <a:pt x="1713" y="8241"/>
                          <a:pt x="4796" y="5025"/>
                        </a:cubicBezTo>
                        <a:cubicBezTo>
                          <a:pt x="7879" y="1808"/>
                          <a:pt x="11762" y="133"/>
                          <a:pt x="16445" y="0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25000"/>
                    </a:schemeClr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uk-UA" dirty="0">
                      <a:latin typeface="Circe Bold" panose="020B0602020203020203" pitchFamily="34" charset="-52"/>
                    </a:endParaRPr>
                  </a:p>
                </p:txBody>
              </p:sp>
            </p:grpSp>
          </p:grpSp>
          <p:grpSp>
            <p:nvGrpSpPr>
              <p:cNvPr id="395" name="Групувати 394">
                <a:extLst>
                  <a:ext uri="{FF2B5EF4-FFF2-40B4-BE49-F238E27FC236}">
                    <a16:creationId xmlns:a16="http://schemas.microsoft.com/office/drawing/2014/main" id="{4E53A342-743B-D347-EB82-F4D0A2B0D0E3}"/>
                  </a:ext>
                </a:extLst>
              </p:cNvPr>
              <p:cNvGrpSpPr/>
              <p:nvPr/>
            </p:nvGrpSpPr>
            <p:grpSpPr>
              <a:xfrm>
                <a:off x="6023209" y="5643115"/>
                <a:ext cx="3440799" cy="1006510"/>
                <a:chOff x="6007849" y="5739170"/>
                <a:chExt cx="3440799" cy="1006510"/>
              </a:xfrm>
            </p:grpSpPr>
            <p:sp>
              <p:nvSpPr>
                <p:cNvPr id="280" name="Прямокутник: округлені кути 279">
                  <a:extLst>
                    <a:ext uri="{FF2B5EF4-FFF2-40B4-BE49-F238E27FC236}">
                      <a16:creationId xmlns:a16="http://schemas.microsoft.com/office/drawing/2014/main" id="{838C449F-9C5E-8E41-72C7-EDB439E96FD8}"/>
                    </a:ext>
                  </a:extLst>
                </p:cNvPr>
                <p:cNvSpPr/>
                <p:nvPr/>
              </p:nvSpPr>
              <p:spPr>
                <a:xfrm>
                  <a:off x="6007849" y="5739170"/>
                  <a:ext cx="3440799" cy="1006510"/>
                </a:xfrm>
                <a:prstGeom prst="roundRect">
                  <a:avLst>
                    <a:gd name="adj" fmla="val 18750"/>
                  </a:avLst>
                </a:prstGeom>
                <a:solidFill>
                  <a:schemeClr val="bg1"/>
                </a:solidFill>
                <a:ln>
                  <a:solidFill>
                    <a:srgbClr val="57B3D8"/>
                  </a:solidFill>
                  <a:prstDash val="dash"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grpSp>
              <p:nvGrpSpPr>
                <p:cNvPr id="188" name="Групувати 187">
                  <a:extLst>
                    <a:ext uri="{FF2B5EF4-FFF2-40B4-BE49-F238E27FC236}">
                      <a16:creationId xmlns:a16="http://schemas.microsoft.com/office/drawing/2014/main" id="{7BD52966-7DC0-008E-2E82-178B56F3324D}"/>
                    </a:ext>
                  </a:extLst>
                </p:cNvPr>
                <p:cNvGrpSpPr/>
                <p:nvPr/>
              </p:nvGrpSpPr>
              <p:grpSpPr>
                <a:xfrm>
                  <a:off x="7561638" y="5947004"/>
                  <a:ext cx="330754" cy="228318"/>
                  <a:chOff x="7760970" y="14507994"/>
                  <a:chExt cx="925766" cy="639056"/>
                </a:xfrm>
                <a:solidFill>
                  <a:srgbClr val="909090"/>
                </a:solidFill>
              </p:grpSpPr>
              <p:sp>
                <p:nvSpPr>
                  <p:cNvPr id="222" name="Полілінія: фігура 221">
                    <a:extLst>
                      <a:ext uri="{FF2B5EF4-FFF2-40B4-BE49-F238E27FC236}">
                        <a16:creationId xmlns:a16="http://schemas.microsoft.com/office/drawing/2014/main" id="{1EEC2EFD-B583-A9A5-1B89-D0F52177CA39}"/>
                      </a:ext>
                    </a:extLst>
                  </p:cNvPr>
                  <p:cNvSpPr/>
                  <p:nvPr/>
                </p:nvSpPr>
                <p:spPr>
                  <a:xfrm>
                    <a:off x="7760970" y="14507998"/>
                    <a:ext cx="479946" cy="639052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79946" h="639051">
                        <a:moveTo>
                          <a:pt x="246888" y="0"/>
                        </a:moveTo>
                        <a:lnTo>
                          <a:pt x="367508" y="0"/>
                        </a:lnTo>
                        <a:lnTo>
                          <a:pt x="136246" y="385876"/>
                        </a:lnTo>
                        <a:lnTo>
                          <a:pt x="292608" y="385876"/>
                        </a:lnTo>
                        <a:lnTo>
                          <a:pt x="292608" y="227685"/>
                        </a:lnTo>
                        <a:lnTo>
                          <a:pt x="397650" y="227685"/>
                        </a:lnTo>
                        <a:lnTo>
                          <a:pt x="397650" y="385876"/>
                        </a:lnTo>
                        <a:lnTo>
                          <a:pt x="479946" y="385876"/>
                        </a:lnTo>
                        <a:lnTo>
                          <a:pt x="479946" y="490918"/>
                        </a:lnTo>
                        <a:lnTo>
                          <a:pt x="397650" y="490918"/>
                        </a:lnTo>
                        <a:lnTo>
                          <a:pt x="397650" y="639051"/>
                        </a:lnTo>
                        <a:lnTo>
                          <a:pt x="292608" y="639051"/>
                        </a:lnTo>
                        <a:lnTo>
                          <a:pt x="292608" y="490918"/>
                        </a:lnTo>
                        <a:lnTo>
                          <a:pt x="0" y="490918"/>
                        </a:lnTo>
                        <a:lnTo>
                          <a:pt x="0" y="413278"/>
                        </a:lnTo>
                        <a:lnTo>
                          <a:pt x="24688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  <p:sp>
                <p:nvSpPr>
                  <p:cNvPr id="223" name="Полілінія: фігура 222">
                    <a:extLst>
                      <a:ext uri="{FF2B5EF4-FFF2-40B4-BE49-F238E27FC236}">
                        <a16:creationId xmlns:a16="http://schemas.microsoft.com/office/drawing/2014/main" id="{080A761F-3D19-0DA9-0B42-EE1D0A34ACF6}"/>
                      </a:ext>
                    </a:extLst>
                  </p:cNvPr>
                  <p:cNvSpPr/>
                  <p:nvPr/>
                </p:nvSpPr>
                <p:spPr>
                  <a:xfrm>
                    <a:off x="8284400" y="14507994"/>
                    <a:ext cx="402336" cy="63905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2336" h="639051">
                        <a:moveTo>
                          <a:pt x="0" y="0"/>
                        </a:moveTo>
                        <a:lnTo>
                          <a:pt x="402336" y="0"/>
                        </a:lnTo>
                        <a:lnTo>
                          <a:pt x="402336" y="70332"/>
                        </a:lnTo>
                        <a:lnTo>
                          <a:pt x="175565" y="639051"/>
                        </a:lnTo>
                        <a:lnTo>
                          <a:pt x="60350" y="639051"/>
                        </a:lnTo>
                        <a:lnTo>
                          <a:pt x="276149" y="105041"/>
                        </a:lnTo>
                        <a:lnTo>
                          <a:pt x="0" y="10504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</p:grpSp>
            <p:grpSp>
              <p:nvGrpSpPr>
                <p:cNvPr id="207" name="Групувати 206">
                  <a:extLst>
                    <a:ext uri="{FF2B5EF4-FFF2-40B4-BE49-F238E27FC236}">
                      <a16:creationId xmlns:a16="http://schemas.microsoft.com/office/drawing/2014/main" id="{A551BA5A-7791-6654-CA8C-08980FE796E2}"/>
                    </a:ext>
                  </a:extLst>
                </p:cNvPr>
                <p:cNvGrpSpPr/>
                <p:nvPr/>
              </p:nvGrpSpPr>
              <p:grpSpPr>
                <a:xfrm>
                  <a:off x="8563252" y="5923293"/>
                  <a:ext cx="528814" cy="218985"/>
                  <a:chOff x="16369152" y="10297530"/>
                  <a:chExt cx="1434509" cy="657340"/>
                </a:xfrm>
                <a:solidFill>
                  <a:srgbClr val="909090"/>
                </a:solidFill>
              </p:grpSpPr>
              <p:sp>
                <p:nvSpPr>
                  <p:cNvPr id="219" name="Полілінія: фігура 218">
                    <a:extLst>
                      <a:ext uri="{FF2B5EF4-FFF2-40B4-BE49-F238E27FC236}">
                        <a16:creationId xmlns:a16="http://schemas.microsoft.com/office/drawing/2014/main" id="{C0463F6C-C6AC-6B5B-3DB0-15869286AA5F}"/>
                      </a:ext>
                    </a:extLst>
                  </p:cNvPr>
                  <p:cNvSpPr/>
                  <p:nvPr/>
                </p:nvSpPr>
                <p:spPr>
                  <a:xfrm>
                    <a:off x="17374914" y="10297530"/>
                    <a:ext cx="428747" cy="65459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28747" h="654596">
                        <a:moveTo>
                          <a:pt x="214831" y="0"/>
                        </a:moveTo>
                        <a:cubicBezTo>
                          <a:pt x="287757" y="1404"/>
                          <a:pt x="341699" y="31488"/>
                          <a:pt x="376655" y="90251"/>
                        </a:cubicBezTo>
                        <a:cubicBezTo>
                          <a:pt x="411611" y="149014"/>
                          <a:pt x="428975" y="228030"/>
                          <a:pt x="428743" y="327299"/>
                        </a:cubicBezTo>
                        <a:cubicBezTo>
                          <a:pt x="429051" y="426568"/>
                          <a:pt x="411993" y="505584"/>
                          <a:pt x="377569" y="564346"/>
                        </a:cubicBezTo>
                        <a:cubicBezTo>
                          <a:pt x="343145" y="623108"/>
                          <a:pt x="289509" y="653192"/>
                          <a:pt x="216661" y="654596"/>
                        </a:cubicBezTo>
                        <a:cubicBezTo>
                          <a:pt x="143219" y="653192"/>
                          <a:pt x="88705" y="623108"/>
                          <a:pt x="53119" y="564346"/>
                        </a:cubicBezTo>
                        <a:cubicBezTo>
                          <a:pt x="17533" y="505584"/>
                          <a:pt x="-171" y="426568"/>
                          <a:pt x="3" y="327299"/>
                        </a:cubicBezTo>
                        <a:cubicBezTo>
                          <a:pt x="-247" y="228030"/>
                          <a:pt x="17153" y="149014"/>
                          <a:pt x="52205" y="90251"/>
                        </a:cubicBezTo>
                        <a:cubicBezTo>
                          <a:pt x="87257" y="31488"/>
                          <a:pt x="141465" y="1404"/>
                          <a:pt x="214831" y="0"/>
                        </a:cubicBezTo>
                        <a:close/>
                        <a:moveTo>
                          <a:pt x="214831" y="98641"/>
                        </a:moveTo>
                        <a:cubicBezTo>
                          <a:pt x="178939" y="98508"/>
                          <a:pt x="152825" y="117296"/>
                          <a:pt x="136491" y="155006"/>
                        </a:cubicBezTo>
                        <a:cubicBezTo>
                          <a:pt x="120155" y="192716"/>
                          <a:pt x="112113" y="250147"/>
                          <a:pt x="112359" y="327299"/>
                        </a:cubicBezTo>
                        <a:cubicBezTo>
                          <a:pt x="112417" y="405290"/>
                          <a:pt x="121223" y="463102"/>
                          <a:pt x="138779" y="500735"/>
                        </a:cubicBezTo>
                        <a:cubicBezTo>
                          <a:pt x="156333" y="538368"/>
                          <a:pt x="182293" y="557079"/>
                          <a:pt x="216661" y="556870"/>
                        </a:cubicBezTo>
                        <a:cubicBezTo>
                          <a:pt x="252875" y="557193"/>
                          <a:pt x="278799" y="538710"/>
                          <a:pt x="294427" y="501420"/>
                        </a:cubicBezTo>
                        <a:cubicBezTo>
                          <a:pt x="310057" y="464131"/>
                          <a:pt x="317681" y="406090"/>
                          <a:pt x="317299" y="327299"/>
                        </a:cubicBezTo>
                        <a:cubicBezTo>
                          <a:pt x="317605" y="248546"/>
                          <a:pt x="309675" y="190658"/>
                          <a:pt x="293513" y="153634"/>
                        </a:cubicBezTo>
                        <a:cubicBezTo>
                          <a:pt x="277349" y="116610"/>
                          <a:pt x="251123" y="98279"/>
                          <a:pt x="214831" y="9864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  <p:sp>
                <p:nvSpPr>
                  <p:cNvPr id="220" name="Полілінія: фігура 219">
                    <a:extLst>
                      <a:ext uri="{FF2B5EF4-FFF2-40B4-BE49-F238E27FC236}">
                        <a16:creationId xmlns:a16="http://schemas.microsoft.com/office/drawing/2014/main" id="{63E4EE98-8D26-7796-CDB7-41195F907790}"/>
                      </a:ext>
                    </a:extLst>
                  </p:cNvPr>
                  <p:cNvSpPr/>
                  <p:nvPr/>
                </p:nvSpPr>
                <p:spPr>
                  <a:xfrm>
                    <a:off x="16369152" y="10305761"/>
                    <a:ext cx="479946" cy="63905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79946" h="639051">
                        <a:moveTo>
                          <a:pt x="246888" y="0"/>
                        </a:moveTo>
                        <a:lnTo>
                          <a:pt x="367508" y="0"/>
                        </a:lnTo>
                        <a:lnTo>
                          <a:pt x="136246" y="385876"/>
                        </a:lnTo>
                        <a:lnTo>
                          <a:pt x="292608" y="385876"/>
                        </a:lnTo>
                        <a:lnTo>
                          <a:pt x="292608" y="227685"/>
                        </a:lnTo>
                        <a:lnTo>
                          <a:pt x="397650" y="227685"/>
                        </a:lnTo>
                        <a:lnTo>
                          <a:pt x="397650" y="385876"/>
                        </a:lnTo>
                        <a:lnTo>
                          <a:pt x="479946" y="385876"/>
                        </a:lnTo>
                        <a:lnTo>
                          <a:pt x="479946" y="490918"/>
                        </a:lnTo>
                        <a:lnTo>
                          <a:pt x="397650" y="490918"/>
                        </a:lnTo>
                        <a:lnTo>
                          <a:pt x="397650" y="639051"/>
                        </a:lnTo>
                        <a:lnTo>
                          <a:pt x="292608" y="639051"/>
                        </a:lnTo>
                        <a:lnTo>
                          <a:pt x="292608" y="490918"/>
                        </a:lnTo>
                        <a:lnTo>
                          <a:pt x="0" y="490918"/>
                        </a:lnTo>
                        <a:lnTo>
                          <a:pt x="0" y="413278"/>
                        </a:lnTo>
                        <a:lnTo>
                          <a:pt x="24688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  <p:sp>
                <p:nvSpPr>
                  <p:cNvPr id="221" name="Полілінія: фігура 220">
                    <a:extLst>
                      <a:ext uri="{FF2B5EF4-FFF2-40B4-BE49-F238E27FC236}">
                        <a16:creationId xmlns:a16="http://schemas.microsoft.com/office/drawing/2014/main" id="{97322093-93D0-986C-20B2-4EC95D106CF4}"/>
                      </a:ext>
                    </a:extLst>
                  </p:cNvPr>
                  <p:cNvSpPr/>
                  <p:nvPr/>
                </p:nvSpPr>
                <p:spPr>
                  <a:xfrm>
                    <a:off x="16889904" y="10305761"/>
                    <a:ext cx="407708" cy="6491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7708" h="649109">
                        <a:moveTo>
                          <a:pt x="96010" y="0"/>
                        </a:moveTo>
                        <a:lnTo>
                          <a:pt x="398572" y="0"/>
                        </a:lnTo>
                        <a:lnTo>
                          <a:pt x="398572" y="105041"/>
                        </a:lnTo>
                        <a:lnTo>
                          <a:pt x="188366" y="105041"/>
                        </a:lnTo>
                        <a:lnTo>
                          <a:pt x="170078" y="231339"/>
                        </a:lnTo>
                        <a:cubicBezTo>
                          <a:pt x="175202" y="230387"/>
                          <a:pt x="180954" y="229550"/>
                          <a:pt x="187336" y="228827"/>
                        </a:cubicBezTo>
                        <a:cubicBezTo>
                          <a:pt x="193718" y="228104"/>
                          <a:pt x="200158" y="227723"/>
                          <a:pt x="206654" y="227685"/>
                        </a:cubicBezTo>
                        <a:cubicBezTo>
                          <a:pt x="264626" y="228290"/>
                          <a:pt x="312304" y="246488"/>
                          <a:pt x="349690" y="282278"/>
                        </a:cubicBezTo>
                        <a:cubicBezTo>
                          <a:pt x="387076" y="318069"/>
                          <a:pt x="406414" y="367822"/>
                          <a:pt x="407708" y="431538"/>
                        </a:cubicBezTo>
                        <a:cubicBezTo>
                          <a:pt x="407240" y="477701"/>
                          <a:pt x="397212" y="516964"/>
                          <a:pt x="377626" y="549325"/>
                        </a:cubicBezTo>
                        <a:cubicBezTo>
                          <a:pt x="358040" y="581687"/>
                          <a:pt x="331698" y="606375"/>
                          <a:pt x="298600" y="623392"/>
                        </a:cubicBezTo>
                        <a:cubicBezTo>
                          <a:pt x="265502" y="640408"/>
                          <a:pt x="228452" y="648981"/>
                          <a:pt x="187450" y="649109"/>
                        </a:cubicBezTo>
                        <a:cubicBezTo>
                          <a:pt x="152094" y="649071"/>
                          <a:pt x="117194" y="641383"/>
                          <a:pt x="82752" y="626046"/>
                        </a:cubicBezTo>
                        <a:cubicBezTo>
                          <a:pt x="48310" y="610708"/>
                          <a:pt x="20726" y="587949"/>
                          <a:pt x="0" y="557768"/>
                        </a:cubicBezTo>
                        <a:lnTo>
                          <a:pt x="60350" y="478197"/>
                        </a:lnTo>
                        <a:cubicBezTo>
                          <a:pt x="74732" y="498552"/>
                          <a:pt x="93744" y="514563"/>
                          <a:pt x="117386" y="526228"/>
                        </a:cubicBezTo>
                        <a:cubicBezTo>
                          <a:pt x="141026" y="537892"/>
                          <a:pt x="165296" y="543839"/>
                          <a:pt x="190194" y="544068"/>
                        </a:cubicBezTo>
                        <a:cubicBezTo>
                          <a:pt x="221380" y="543515"/>
                          <a:pt x="246564" y="533413"/>
                          <a:pt x="265746" y="513762"/>
                        </a:cubicBezTo>
                        <a:cubicBezTo>
                          <a:pt x="284930" y="494112"/>
                          <a:pt x="294798" y="468228"/>
                          <a:pt x="295350" y="436112"/>
                        </a:cubicBezTo>
                        <a:cubicBezTo>
                          <a:pt x="295046" y="403368"/>
                          <a:pt x="283082" y="376455"/>
                          <a:pt x="259460" y="355375"/>
                        </a:cubicBezTo>
                        <a:cubicBezTo>
                          <a:pt x="235838" y="334295"/>
                          <a:pt x="202386" y="323393"/>
                          <a:pt x="159104" y="322668"/>
                        </a:cubicBezTo>
                        <a:cubicBezTo>
                          <a:pt x="137920" y="322840"/>
                          <a:pt x="117652" y="324555"/>
                          <a:pt x="98296" y="327814"/>
                        </a:cubicBezTo>
                        <a:cubicBezTo>
                          <a:pt x="78942" y="331073"/>
                          <a:pt x="64160" y="334847"/>
                          <a:pt x="53948" y="339136"/>
                        </a:cubicBezTo>
                        <a:lnTo>
                          <a:pt x="9601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</p:grpSp>
            <p:grpSp>
              <p:nvGrpSpPr>
                <p:cNvPr id="162" name="Групувати 161">
                  <a:extLst>
                    <a:ext uri="{FF2B5EF4-FFF2-40B4-BE49-F238E27FC236}">
                      <a16:creationId xmlns:a16="http://schemas.microsoft.com/office/drawing/2014/main" id="{DCA9D76A-CF25-98B8-B041-A6ECA574029D}"/>
                    </a:ext>
                  </a:extLst>
                </p:cNvPr>
                <p:cNvGrpSpPr/>
                <p:nvPr/>
              </p:nvGrpSpPr>
              <p:grpSpPr>
                <a:xfrm>
                  <a:off x="7567367" y="6363218"/>
                  <a:ext cx="326464" cy="234852"/>
                  <a:chOff x="12391847" y="11259837"/>
                  <a:chExt cx="913756" cy="657340"/>
                </a:xfrm>
                <a:solidFill>
                  <a:srgbClr val="909090"/>
                </a:solidFill>
              </p:grpSpPr>
              <p:sp>
                <p:nvSpPr>
                  <p:cNvPr id="186" name="Полілінія: фігура 185">
                    <a:extLst>
                      <a:ext uri="{FF2B5EF4-FFF2-40B4-BE49-F238E27FC236}">
                        <a16:creationId xmlns:a16="http://schemas.microsoft.com/office/drawing/2014/main" id="{954456E7-0D44-E4BB-35E3-DB5A2720CE1E}"/>
                      </a:ext>
                    </a:extLst>
                  </p:cNvPr>
                  <p:cNvSpPr/>
                  <p:nvPr/>
                </p:nvSpPr>
                <p:spPr>
                  <a:xfrm>
                    <a:off x="12876857" y="11259837"/>
                    <a:ext cx="428746" cy="65459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28746" h="654596">
                        <a:moveTo>
                          <a:pt x="214830" y="0"/>
                        </a:moveTo>
                        <a:cubicBezTo>
                          <a:pt x="287756" y="1404"/>
                          <a:pt x="341698" y="31488"/>
                          <a:pt x="376655" y="90251"/>
                        </a:cubicBezTo>
                        <a:cubicBezTo>
                          <a:pt x="411611" y="149014"/>
                          <a:pt x="428974" y="228030"/>
                          <a:pt x="428742" y="327299"/>
                        </a:cubicBezTo>
                        <a:cubicBezTo>
                          <a:pt x="429050" y="426568"/>
                          <a:pt x="411992" y="505584"/>
                          <a:pt x="377569" y="564346"/>
                        </a:cubicBezTo>
                        <a:cubicBezTo>
                          <a:pt x="343145" y="623109"/>
                          <a:pt x="289509" y="653192"/>
                          <a:pt x="216660" y="654596"/>
                        </a:cubicBezTo>
                        <a:cubicBezTo>
                          <a:pt x="143218" y="653192"/>
                          <a:pt x="88704" y="623109"/>
                          <a:pt x="53119" y="564346"/>
                        </a:cubicBezTo>
                        <a:cubicBezTo>
                          <a:pt x="17533" y="505584"/>
                          <a:pt x="-172" y="426568"/>
                          <a:pt x="3" y="327299"/>
                        </a:cubicBezTo>
                        <a:cubicBezTo>
                          <a:pt x="-248" y="228030"/>
                          <a:pt x="17153" y="149014"/>
                          <a:pt x="52205" y="90251"/>
                        </a:cubicBezTo>
                        <a:cubicBezTo>
                          <a:pt x="87257" y="31488"/>
                          <a:pt x="141466" y="1404"/>
                          <a:pt x="214830" y="0"/>
                        </a:cubicBezTo>
                        <a:close/>
                        <a:moveTo>
                          <a:pt x="214830" y="98641"/>
                        </a:moveTo>
                        <a:cubicBezTo>
                          <a:pt x="178939" y="98508"/>
                          <a:pt x="152826" y="117296"/>
                          <a:pt x="136491" y="155006"/>
                        </a:cubicBezTo>
                        <a:cubicBezTo>
                          <a:pt x="120156" y="192716"/>
                          <a:pt x="112112" y="250147"/>
                          <a:pt x="112360" y="327299"/>
                        </a:cubicBezTo>
                        <a:cubicBezTo>
                          <a:pt x="112417" y="405290"/>
                          <a:pt x="121223" y="463102"/>
                          <a:pt x="138778" y="500735"/>
                        </a:cubicBezTo>
                        <a:cubicBezTo>
                          <a:pt x="156333" y="538367"/>
                          <a:pt x="182294" y="557079"/>
                          <a:pt x="216660" y="556870"/>
                        </a:cubicBezTo>
                        <a:cubicBezTo>
                          <a:pt x="252876" y="557193"/>
                          <a:pt x="278798" y="538710"/>
                          <a:pt x="294427" y="501421"/>
                        </a:cubicBezTo>
                        <a:cubicBezTo>
                          <a:pt x="310057" y="464131"/>
                          <a:pt x="317681" y="406090"/>
                          <a:pt x="317300" y="327299"/>
                        </a:cubicBezTo>
                        <a:cubicBezTo>
                          <a:pt x="317605" y="248546"/>
                          <a:pt x="309676" y="190658"/>
                          <a:pt x="293513" y="153634"/>
                        </a:cubicBezTo>
                        <a:cubicBezTo>
                          <a:pt x="277349" y="116610"/>
                          <a:pt x="251122" y="98279"/>
                          <a:pt x="214830" y="9864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  <p:sp>
                <p:nvSpPr>
                  <p:cNvPr id="187" name="Полілінія: фігура 186">
                    <a:extLst>
                      <a:ext uri="{FF2B5EF4-FFF2-40B4-BE49-F238E27FC236}">
                        <a16:creationId xmlns:a16="http://schemas.microsoft.com/office/drawing/2014/main" id="{3B994CDD-BE57-4C25-9F1B-91BC7726FED8}"/>
                      </a:ext>
                    </a:extLst>
                  </p:cNvPr>
                  <p:cNvSpPr/>
                  <p:nvPr/>
                </p:nvSpPr>
                <p:spPr>
                  <a:xfrm>
                    <a:off x="12391847" y="11268068"/>
                    <a:ext cx="407708" cy="64910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7708" h="649109">
                        <a:moveTo>
                          <a:pt x="96012" y="0"/>
                        </a:moveTo>
                        <a:lnTo>
                          <a:pt x="398573" y="0"/>
                        </a:lnTo>
                        <a:lnTo>
                          <a:pt x="398573" y="105041"/>
                        </a:lnTo>
                        <a:lnTo>
                          <a:pt x="188366" y="105041"/>
                        </a:lnTo>
                        <a:lnTo>
                          <a:pt x="170078" y="231339"/>
                        </a:lnTo>
                        <a:cubicBezTo>
                          <a:pt x="175203" y="230387"/>
                          <a:pt x="180956" y="229550"/>
                          <a:pt x="187338" y="228827"/>
                        </a:cubicBezTo>
                        <a:cubicBezTo>
                          <a:pt x="193719" y="228104"/>
                          <a:pt x="200158" y="227723"/>
                          <a:pt x="206654" y="227685"/>
                        </a:cubicBezTo>
                        <a:cubicBezTo>
                          <a:pt x="264627" y="228290"/>
                          <a:pt x="312306" y="246488"/>
                          <a:pt x="349691" y="282278"/>
                        </a:cubicBezTo>
                        <a:cubicBezTo>
                          <a:pt x="387077" y="318069"/>
                          <a:pt x="406416" y="367822"/>
                          <a:pt x="407708" y="431538"/>
                        </a:cubicBezTo>
                        <a:cubicBezTo>
                          <a:pt x="407241" y="477701"/>
                          <a:pt x="397214" y="516964"/>
                          <a:pt x="377627" y="549325"/>
                        </a:cubicBezTo>
                        <a:cubicBezTo>
                          <a:pt x="358040" y="581687"/>
                          <a:pt x="331698" y="606375"/>
                          <a:pt x="298600" y="623392"/>
                        </a:cubicBezTo>
                        <a:cubicBezTo>
                          <a:pt x="265502" y="640408"/>
                          <a:pt x="228453" y="648981"/>
                          <a:pt x="187452" y="649109"/>
                        </a:cubicBezTo>
                        <a:cubicBezTo>
                          <a:pt x="152095" y="649071"/>
                          <a:pt x="117196" y="641383"/>
                          <a:pt x="82753" y="626046"/>
                        </a:cubicBezTo>
                        <a:cubicBezTo>
                          <a:pt x="48311" y="610708"/>
                          <a:pt x="20726" y="587949"/>
                          <a:pt x="0" y="557768"/>
                        </a:cubicBezTo>
                        <a:lnTo>
                          <a:pt x="60350" y="478197"/>
                        </a:lnTo>
                        <a:cubicBezTo>
                          <a:pt x="74733" y="498553"/>
                          <a:pt x="93745" y="514563"/>
                          <a:pt x="117386" y="526227"/>
                        </a:cubicBezTo>
                        <a:cubicBezTo>
                          <a:pt x="141027" y="537892"/>
                          <a:pt x="165297" y="543839"/>
                          <a:pt x="190195" y="544068"/>
                        </a:cubicBezTo>
                        <a:cubicBezTo>
                          <a:pt x="221380" y="543515"/>
                          <a:pt x="246564" y="533413"/>
                          <a:pt x="265747" y="513762"/>
                        </a:cubicBezTo>
                        <a:cubicBezTo>
                          <a:pt x="284931" y="494112"/>
                          <a:pt x="294799" y="468228"/>
                          <a:pt x="295351" y="436112"/>
                        </a:cubicBezTo>
                        <a:cubicBezTo>
                          <a:pt x="295046" y="403367"/>
                          <a:pt x="283083" y="376455"/>
                          <a:pt x="259461" y="355375"/>
                        </a:cubicBezTo>
                        <a:cubicBezTo>
                          <a:pt x="235839" y="334295"/>
                          <a:pt x="202387" y="323393"/>
                          <a:pt x="159106" y="322668"/>
                        </a:cubicBezTo>
                        <a:cubicBezTo>
                          <a:pt x="137922" y="322840"/>
                          <a:pt x="117653" y="324555"/>
                          <a:pt x="98298" y="327814"/>
                        </a:cubicBezTo>
                        <a:cubicBezTo>
                          <a:pt x="78943" y="331073"/>
                          <a:pt x="64160" y="334847"/>
                          <a:pt x="53950" y="339136"/>
                        </a:cubicBezTo>
                        <a:lnTo>
                          <a:pt x="96012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</p:grpSp>
            <p:grpSp>
              <p:nvGrpSpPr>
                <p:cNvPr id="165" name="Групувати 164">
                  <a:extLst>
                    <a:ext uri="{FF2B5EF4-FFF2-40B4-BE49-F238E27FC236}">
                      <a16:creationId xmlns:a16="http://schemas.microsoft.com/office/drawing/2014/main" id="{6505B79E-3237-5A12-8E19-20FBCE1D6C18}"/>
                    </a:ext>
                  </a:extLst>
                </p:cNvPr>
                <p:cNvGrpSpPr/>
                <p:nvPr/>
              </p:nvGrpSpPr>
              <p:grpSpPr>
                <a:xfrm>
                  <a:off x="8701277" y="6363218"/>
                  <a:ext cx="335095" cy="221705"/>
                  <a:chOff x="16664542" y="11251074"/>
                  <a:chExt cx="859534" cy="639051"/>
                </a:xfrm>
                <a:solidFill>
                  <a:srgbClr val="909090"/>
                </a:solidFill>
              </p:grpSpPr>
              <p:sp>
                <p:nvSpPr>
                  <p:cNvPr id="169" name="Полілінія: фігура 168">
                    <a:extLst>
                      <a:ext uri="{FF2B5EF4-FFF2-40B4-BE49-F238E27FC236}">
                        <a16:creationId xmlns:a16="http://schemas.microsoft.com/office/drawing/2014/main" id="{6BC5FA69-5642-F0E1-EE13-293708062F41}"/>
                      </a:ext>
                    </a:extLst>
                  </p:cNvPr>
                  <p:cNvSpPr/>
                  <p:nvPr/>
                </p:nvSpPr>
                <p:spPr>
                  <a:xfrm>
                    <a:off x="16664542" y="11251074"/>
                    <a:ext cx="402335" cy="63905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2335" h="639051">
                        <a:moveTo>
                          <a:pt x="0" y="0"/>
                        </a:moveTo>
                        <a:lnTo>
                          <a:pt x="402335" y="0"/>
                        </a:lnTo>
                        <a:lnTo>
                          <a:pt x="402335" y="70332"/>
                        </a:lnTo>
                        <a:lnTo>
                          <a:pt x="175565" y="639051"/>
                        </a:lnTo>
                        <a:lnTo>
                          <a:pt x="60350" y="639051"/>
                        </a:lnTo>
                        <a:lnTo>
                          <a:pt x="276149" y="105041"/>
                        </a:lnTo>
                        <a:lnTo>
                          <a:pt x="0" y="10504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  <p:sp>
                <p:nvSpPr>
                  <p:cNvPr id="170" name="Полілінія: фігура 169">
                    <a:extLst>
                      <a:ext uri="{FF2B5EF4-FFF2-40B4-BE49-F238E27FC236}">
                        <a16:creationId xmlns:a16="http://schemas.microsoft.com/office/drawing/2014/main" id="{BCEEDB89-BE32-1B7C-A7DE-5743DF8165B3}"/>
                      </a:ext>
                    </a:extLst>
                  </p:cNvPr>
                  <p:cNvSpPr/>
                  <p:nvPr/>
                </p:nvSpPr>
                <p:spPr>
                  <a:xfrm>
                    <a:off x="17121740" y="11251074"/>
                    <a:ext cx="402336" cy="63905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02336" h="639051">
                        <a:moveTo>
                          <a:pt x="0" y="0"/>
                        </a:moveTo>
                        <a:lnTo>
                          <a:pt x="402336" y="0"/>
                        </a:lnTo>
                        <a:lnTo>
                          <a:pt x="402336" y="70332"/>
                        </a:lnTo>
                        <a:lnTo>
                          <a:pt x="175566" y="639051"/>
                        </a:lnTo>
                        <a:lnTo>
                          <a:pt x="60352" y="639051"/>
                        </a:lnTo>
                        <a:lnTo>
                          <a:pt x="276150" y="105041"/>
                        </a:lnTo>
                        <a:lnTo>
                          <a:pt x="0" y="10504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 sz="426"/>
                  </a:p>
                </p:txBody>
              </p:sp>
            </p:grpSp>
            <p:sp>
              <p:nvSpPr>
                <p:cNvPr id="281" name="TextBox 280">
                  <a:extLst>
                    <a:ext uri="{FF2B5EF4-FFF2-40B4-BE49-F238E27FC236}">
                      <a16:creationId xmlns:a16="http://schemas.microsoft.com/office/drawing/2014/main" id="{01DC527B-1A58-5ED4-82F9-F7BED048AC32}"/>
                    </a:ext>
                  </a:extLst>
                </p:cNvPr>
                <p:cNvSpPr txBox="1"/>
                <p:nvPr/>
              </p:nvSpPr>
              <p:spPr>
                <a:xfrm>
                  <a:off x="6174369" y="5811423"/>
                  <a:ext cx="1022122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>
                      <a:solidFill>
                        <a:schemeClr val="bg2">
                          <a:lumMod val="25000"/>
                        </a:schemeClr>
                      </a:solidFill>
                      <a:latin typeface="+mj-lt"/>
                    </a:rPr>
                    <a:t>GAS TURBINE DRIVEN</a:t>
                  </a:r>
                  <a:endParaRPr lang="uk-UA" sz="1100" dirty="0">
                    <a:solidFill>
                      <a:schemeClr val="bg2">
                        <a:lumMod val="25000"/>
                      </a:schemeClr>
                    </a:solidFill>
                    <a:latin typeface="+mj-lt"/>
                  </a:endParaRPr>
                </a:p>
              </p:txBody>
            </p:sp>
            <p:sp>
              <p:nvSpPr>
                <p:cNvPr id="283" name="TextBox 282">
                  <a:extLst>
                    <a:ext uri="{FF2B5EF4-FFF2-40B4-BE49-F238E27FC236}">
                      <a16:creationId xmlns:a16="http://schemas.microsoft.com/office/drawing/2014/main" id="{276D7A37-6598-C8F1-CE0E-FF63303B76C0}"/>
                    </a:ext>
                  </a:extLst>
                </p:cNvPr>
                <p:cNvSpPr txBox="1"/>
                <p:nvPr/>
              </p:nvSpPr>
              <p:spPr>
                <a:xfrm>
                  <a:off x="6196403" y="6277940"/>
                  <a:ext cx="983540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>
                      <a:solidFill>
                        <a:schemeClr val="bg2">
                          <a:lumMod val="25000"/>
                        </a:schemeClr>
                      </a:solidFill>
                      <a:latin typeface="+mj-lt"/>
                    </a:rPr>
                    <a:t>GAS ENGINE DRIVEN</a:t>
                  </a:r>
                  <a:endParaRPr lang="uk-UA" sz="1100" dirty="0">
                    <a:solidFill>
                      <a:schemeClr val="bg2">
                        <a:lumMod val="25000"/>
                      </a:schemeClr>
                    </a:solidFill>
                    <a:latin typeface="+mj-lt"/>
                  </a:endParaRPr>
                </a:p>
              </p:txBody>
            </p:sp>
            <p:grpSp>
              <p:nvGrpSpPr>
                <p:cNvPr id="385" name="Групувати 384">
                  <a:extLst>
                    <a:ext uri="{FF2B5EF4-FFF2-40B4-BE49-F238E27FC236}">
                      <a16:creationId xmlns:a16="http://schemas.microsoft.com/office/drawing/2014/main" id="{619D8338-DD1B-4FD6-48BD-3F74994F1D27}"/>
                    </a:ext>
                  </a:extLst>
                </p:cNvPr>
                <p:cNvGrpSpPr/>
                <p:nvPr/>
              </p:nvGrpSpPr>
              <p:grpSpPr>
                <a:xfrm>
                  <a:off x="9119747" y="5942000"/>
                  <a:ext cx="80464" cy="191364"/>
                  <a:chOff x="9284772" y="5351729"/>
                  <a:chExt cx="80464" cy="191364"/>
                </a:xfrm>
              </p:grpSpPr>
              <p:sp>
                <p:nvSpPr>
                  <p:cNvPr id="383" name="TextBox 382">
                    <a:extLst>
                      <a:ext uri="{FF2B5EF4-FFF2-40B4-BE49-F238E27FC236}">
                        <a16:creationId xmlns:a16="http://schemas.microsoft.com/office/drawing/2014/main" id="{276482A0-3A71-3E42-E760-7B5F12DB123C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9270850" y="5366826"/>
                    <a:ext cx="106997" cy="768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5025" h="139794">
                        <a:moveTo>
                          <a:pt x="195025" y="0"/>
                        </a:moveTo>
                        <a:lnTo>
                          <a:pt x="155020" y="139794"/>
                        </a:lnTo>
                        <a:lnTo>
                          <a:pt x="132017" y="139794"/>
                        </a:lnTo>
                        <a:lnTo>
                          <a:pt x="98213" y="38743"/>
                        </a:lnTo>
                        <a:lnTo>
                          <a:pt x="65009" y="139794"/>
                        </a:lnTo>
                        <a:lnTo>
                          <a:pt x="41806" y="139794"/>
                        </a:lnTo>
                        <a:lnTo>
                          <a:pt x="0" y="0"/>
                        </a:lnTo>
                        <a:lnTo>
                          <a:pt x="27604" y="0"/>
                        </a:lnTo>
                        <a:lnTo>
                          <a:pt x="55807" y="99653"/>
                        </a:lnTo>
                        <a:lnTo>
                          <a:pt x="87011" y="0"/>
                        </a:lnTo>
                        <a:lnTo>
                          <a:pt x="111414" y="0"/>
                        </a:lnTo>
                        <a:lnTo>
                          <a:pt x="143418" y="99853"/>
                        </a:lnTo>
                        <a:lnTo>
                          <a:pt x="171422" y="0"/>
                        </a:lnTo>
                        <a:lnTo>
                          <a:pt x="195025" y="0"/>
                        </a:lnTo>
                        <a:close/>
                      </a:path>
                    </a:pathLst>
                  </a:custGeom>
                  <a:solidFill>
                    <a:srgbClr val="B3B3B3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uk-UA"/>
                    </a:defPPr>
                    <a:lvl1pPr>
                      <a:defRPr sz="2000" b="1" kern="100">
                        <a:solidFill>
                          <a:srgbClr val="7AC7EA"/>
                        </a:solidFill>
                        <a:effectLst/>
                        <a:latin typeface="Circe Bold" panose="020B0602020203020203" pitchFamily="34" charset="-52"/>
                        <a:ea typeface="Aptos" panose="020B0004020202020204" pitchFamily="34" charset="0"/>
                        <a:cs typeface="Times New Roman" panose="02020603050405020304" pitchFamily="18" charset="0"/>
                      </a:defRPr>
                    </a:lvl1pPr>
                  </a:lstStyle>
                  <a:p>
                    <a:endParaRPr lang="uk-UA" sz="1000" dirty="0"/>
                  </a:p>
                </p:txBody>
              </p:sp>
              <p:sp>
                <p:nvSpPr>
                  <p:cNvPr id="384" name="TextBox 383">
                    <a:extLst>
                      <a:ext uri="{FF2B5EF4-FFF2-40B4-BE49-F238E27FC236}">
                        <a16:creationId xmlns:a16="http://schemas.microsoft.com/office/drawing/2014/main" id="{FB999920-E6DD-D749-D45A-5E31B79787F1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9284368" y="5462226"/>
                    <a:ext cx="81271" cy="804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1393" h="139792">
                        <a:moveTo>
                          <a:pt x="141393" y="0"/>
                        </a:moveTo>
                        <a:lnTo>
                          <a:pt x="141393" y="139792"/>
                        </a:lnTo>
                        <a:lnTo>
                          <a:pt x="117015" y="139792"/>
                        </a:lnTo>
                        <a:lnTo>
                          <a:pt x="117015" y="38742"/>
                        </a:lnTo>
                        <a:lnTo>
                          <a:pt x="72798" y="100850"/>
                        </a:lnTo>
                        <a:lnTo>
                          <a:pt x="69196" y="100850"/>
                        </a:lnTo>
                        <a:lnTo>
                          <a:pt x="24578" y="39341"/>
                        </a:lnTo>
                        <a:lnTo>
                          <a:pt x="24578" y="139792"/>
                        </a:lnTo>
                        <a:lnTo>
                          <a:pt x="0" y="139792"/>
                        </a:lnTo>
                        <a:lnTo>
                          <a:pt x="0" y="0"/>
                        </a:lnTo>
                        <a:lnTo>
                          <a:pt x="24778" y="0"/>
                        </a:lnTo>
                        <a:lnTo>
                          <a:pt x="72597" y="65302"/>
                        </a:lnTo>
                        <a:lnTo>
                          <a:pt x="118214" y="0"/>
                        </a:lnTo>
                        <a:lnTo>
                          <a:pt x="141393" y="0"/>
                        </a:lnTo>
                        <a:close/>
                      </a:path>
                    </a:pathLst>
                  </a:custGeom>
                  <a:solidFill>
                    <a:srgbClr val="B3B3B3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uk-UA"/>
                    </a:defPPr>
                    <a:lvl1pPr>
                      <a:defRPr sz="5400" b="1" kern="10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Circe Bold" panose="020B0602020203020203" pitchFamily="34" charset="-52"/>
                        <a:ea typeface="Aptos" panose="020B0004020202020204" pitchFamily="34" charset="0"/>
                        <a:cs typeface="Times New Roman" panose="02020603050405020304" pitchFamily="18" charset="0"/>
                      </a:defRPr>
                    </a:lvl1pPr>
                  </a:lstStyle>
                  <a:p>
                    <a:endParaRPr lang="uk-UA" sz="400" dirty="0">
                      <a:solidFill>
                        <a:srgbClr val="7AC7EA"/>
                      </a:solidFill>
                    </a:endParaRPr>
                  </a:p>
                </p:txBody>
              </p:sp>
            </p:grpSp>
            <p:grpSp>
              <p:nvGrpSpPr>
                <p:cNvPr id="386" name="Групувати 385">
                  <a:extLst>
                    <a:ext uri="{FF2B5EF4-FFF2-40B4-BE49-F238E27FC236}">
                      <a16:creationId xmlns:a16="http://schemas.microsoft.com/office/drawing/2014/main" id="{88FAF824-9EA3-E231-0AA5-29CB6931570A}"/>
                    </a:ext>
                  </a:extLst>
                </p:cNvPr>
                <p:cNvGrpSpPr/>
                <p:nvPr/>
              </p:nvGrpSpPr>
              <p:grpSpPr>
                <a:xfrm>
                  <a:off x="9119748" y="6366142"/>
                  <a:ext cx="80464" cy="191364"/>
                  <a:chOff x="9284772" y="5351729"/>
                  <a:chExt cx="80464" cy="191364"/>
                </a:xfrm>
              </p:grpSpPr>
              <p:sp>
                <p:nvSpPr>
                  <p:cNvPr id="387" name="TextBox 386">
                    <a:extLst>
                      <a:ext uri="{FF2B5EF4-FFF2-40B4-BE49-F238E27FC236}">
                        <a16:creationId xmlns:a16="http://schemas.microsoft.com/office/drawing/2014/main" id="{61F965D2-2054-8A1F-BBFF-C8FA6299EF63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9270850" y="5366826"/>
                    <a:ext cx="106997" cy="7680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5025" h="139794">
                        <a:moveTo>
                          <a:pt x="195025" y="0"/>
                        </a:moveTo>
                        <a:lnTo>
                          <a:pt x="155020" y="139794"/>
                        </a:lnTo>
                        <a:lnTo>
                          <a:pt x="132017" y="139794"/>
                        </a:lnTo>
                        <a:lnTo>
                          <a:pt x="98213" y="38743"/>
                        </a:lnTo>
                        <a:lnTo>
                          <a:pt x="65009" y="139794"/>
                        </a:lnTo>
                        <a:lnTo>
                          <a:pt x="41806" y="139794"/>
                        </a:lnTo>
                        <a:lnTo>
                          <a:pt x="0" y="0"/>
                        </a:lnTo>
                        <a:lnTo>
                          <a:pt x="27604" y="0"/>
                        </a:lnTo>
                        <a:lnTo>
                          <a:pt x="55807" y="99653"/>
                        </a:lnTo>
                        <a:lnTo>
                          <a:pt x="87011" y="0"/>
                        </a:lnTo>
                        <a:lnTo>
                          <a:pt x="111414" y="0"/>
                        </a:lnTo>
                        <a:lnTo>
                          <a:pt x="143418" y="99853"/>
                        </a:lnTo>
                        <a:lnTo>
                          <a:pt x="171422" y="0"/>
                        </a:lnTo>
                        <a:lnTo>
                          <a:pt x="195025" y="0"/>
                        </a:lnTo>
                        <a:close/>
                      </a:path>
                    </a:pathLst>
                  </a:custGeom>
                  <a:solidFill>
                    <a:srgbClr val="B3B3B3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uk-UA"/>
                    </a:defPPr>
                    <a:lvl1pPr>
                      <a:defRPr sz="2000" b="1" kern="100">
                        <a:solidFill>
                          <a:srgbClr val="7AC7EA"/>
                        </a:solidFill>
                        <a:effectLst/>
                        <a:latin typeface="Circe Bold" panose="020B0602020203020203" pitchFamily="34" charset="-52"/>
                        <a:ea typeface="Aptos" panose="020B0004020202020204" pitchFamily="34" charset="0"/>
                        <a:cs typeface="Times New Roman" panose="02020603050405020304" pitchFamily="18" charset="0"/>
                      </a:defRPr>
                    </a:lvl1pPr>
                  </a:lstStyle>
                  <a:p>
                    <a:endParaRPr lang="uk-UA" sz="1000" dirty="0"/>
                  </a:p>
                </p:txBody>
              </p:sp>
              <p:sp>
                <p:nvSpPr>
                  <p:cNvPr id="388" name="TextBox 387">
                    <a:extLst>
                      <a:ext uri="{FF2B5EF4-FFF2-40B4-BE49-F238E27FC236}">
                        <a16:creationId xmlns:a16="http://schemas.microsoft.com/office/drawing/2014/main" id="{4B703980-98AF-2A47-32F5-10E05696613D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9284368" y="5462226"/>
                    <a:ext cx="81271" cy="80464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1393" h="139792">
                        <a:moveTo>
                          <a:pt x="141393" y="0"/>
                        </a:moveTo>
                        <a:lnTo>
                          <a:pt x="141393" y="139792"/>
                        </a:lnTo>
                        <a:lnTo>
                          <a:pt x="117015" y="139792"/>
                        </a:lnTo>
                        <a:lnTo>
                          <a:pt x="117015" y="38742"/>
                        </a:lnTo>
                        <a:lnTo>
                          <a:pt x="72798" y="100850"/>
                        </a:lnTo>
                        <a:lnTo>
                          <a:pt x="69196" y="100850"/>
                        </a:lnTo>
                        <a:lnTo>
                          <a:pt x="24578" y="39341"/>
                        </a:lnTo>
                        <a:lnTo>
                          <a:pt x="24578" y="139792"/>
                        </a:lnTo>
                        <a:lnTo>
                          <a:pt x="0" y="139792"/>
                        </a:lnTo>
                        <a:lnTo>
                          <a:pt x="0" y="0"/>
                        </a:lnTo>
                        <a:lnTo>
                          <a:pt x="24778" y="0"/>
                        </a:lnTo>
                        <a:lnTo>
                          <a:pt x="72597" y="65302"/>
                        </a:lnTo>
                        <a:lnTo>
                          <a:pt x="118214" y="0"/>
                        </a:lnTo>
                        <a:lnTo>
                          <a:pt x="141393" y="0"/>
                        </a:lnTo>
                        <a:close/>
                      </a:path>
                    </a:pathLst>
                  </a:custGeom>
                  <a:solidFill>
                    <a:srgbClr val="B3B3B3"/>
                  </a:solidFill>
                  <a:ln>
                    <a:noFill/>
                  </a:ln>
                  <a:effectLst/>
                </p:spPr>
                <p:txBody>
  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uk-UA"/>
                    </a:defPPr>
                    <a:lvl1pPr>
                      <a:defRPr sz="5400" b="1" kern="10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Circe Bold" panose="020B0602020203020203" pitchFamily="34" charset="-52"/>
                        <a:ea typeface="Aptos" panose="020B0004020202020204" pitchFamily="34" charset="0"/>
                        <a:cs typeface="Times New Roman" panose="02020603050405020304" pitchFamily="18" charset="0"/>
                      </a:defRPr>
                    </a:lvl1pPr>
                  </a:lstStyle>
                  <a:p>
                    <a:endParaRPr lang="uk-UA" sz="400" dirty="0">
                      <a:solidFill>
                        <a:srgbClr val="7AC7EA"/>
                      </a:solidFill>
                    </a:endParaRPr>
                  </a:p>
                </p:txBody>
              </p:sp>
            </p:grpSp>
            <p:cxnSp>
              <p:nvCxnSpPr>
                <p:cNvPr id="389" name="Пряма сполучна лінія 388">
                  <a:extLst>
                    <a:ext uri="{FF2B5EF4-FFF2-40B4-BE49-F238E27FC236}">
                      <a16:creationId xmlns:a16="http://schemas.microsoft.com/office/drawing/2014/main" id="{DC7BD9B5-94C6-FDD5-0D30-61C33ACDDF32}"/>
                    </a:ext>
                  </a:extLst>
                </p:cNvPr>
                <p:cNvCxnSpPr/>
                <p:nvPr/>
              </p:nvCxnSpPr>
              <p:spPr>
                <a:xfrm flipH="1" flipV="1">
                  <a:off x="6106832" y="6215216"/>
                  <a:ext cx="3207469" cy="10395"/>
                </a:xfrm>
                <a:prstGeom prst="line">
                  <a:avLst/>
                </a:prstGeom>
                <a:ln w="12700">
                  <a:solidFill>
                    <a:schemeClr val="bg2">
                      <a:lumMod val="25000"/>
                    </a:schemeClr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0" name="Пряма сполучна лінія 389">
                  <a:extLst>
                    <a:ext uri="{FF2B5EF4-FFF2-40B4-BE49-F238E27FC236}">
                      <a16:creationId xmlns:a16="http://schemas.microsoft.com/office/drawing/2014/main" id="{1F9BBC14-F2CC-AB8A-B051-8831D7FEAA9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238867" y="5767685"/>
                  <a:ext cx="2583" cy="960074"/>
                </a:xfrm>
                <a:prstGeom prst="line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1" name="Пряма сполучна лінія 390">
                  <a:extLst>
                    <a:ext uri="{FF2B5EF4-FFF2-40B4-BE49-F238E27FC236}">
                      <a16:creationId xmlns:a16="http://schemas.microsoft.com/office/drawing/2014/main" id="{B06068AA-4100-198A-41FB-F0E2F0D9C2C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273228" y="5767685"/>
                  <a:ext cx="0" cy="960074"/>
                </a:xfrm>
                <a:prstGeom prst="line">
                  <a:avLst/>
                </a:prstGeom>
                <a:ln>
                  <a:solidFill>
                    <a:schemeClr val="bg2">
                      <a:lumMod val="2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02" name="Групувати 301">
              <a:extLst>
                <a:ext uri="{FF2B5EF4-FFF2-40B4-BE49-F238E27FC236}">
                  <a16:creationId xmlns:a16="http://schemas.microsoft.com/office/drawing/2014/main" id="{E22179DA-0896-473C-0433-761D640D3202}"/>
                </a:ext>
              </a:extLst>
            </p:cNvPr>
            <p:cNvGrpSpPr/>
            <p:nvPr/>
          </p:nvGrpSpPr>
          <p:grpSpPr>
            <a:xfrm>
              <a:off x="5501309" y="595119"/>
              <a:ext cx="6193873" cy="3524893"/>
              <a:chOff x="-2290761" y="749255"/>
              <a:chExt cx="6193873" cy="3524893"/>
            </a:xfrm>
          </p:grpSpPr>
          <p:sp>
            <p:nvSpPr>
              <p:cNvPr id="303" name="Прямокутник: округлені кути 302">
                <a:extLst>
                  <a:ext uri="{FF2B5EF4-FFF2-40B4-BE49-F238E27FC236}">
                    <a16:creationId xmlns:a16="http://schemas.microsoft.com/office/drawing/2014/main" id="{44B639C2-1EC5-8653-3886-6714F2B0E83C}"/>
                  </a:ext>
                </a:extLst>
              </p:cNvPr>
              <p:cNvSpPr/>
              <p:nvPr/>
            </p:nvSpPr>
            <p:spPr>
              <a:xfrm>
                <a:off x="1877224" y="749255"/>
                <a:ext cx="2025888" cy="2025888"/>
              </a:xfrm>
              <a:prstGeom prst="roundRect">
                <a:avLst>
                  <a:gd name="adj" fmla="val 13171"/>
                </a:avLst>
              </a:prstGeom>
              <a:blipFill>
                <a:blip r:embed="rId6"/>
                <a:stretch>
                  <a:fillRect l="-41470" t="-4249" r="-42060" b="-15089"/>
                </a:stretch>
              </a:blipFill>
              <a:ln w="22225">
                <a:solidFill>
                  <a:schemeClr val="bg1"/>
                </a:solidFill>
              </a:ln>
              <a:effectLst>
                <a:outerShdw blurRad="228600" dist="38100" dir="5400000" sx="103000" sy="103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grpSp>
            <p:nvGrpSpPr>
              <p:cNvPr id="304" name="Групувати 303">
                <a:extLst>
                  <a:ext uri="{FF2B5EF4-FFF2-40B4-BE49-F238E27FC236}">
                    <a16:creationId xmlns:a16="http://schemas.microsoft.com/office/drawing/2014/main" id="{AFEE5055-E344-BC00-5D0E-0F51F46B367E}"/>
                  </a:ext>
                </a:extLst>
              </p:cNvPr>
              <p:cNvGrpSpPr/>
              <p:nvPr/>
            </p:nvGrpSpPr>
            <p:grpSpPr>
              <a:xfrm>
                <a:off x="-2290761" y="1762199"/>
                <a:ext cx="4167985" cy="2511949"/>
                <a:chOff x="-2290761" y="1762199"/>
                <a:chExt cx="4167985" cy="2511949"/>
              </a:xfrm>
            </p:grpSpPr>
            <p:cxnSp>
              <p:nvCxnSpPr>
                <p:cNvPr id="305" name="Пряма сполучна лінія 304">
                  <a:extLst>
                    <a:ext uri="{FF2B5EF4-FFF2-40B4-BE49-F238E27FC236}">
                      <a16:creationId xmlns:a16="http://schemas.microsoft.com/office/drawing/2014/main" id="{60847B24-322E-2B93-AFF7-3024154CE815}"/>
                    </a:ext>
                  </a:extLst>
                </p:cNvPr>
                <p:cNvCxnSpPr>
                  <a:cxnSpLocks/>
                  <a:stCxn id="306" idx="6"/>
                  <a:endCxn id="303" idx="1"/>
                </p:cNvCxnSpPr>
                <p:nvPr/>
              </p:nvCxnSpPr>
              <p:spPr>
                <a:xfrm flipV="1">
                  <a:off x="-2290761" y="1762199"/>
                  <a:ext cx="4167985" cy="2422855"/>
                </a:xfrm>
                <a:prstGeom prst="line">
                  <a:avLst/>
                </a:prstGeom>
                <a:ln w="28575">
                  <a:solidFill>
                    <a:schemeClr val="bg1"/>
                  </a:solidFill>
                </a:ln>
                <a:effectLst>
                  <a:outerShdw blurRad="63500" dist="25400" dir="3240000" sx="102000" sy="102000" algn="c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6" name="Овал 305">
                  <a:extLst>
                    <a:ext uri="{FF2B5EF4-FFF2-40B4-BE49-F238E27FC236}">
                      <a16:creationId xmlns:a16="http://schemas.microsoft.com/office/drawing/2014/main" id="{86225E5F-BB42-F516-AAEC-C1415ACB639D}"/>
                    </a:ext>
                  </a:extLst>
                </p:cNvPr>
                <p:cNvSpPr/>
                <p:nvPr/>
              </p:nvSpPr>
              <p:spPr>
                <a:xfrm flipH="1">
                  <a:off x="-2290761" y="4095960"/>
                  <a:ext cx="178188" cy="178188"/>
                </a:xfrm>
                <a:prstGeom prst="ellipse">
                  <a:avLst/>
                </a:prstGeom>
                <a:solidFill>
                  <a:srgbClr val="A9BB92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 dirty="0"/>
                </a:p>
              </p:txBody>
            </p:sp>
          </p:grpSp>
        </p:grpSp>
        <p:grpSp>
          <p:nvGrpSpPr>
            <p:cNvPr id="197" name="Групувати 196">
              <a:extLst>
                <a:ext uri="{FF2B5EF4-FFF2-40B4-BE49-F238E27FC236}">
                  <a16:creationId xmlns:a16="http://schemas.microsoft.com/office/drawing/2014/main" id="{E7634A83-070E-08A3-12C5-A3F58454FC3A}"/>
                </a:ext>
              </a:extLst>
            </p:cNvPr>
            <p:cNvGrpSpPr/>
            <p:nvPr/>
          </p:nvGrpSpPr>
          <p:grpSpPr>
            <a:xfrm>
              <a:off x="2053154" y="682412"/>
              <a:ext cx="4891172" cy="1791841"/>
              <a:chOff x="3696511" y="593565"/>
              <a:chExt cx="4891172" cy="1791841"/>
            </a:xfrm>
          </p:grpSpPr>
          <p:sp>
            <p:nvSpPr>
              <p:cNvPr id="111" name="Полілінія: фігура 110">
                <a:extLst>
                  <a:ext uri="{FF2B5EF4-FFF2-40B4-BE49-F238E27FC236}">
                    <a16:creationId xmlns:a16="http://schemas.microsoft.com/office/drawing/2014/main" id="{D46572AE-C2CF-0296-3751-788CE0D7775E}"/>
                  </a:ext>
                </a:extLst>
              </p:cNvPr>
              <p:cNvSpPr/>
              <p:nvPr/>
            </p:nvSpPr>
            <p:spPr>
              <a:xfrm>
                <a:off x="3696511" y="593565"/>
                <a:ext cx="4891172" cy="516523"/>
              </a:xfrm>
              <a:custGeom>
                <a:avLst/>
                <a:gdLst>
                  <a:gd name="connsiteX0" fmla="*/ 206510 w 4099481"/>
                  <a:gd name="connsiteY0" fmla="*/ 0 h 612326"/>
                  <a:gd name="connsiteX1" fmla="*/ 3892971 w 4099481"/>
                  <a:gd name="connsiteY1" fmla="*/ 0 h 612326"/>
                  <a:gd name="connsiteX2" fmla="*/ 4099481 w 4099481"/>
                  <a:gd name="connsiteY2" fmla="*/ 206510 h 612326"/>
                  <a:gd name="connsiteX3" fmla="*/ 4099481 w 4099481"/>
                  <a:gd name="connsiteY3" fmla="*/ 612326 h 612326"/>
                  <a:gd name="connsiteX4" fmla="*/ 0 w 4099481"/>
                  <a:gd name="connsiteY4" fmla="*/ 612326 h 612326"/>
                  <a:gd name="connsiteX5" fmla="*/ 0 w 4099481"/>
                  <a:gd name="connsiteY5" fmla="*/ 206510 h 612326"/>
                  <a:gd name="connsiteX6" fmla="*/ 206510 w 4099481"/>
                  <a:gd name="connsiteY6" fmla="*/ 0 h 612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99481" h="612326">
                    <a:moveTo>
                      <a:pt x="206510" y="0"/>
                    </a:moveTo>
                    <a:lnTo>
                      <a:pt x="3892971" y="0"/>
                    </a:lnTo>
                    <a:cubicBezTo>
                      <a:pt x="4007023" y="0"/>
                      <a:pt x="4099481" y="92458"/>
                      <a:pt x="4099481" y="206510"/>
                    </a:cubicBezTo>
                    <a:lnTo>
                      <a:pt x="4099481" y="612326"/>
                    </a:lnTo>
                    <a:lnTo>
                      <a:pt x="0" y="612326"/>
                    </a:lnTo>
                    <a:lnTo>
                      <a:pt x="0" y="206510"/>
                    </a:lnTo>
                    <a:cubicBezTo>
                      <a:pt x="0" y="92458"/>
                      <a:pt x="92458" y="0"/>
                      <a:pt x="206510" y="0"/>
                    </a:cubicBezTo>
                    <a:close/>
                  </a:path>
                </a:pathLst>
              </a:custGeom>
              <a:solidFill>
                <a:srgbClr val="F0F0F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/>
              </a:p>
            </p:txBody>
          </p:sp>
          <p:graphicFrame>
            <p:nvGraphicFramePr>
              <p:cNvPr id="130" name="Таблиця 129">
                <a:extLst>
                  <a:ext uri="{FF2B5EF4-FFF2-40B4-BE49-F238E27FC236}">
                    <a16:creationId xmlns:a16="http://schemas.microsoft.com/office/drawing/2014/main" id="{2E65694E-83E4-0E4E-F7AA-A1028A39B09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981429220"/>
                  </p:ext>
                </p:extLst>
              </p:nvPr>
            </p:nvGraphicFramePr>
            <p:xfrm>
              <a:off x="3816934" y="626318"/>
              <a:ext cx="4676718" cy="1759088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246442">
                      <a:extLst>
                        <a:ext uri="{9D8B030D-6E8A-4147-A177-3AD203B41FA5}">
                          <a16:colId xmlns:a16="http://schemas.microsoft.com/office/drawing/2014/main" val="1796781119"/>
                        </a:ext>
                      </a:extLst>
                    </a:gridCol>
                    <a:gridCol w="1715138">
                      <a:extLst>
                        <a:ext uri="{9D8B030D-6E8A-4147-A177-3AD203B41FA5}">
                          <a16:colId xmlns:a16="http://schemas.microsoft.com/office/drawing/2014/main" val="492048168"/>
                        </a:ext>
                      </a:extLst>
                    </a:gridCol>
                    <a:gridCol w="1715138">
                      <a:extLst>
                        <a:ext uri="{9D8B030D-6E8A-4147-A177-3AD203B41FA5}">
                          <a16:colId xmlns:a16="http://schemas.microsoft.com/office/drawing/2014/main" val="941524217"/>
                        </a:ext>
                      </a:extLst>
                    </a:gridCol>
                  </a:tblGrid>
                  <a:tr h="466867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Filling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F0F0F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Withdrawal </a:t>
                          </a:r>
                          <a:r>
                            <a:rPr lang="uk-UA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 </a:t>
                          </a:r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mcm/day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F0F0F0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Injection </a:t>
                          </a:r>
                        </a:p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mcm/day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mpd="sng">
                          <a:noFill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F0F0F0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16621425"/>
                      </a:ext>
                    </a:extLst>
                  </a:tr>
                  <a:tr h="3178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100%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230 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188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38767663"/>
                      </a:ext>
                    </a:extLst>
                  </a:tr>
                  <a:tr h="3178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50%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170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203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863229804"/>
                      </a:ext>
                    </a:extLst>
                  </a:tr>
                  <a:tr h="3178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30%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122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222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341291337"/>
                      </a:ext>
                    </a:extLst>
                  </a:tr>
                  <a:tr h="317852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10%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60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300" dirty="0">
                              <a:solidFill>
                                <a:schemeClr val="bg2">
                                  <a:lumMod val="25000"/>
                                </a:schemeClr>
                              </a:solidFill>
                              <a:latin typeface="+mj-lt"/>
                            </a:rPr>
                            <a:t>213</a:t>
                          </a:r>
                          <a:endParaRPr lang="uk-UA" sz="1300" dirty="0">
                            <a:solidFill>
                              <a:schemeClr val="bg2">
                                <a:lumMod val="25000"/>
                              </a:schemeClr>
                            </a:solidFill>
                            <a:latin typeface="+mj-lt"/>
                          </a:endParaRPr>
                        </a:p>
                      </a:txBody>
                      <a:tcPr anchor="ctr">
                        <a:lnT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T>
                        <a:lnB w="6350" cap="flat" cmpd="sng" algn="ctr">
                          <a:solidFill>
                            <a:schemeClr val="tx1"/>
                          </a:solidFill>
                          <a:prstDash val="lgDash"/>
                          <a:round/>
                          <a:headEnd type="none" w="med" len="med"/>
                          <a:tailEnd type="none" w="med" len="med"/>
                        </a:lnB>
                        <a:solidFill>
                          <a:schemeClr val="bg1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54742243"/>
                      </a:ext>
                    </a:extLst>
                  </a:tr>
                </a:tbl>
              </a:graphicData>
            </a:graphic>
          </p:graphicFrame>
        </p:grpSp>
        <p:grpSp>
          <p:nvGrpSpPr>
            <p:cNvPr id="158" name="Групувати 157">
              <a:extLst>
                <a:ext uri="{FF2B5EF4-FFF2-40B4-BE49-F238E27FC236}">
                  <a16:creationId xmlns:a16="http://schemas.microsoft.com/office/drawing/2014/main" id="{152F8094-1031-D5E5-A031-9F6BE0C87954}"/>
                </a:ext>
              </a:extLst>
            </p:cNvPr>
            <p:cNvGrpSpPr/>
            <p:nvPr/>
          </p:nvGrpSpPr>
          <p:grpSpPr>
            <a:xfrm>
              <a:off x="10613803" y="104129"/>
              <a:ext cx="1405132" cy="300056"/>
              <a:chOff x="8944864" y="1776832"/>
              <a:chExt cx="1022457" cy="221924"/>
            </a:xfrm>
          </p:grpSpPr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F6E72206-3557-7CEC-173E-20BDD3787808}"/>
                  </a:ext>
                </a:extLst>
              </p:cNvPr>
              <p:cNvSpPr txBox="1"/>
              <p:nvPr/>
            </p:nvSpPr>
            <p:spPr>
              <a:xfrm>
                <a:off x="9569202" y="1795187"/>
                <a:ext cx="97196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97196" h="96262">
                    <a:moveTo>
                      <a:pt x="48531" y="0"/>
                    </a:moveTo>
                    <a:cubicBezTo>
                      <a:pt x="57866" y="55"/>
                      <a:pt x="66182" y="2061"/>
                      <a:pt x="73479" y="6016"/>
                    </a:cubicBezTo>
                    <a:cubicBezTo>
                      <a:pt x="80775" y="9972"/>
                      <a:pt x="86530" y="15542"/>
                      <a:pt x="90744" y="22729"/>
                    </a:cubicBezTo>
                    <a:cubicBezTo>
                      <a:pt x="94958" y="29915"/>
                      <a:pt x="97109" y="38382"/>
                      <a:pt x="97196" y="48130"/>
                    </a:cubicBezTo>
                    <a:cubicBezTo>
                      <a:pt x="97109" y="57543"/>
                      <a:pt x="94958" y="65852"/>
                      <a:pt x="90744" y="73058"/>
                    </a:cubicBezTo>
                    <a:cubicBezTo>
                      <a:pt x="86530" y="80264"/>
                      <a:pt x="80775" y="85914"/>
                      <a:pt x="73479" y="90008"/>
                    </a:cubicBezTo>
                    <a:cubicBezTo>
                      <a:pt x="66182" y="94102"/>
                      <a:pt x="57866" y="96186"/>
                      <a:pt x="48531" y="96262"/>
                    </a:cubicBezTo>
                    <a:cubicBezTo>
                      <a:pt x="39198" y="96206"/>
                      <a:pt x="30894" y="94200"/>
                      <a:pt x="23618" y="90245"/>
                    </a:cubicBezTo>
                    <a:cubicBezTo>
                      <a:pt x="16343" y="86290"/>
                      <a:pt x="10610" y="80719"/>
                      <a:pt x="6417" y="73532"/>
                    </a:cubicBezTo>
                    <a:cubicBezTo>
                      <a:pt x="2225" y="66346"/>
                      <a:pt x="86" y="57879"/>
                      <a:pt x="0" y="48130"/>
                    </a:cubicBezTo>
                    <a:cubicBezTo>
                      <a:pt x="68" y="39012"/>
                      <a:pt x="2138" y="30841"/>
                      <a:pt x="6210" y="23618"/>
                    </a:cubicBezTo>
                    <a:cubicBezTo>
                      <a:pt x="10281" y="16395"/>
                      <a:pt x="15946" y="10676"/>
                      <a:pt x="23203" y="6461"/>
                    </a:cubicBezTo>
                    <a:cubicBezTo>
                      <a:pt x="30461" y="2246"/>
                      <a:pt x="38904" y="92"/>
                      <a:pt x="48531" y="0"/>
                    </a:cubicBezTo>
                    <a:close/>
                    <a:moveTo>
                      <a:pt x="48531" y="15318"/>
                    </a:moveTo>
                    <a:cubicBezTo>
                      <a:pt x="39411" y="15477"/>
                      <a:pt x="31975" y="18528"/>
                      <a:pt x="26223" y="24472"/>
                    </a:cubicBezTo>
                    <a:cubicBezTo>
                      <a:pt x="20470" y="30415"/>
                      <a:pt x="17503" y="38302"/>
                      <a:pt x="17319" y="48130"/>
                    </a:cubicBezTo>
                    <a:cubicBezTo>
                      <a:pt x="17528" y="57667"/>
                      <a:pt x="20545" y="65470"/>
                      <a:pt x="26373" y="71539"/>
                    </a:cubicBezTo>
                    <a:cubicBezTo>
                      <a:pt x="32200" y="77608"/>
                      <a:pt x="39586" y="80743"/>
                      <a:pt x="48531" y="80943"/>
                    </a:cubicBezTo>
                    <a:cubicBezTo>
                      <a:pt x="58415" y="80726"/>
                      <a:pt x="66091" y="77558"/>
                      <a:pt x="71557" y="71439"/>
                    </a:cubicBezTo>
                    <a:cubicBezTo>
                      <a:pt x="77023" y="65320"/>
                      <a:pt x="79796" y="57551"/>
                      <a:pt x="79877" y="48130"/>
                    </a:cubicBezTo>
                    <a:cubicBezTo>
                      <a:pt x="79671" y="38302"/>
                      <a:pt x="76648" y="30415"/>
                      <a:pt x="70807" y="24472"/>
                    </a:cubicBezTo>
                    <a:cubicBezTo>
                      <a:pt x="64965" y="18528"/>
                      <a:pt x="57540" y="15477"/>
                      <a:pt x="48531" y="1531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E9194BC4-2EF6-3101-62E2-9B9D4D6A7D46}"/>
                  </a:ext>
                </a:extLst>
              </p:cNvPr>
              <p:cNvSpPr txBox="1"/>
              <p:nvPr/>
            </p:nvSpPr>
            <p:spPr>
              <a:xfrm>
                <a:off x="9683502" y="1795187"/>
                <a:ext cx="83594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83594" h="96262">
                    <a:moveTo>
                      <a:pt x="46532" y="0"/>
                    </a:moveTo>
                    <a:cubicBezTo>
                      <a:pt x="53144" y="19"/>
                      <a:pt x="58862" y="846"/>
                      <a:pt x="63688" y="2481"/>
                    </a:cubicBezTo>
                    <a:cubicBezTo>
                      <a:pt x="68514" y="4115"/>
                      <a:pt x="72796" y="6441"/>
                      <a:pt x="76534" y="9457"/>
                    </a:cubicBezTo>
                    <a:lnTo>
                      <a:pt x="69608" y="22523"/>
                    </a:lnTo>
                    <a:cubicBezTo>
                      <a:pt x="67196" y="20297"/>
                      <a:pt x="64117" y="18546"/>
                      <a:pt x="60371" y="17270"/>
                    </a:cubicBezTo>
                    <a:cubicBezTo>
                      <a:pt x="56625" y="15994"/>
                      <a:pt x="52679" y="15343"/>
                      <a:pt x="48533" y="15318"/>
                    </a:cubicBezTo>
                    <a:cubicBezTo>
                      <a:pt x="39354" y="15385"/>
                      <a:pt x="31901" y="18253"/>
                      <a:pt x="26173" y="23923"/>
                    </a:cubicBezTo>
                    <a:cubicBezTo>
                      <a:pt x="20446" y="29593"/>
                      <a:pt x="17494" y="37664"/>
                      <a:pt x="17319" y="48135"/>
                    </a:cubicBezTo>
                    <a:cubicBezTo>
                      <a:pt x="17453" y="58192"/>
                      <a:pt x="20354" y="66143"/>
                      <a:pt x="26023" y="71988"/>
                    </a:cubicBezTo>
                    <a:cubicBezTo>
                      <a:pt x="31692" y="77832"/>
                      <a:pt x="39329" y="80817"/>
                      <a:pt x="48933" y="80943"/>
                    </a:cubicBezTo>
                    <a:cubicBezTo>
                      <a:pt x="52674" y="80885"/>
                      <a:pt x="56364" y="80234"/>
                      <a:pt x="60005" y="78991"/>
                    </a:cubicBezTo>
                    <a:cubicBezTo>
                      <a:pt x="63645" y="77748"/>
                      <a:pt x="66402" y="76264"/>
                      <a:pt x="68276" y="74537"/>
                    </a:cubicBezTo>
                    <a:lnTo>
                      <a:pt x="68276" y="59857"/>
                    </a:lnTo>
                    <a:lnTo>
                      <a:pt x="45732" y="59857"/>
                    </a:lnTo>
                    <a:lnTo>
                      <a:pt x="45732" y="44539"/>
                    </a:lnTo>
                    <a:lnTo>
                      <a:pt x="83594" y="44539"/>
                    </a:lnTo>
                    <a:lnTo>
                      <a:pt x="83594" y="83208"/>
                    </a:lnTo>
                    <a:cubicBezTo>
                      <a:pt x="79251" y="87365"/>
                      <a:pt x="73848" y="90573"/>
                      <a:pt x="67385" y="92832"/>
                    </a:cubicBezTo>
                    <a:cubicBezTo>
                      <a:pt x="60922" y="95091"/>
                      <a:pt x="54683" y="96234"/>
                      <a:pt x="48666" y="96262"/>
                    </a:cubicBezTo>
                    <a:cubicBezTo>
                      <a:pt x="33274" y="96073"/>
                      <a:pt x="21345" y="91686"/>
                      <a:pt x="12878" y="83100"/>
                    </a:cubicBezTo>
                    <a:cubicBezTo>
                      <a:pt x="4412" y="74514"/>
                      <a:pt x="119" y="62859"/>
                      <a:pt x="0" y="48135"/>
                    </a:cubicBezTo>
                    <a:cubicBezTo>
                      <a:pt x="46" y="39100"/>
                      <a:pt x="1953" y="30968"/>
                      <a:pt x="5721" y="23739"/>
                    </a:cubicBezTo>
                    <a:cubicBezTo>
                      <a:pt x="9488" y="16510"/>
                      <a:pt x="14842" y="10771"/>
                      <a:pt x="21781" y="6521"/>
                    </a:cubicBezTo>
                    <a:cubicBezTo>
                      <a:pt x="28721" y="2271"/>
                      <a:pt x="36971" y="97"/>
                      <a:pt x="46532" y="0"/>
                    </a:cubicBez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3B0ED371-6B66-522A-FC37-0F5F50C5E0E1}"/>
                  </a:ext>
                </a:extLst>
              </p:cNvPr>
              <p:cNvSpPr txBox="1"/>
              <p:nvPr/>
            </p:nvSpPr>
            <p:spPr>
              <a:xfrm>
                <a:off x="92879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12E301BE-525D-33A3-61A3-A70DE4CE1869}"/>
                  </a:ext>
                </a:extLst>
              </p:cNvPr>
              <p:cNvSpPr txBox="1"/>
              <p:nvPr/>
            </p:nvSpPr>
            <p:spPr>
              <a:xfrm>
                <a:off x="97832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3A1BBEA6-DF6D-236F-9AB3-0685C548B68C}"/>
                  </a:ext>
                </a:extLst>
              </p:cNvPr>
              <p:cNvSpPr txBox="1"/>
              <p:nvPr/>
            </p:nvSpPr>
            <p:spPr>
              <a:xfrm>
                <a:off x="9185612" y="1796788"/>
                <a:ext cx="797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9726" h="93195">
                    <a:moveTo>
                      <a:pt x="0" y="0"/>
                    </a:moveTo>
                    <a:lnTo>
                      <a:pt x="13054" y="0"/>
                    </a:lnTo>
                    <a:lnTo>
                      <a:pt x="64408" y="64837"/>
                    </a:lnTo>
                    <a:lnTo>
                      <a:pt x="64408" y="0"/>
                    </a:lnTo>
                    <a:lnTo>
                      <a:pt x="79726" y="0"/>
                    </a:lnTo>
                    <a:lnTo>
                      <a:pt x="79726" y="93195"/>
                    </a:lnTo>
                    <a:lnTo>
                      <a:pt x="66672" y="93195"/>
                    </a:lnTo>
                    <a:lnTo>
                      <a:pt x="15318" y="28624"/>
                    </a:lnTo>
                    <a:lnTo>
                      <a:pt x="15318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66" name="TextBox 165">
                <a:extLst>
                  <a:ext uri="{FF2B5EF4-FFF2-40B4-BE49-F238E27FC236}">
                    <a16:creationId xmlns:a16="http://schemas.microsoft.com/office/drawing/2014/main" id="{E4ED0EB4-CD1C-0CEB-BADA-B79358CBE783}"/>
                  </a:ext>
                </a:extLst>
              </p:cNvPr>
              <p:cNvSpPr txBox="1"/>
              <p:nvPr/>
            </p:nvSpPr>
            <p:spPr>
              <a:xfrm>
                <a:off x="9404688" y="1796788"/>
                <a:ext cx="5332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53323" h="93195">
                    <a:moveTo>
                      <a:pt x="0" y="0"/>
                    </a:moveTo>
                    <a:lnTo>
                      <a:pt x="53323" y="0"/>
                    </a:lnTo>
                    <a:lnTo>
                      <a:pt x="53323" y="15318"/>
                    </a:lnTo>
                    <a:lnTo>
                      <a:pt x="16385" y="15318"/>
                    </a:lnTo>
                    <a:lnTo>
                      <a:pt x="16385" y="41605"/>
                    </a:lnTo>
                    <a:lnTo>
                      <a:pt x="49322" y="41605"/>
                    </a:lnTo>
                    <a:lnTo>
                      <a:pt x="49322" y="56924"/>
                    </a:lnTo>
                    <a:lnTo>
                      <a:pt x="16385" y="56924"/>
                    </a:lnTo>
                    <a:lnTo>
                      <a:pt x="16385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CE0405CA-DE4D-9D9A-EA1A-9CE0CCCD02D5}"/>
                  </a:ext>
                </a:extLst>
              </p:cNvPr>
              <p:cNvSpPr txBox="1"/>
              <p:nvPr/>
            </p:nvSpPr>
            <p:spPr>
              <a:xfrm>
                <a:off x="9478810" y="1796788"/>
                <a:ext cx="769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6926" h="93195">
                    <a:moveTo>
                      <a:pt x="0" y="0"/>
                    </a:moveTo>
                    <a:lnTo>
                      <a:pt x="76926" y="0"/>
                    </a:lnTo>
                    <a:lnTo>
                      <a:pt x="76926" y="15318"/>
                    </a:lnTo>
                    <a:lnTo>
                      <a:pt x="46656" y="15318"/>
                    </a:lnTo>
                    <a:lnTo>
                      <a:pt x="46656" y="93195"/>
                    </a:lnTo>
                    <a:lnTo>
                      <a:pt x="30270" y="93195"/>
                    </a:lnTo>
                    <a:lnTo>
                      <a:pt x="30270" y="15318"/>
                    </a:lnTo>
                    <a:lnTo>
                      <a:pt x="0" y="153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6BEB74DA-C58E-3603-95F8-7E388F32A679}"/>
                  </a:ext>
                </a:extLst>
              </p:cNvPr>
              <p:cNvSpPr txBox="1"/>
              <p:nvPr/>
            </p:nvSpPr>
            <p:spPr>
              <a:xfrm>
                <a:off x="9892378" y="1796788"/>
                <a:ext cx="7494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4943" h="93195">
                    <a:moveTo>
                      <a:pt x="2667" y="0"/>
                    </a:moveTo>
                    <a:lnTo>
                      <a:pt x="73609" y="0"/>
                    </a:lnTo>
                    <a:lnTo>
                      <a:pt x="73609" y="11322"/>
                    </a:lnTo>
                    <a:lnTo>
                      <a:pt x="21870" y="77876"/>
                    </a:lnTo>
                    <a:lnTo>
                      <a:pt x="74943" y="77876"/>
                    </a:lnTo>
                    <a:lnTo>
                      <a:pt x="74943" y="93195"/>
                    </a:lnTo>
                    <a:lnTo>
                      <a:pt x="0" y="93195"/>
                    </a:lnTo>
                    <a:lnTo>
                      <a:pt x="0" y="82006"/>
                    </a:lnTo>
                    <a:lnTo>
                      <a:pt x="51607" y="15318"/>
                    </a:lnTo>
                    <a:lnTo>
                      <a:pt x="2667" y="15318"/>
                    </a:lnTo>
                    <a:lnTo>
                      <a:pt x="2667" y="0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171" name="Freeform 218">
                <a:extLst>
                  <a:ext uri="{FF2B5EF4-FFF2-40B4-BE49-F238E27FC236}">
                    <a16:creationId xmlns:a16="http://schemas.microsoft.com/office/drawing/2014/main" id="{D735696D-9B8B-0C52-2A8E-023F6DF7A890}"/>
                  </a:ext>
                </a:extLst>
              </p:cNvPr>
              <p:cNvSpPr/>
              <p:nvPr/>
            </p:nvSpPr>
            <p:spPr>
              <a:xfrm>
                <a:off x="9064800" y="1991655"/>
                <a:ext cx="4609" cy="1336"/>
              </a:xfrm>
              <a:custGeom>
                <a:avLst/>
                <a:gdLst/>
                <a:ahLst/>
                <a:cxnLst/>
                <a:rect l="0" t="0" r="0" b="0"/>
                <a:pathLst>
                  <a:path w="13665" h="3962">
                    <a:moveTo>
                      <a:pt x="0" y="3962"/>
                    </a:moveTo>
                    <a:cubicBezTo>
                      <a:pt x="4610" y="2731"/>
                      <a:pt x="9169" y="1626"/>
                      <a:pt x="13665" y="0"/>
                    </a:cubicBezTo>
                    <a:cubicBezTo>
                      <a:pt x="8978" y="1384"/>
                      <a:pt x="4508" y="2731"/>
                      <a:pt x="0" y="3962"/>
                    </a:cubicBezTo>
                  </a:path>
                </a:pathLst>
              </a:custGeom>
              <a:solidFill>
                <a:srgbClr val="000000">
                  <a:alpha val="100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pic>
            <p:nvPicPr>
              <p:cNvPr id="172" name="Picture 219">
                <a:extLst>
                  <a:ext uri="{FF2B5EF4-FFF2-40B4-BE49-F238E27FC236}">
                    <a16:creationId xmlns:a16="http://schemas.microsoft.com/office/drawing/2014/main" id="{3A02C108-F51D-963C-8C8C-2C5C8916E2C8}"/>
                  </a:ext>
                </a:extLst>
              </p:cNvPr>
              <p:cNvPicPr/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058175" y="1988501"/>
                <a:ext cx="15518" cy="10255"/>
              </a:xfrm>
              <a:prstGeom prst="rect">
                <a:avLst/>
              </a:prstGeom>
              <a:noFill/>
            </p:spPr>
          </p:pic>
          <p:grpSp>
            <p:nvGrpSpPr>
              <p:cNvPr id="173" name="Групувати 172">
                <a:extLst>
                  <a:ext uri="{FF2B5EF4-FFF2-40B4-BE49-F238E27FC236}">
                    <a16:creationId xmlns:a16="http://schemas.microsoft.com/office/drawing/2014/main" id="{722F82CF-8FAA-C073-6019-133CE2B2C484}"/>
                  </a:ext>
                </a:extLst>
              </p:cNvPr>
              <p:cNvGrpSpPr/>
              <p:nvPr/>
            </p:nvGrpSpPr>
            <p:grpSpPr>
              <a:xfrm>
                <a:off x="8944864" y="1776832"/>
                <a:ext cx="207633" cy="206717"/>
                <a:chOff x="5192198" y="3302281"/>
                <a:chExt cx="207633" cy="206717"/>
              </a:xfrm>
            </p:grpSpPr>
            <p:sp>
              <p:nvSpPr>
                <p:cNvPr id="190" name="Freeform 220">
                  <a:extLst>
                    <a:ext uri="{FF2B5EF4-FFF2-40B4-BE49-F238E27FC236}">
                      <a16:creationId xmlns:a16="http://schemas.microsoft.com/office/drawing/2014/main" id="{3D0479D8-0522-4CC0-30F4-16F724C5418B}"/>
                    </a:ext>
                  </a:extLst>
                </p:cNvPr>
                <p:cNvSpPr/>
                <p:nvPr/>
              </p:nvSpPr>
              <p:spPr>
                <a:xfrm>
                  <a:off x="5309209" y="3316368"/>
                  <a:ext cx="90622" cy="1786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8693" h="529665">
                      <a:moveTo>
                        <a:pt x="249186" y="162356"/>
                      </a:moveTo>
                      <a:cubicBezTo>
                        <a:pt x="249490" y="162482"/>
                        <a:pt x="249770" y="162521"/>
                        <a:pt x="250049" y="162724"/>
                      </a:cubicBezTo>
                      <a:cubicBezTo>
                        <a:pt x="233972" y="106400"/>
                        <a:pt x="199834" y="59042"/>
                        <a:pt x="150126" y="24841"/>
                      </a:cubicBezTo>
                      <a:cubicBezTo>
                        <a:pt x="127165" y="9055"/>
                        <a:pt x="100622" y="0"/>
                        <a:pt x="77356" y="0"/>
                      </a:cubicBezTo>
                      <a:cubicBezTo>
                        <a:pt x="63970" y="0"/>
                        <a:pt x="51701" y="2844"/>
                        <a:pt x="41008" y="8661"/>
                      </a:cubicBezTo>
                      <a:cubicBezTo>
                        <a:pt x="13894" y="24498"/>
                        <a:pt x="0" y="46990"/>
                        <a:pt x="0" y="75565"/>
                      </a:cubicBezTo>
                      <a:cubicBezTo>
                        <a:pt x="0" y="122174"/>
                        <a:pt x="27051" y="149669"/>
                        <a:pt x="67932" y="191324"/>
                      </a:cubicBezTo>
                      <a:cubicBezTo>
                        <a:pt x="89205" y="213003"/>
                        <a:pt x="113068" y="237336"/>
                        <a:pt x="136474" y="268591"/>
                      </a:cubicBezTo>
                      <a:cubicBezTo>
                        <a:pt x="174879" y="319785"/>
                        <a:pt x="184366" y="391375"/>
                        <a:pt x="161239" y="455687"/>
                      </a:cubicBezTo>
                      <a:cubicBezTo>
                        <a:pt x="151143" y="483754"/>
                        <a:pt x="135737" y="508431"/>
                        <a:pt x="115798" y="528992"/>
                      </a:cubicBezTo>
                      <a:cubicBezTo>
                        <a:pt x="115519" y="529068"/>
                        <a:pt x="115468" y="529462"/>
                        <a:pt x="115214" y="529665"/>
                      </a:cubicBezTo>
                      <a:cubicBezTo>
                        <a:pt x="163931" y="502233"/>
                        <a:pt x="200685" y="463269"/>
                        <a:pt x="223342" y="414768"/>
                      </a:cubicBezTo>
                      <a:cubicBezTo>
                        <a:pt x="268693" y="317359"/>
                        <a:pt x="235026" y="249795"/>
                        <a:pt x="214922" y="209384"/>
                      </a:cubicBezTo>
                      <a:cubicBezTo>
                        <a:pt x="204610" y="188670"/>
                        <a:pt x="197193" y="173531"/>
                        <a:pt x="204711" y="162191"/>
                      </a:cubicBezTo>
                      <a:cubicBezTo>
                        <a:pt x="213411" y="149098"/>
                        <a:pt x="229451" y="148463"/>
                        <a:pt x="249186" y="162356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  <p:sp>
              <p:nvSpPr>
                <p:cNvPr id="191" name="Freeform 221">
                  <a:extLst>
                    <a:ext uri="{FF2B5EF4-FFF2-40B4-BE49-F238E27FC236}">
                      <a16:creationId xmlns:a16="http://schemas.microsoft.com/office/drawing/2014/main" id="{66604FBC-BDB2-015B-71EF-FF2BD4CCFB00}"/>
                    </a:ext>
                  </a:extLst>
                </p:cNvPr>
                <p:cNvSpPr/>
                <p:nvPr/>
              </p:nvSpPr>
              <p:spPr>
                <a:xfrm>
                  <a:off x="5192198" y="3326401"/>
                  <a:ext cx="131219" cy="1799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9064" h="533476">
                      <a:moveTo>
                        <a:pt x="374561" y="363639"/>
                      </a:moveTo>
                      <a:cubicBezTo>
                        <a:pt x="345733" y="318936"/>
                        <a:pt x="304800" y="303162"/>
                        <a:pt x="261519" y="286563"/>
                      </a:cubicBezTo>
                      <a:cubicBezTo>
                        <a:pt x="219050" y="270142"/>
                        <a:pt x="175095" y="253251"/>
                        <a:pt x="137757" y="209398"/>
                      </a:cubicBezTo>
                      <a:cubicBezTo>
                        <a:pt x="101156" y="166739"/>
                        <a:pt x="85764" y="111430"/>
                        <a:pt x="94044" y="53988"/>
                      </a:cubicBezTo>
                      <a:cubicBezTo>
                        <a:pt x="96635" y="36322"/>
                        <a:pt x="101651" y="19495"/>
                        <a:pt x="108243" y="3988"/>
                      </a:cubicBezTo>
                      <a:cubicBezTo>
                        <a:pt x="108509" y="3214"/>
                        <a:pt x="108801" y="2451"/>
                        <a:pt x="108827" y="2439"/>
                      </a:cubicBezTo>
                      <a:cubicBezTo>
                        <a:pt x="109182" y="1486"/>
                        <a:pt x="109386" y="788"/>
                        <a:pt x="109703" y="0"/>
                      </a:cubicBezTo>
                      <a:cubicBezTo>
                        <a:pt x="104902" y="3988"/>
                        <a:pt x="100559" y="8408"/>
                        <a:pt x="96063" y="12675"/>
                      </a:cubicBezTo>
                      <a:cubicBezTo>
                        <a:pt x="96139" y="12599"/>
                        <a:pt x="96241" y="12535"/>
                        <a:pt x="96330" y="12459"/>
                      </a:cubicBezTo>
                      <a:cubicBezTo>
                        <a:pt x="96241" y="12535"/>
                        <a:pt x="96139" y="12612"/>
                        <a:pt x="96063" y="12688"/>
                      </a:cubicBezTo>
                      <a:cubicBezTo>
                        <a:pt x="35345" y="69977"/>
                        <a:pt x="0" y="149556"/>
                        <a:pt x="0" y="234925"/>
                      </a:cubicBezTo>
                      <a:cubicBezTo>
                        <a:pt x="0" y="369468"/>
                        <a:pt x="90031" y="490258"/>
                        <a:pt x="218974" y="528586"/>
                      </a:cubicBezTo>
                      <a:cubicBezTo>
                        <a:pt x="231445" y="531837"/>
                        <a:pt x="244221" y="533476"/>
                        <a:pt x="256972" y="533476"/>
                      </a:cubicBezTo>
                      <a:cubicBezTo>
                        <a:pt x="300482" y="533476"/>
                        <a:pt x="339344" y="514349"/>
                        <a:pt x="363881" y="480910"/>
                      </a:cubicBezTo>
                      <a:cubicBezTo>
                        <a:pt x="376135" y="464070"/>
                        <a:pt x="383044" y="444995"/>
                        <a:pt x="385800" y="426034"/>
                      </a:cubicBezTo>
                      <a:cubicBezTo>
                        <a:pt x="389064" y="403453"/>
                        <a:pt x="385838" y="381190"/>
                        <a:pt x="374561" y="363639"/>
                      </a:cubicBezTo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 dirty="0"/>
                </a:p>
              </p:txBody>
            </p:sp>
            <p:sp>
              <p:nvSpPr>
                <p:cNvPr id="192" name="Freeform 222">
                  <a:extLst>
                    <a:ext uri="{FF2B5EF4-FFF2-40B4-BE49-F238E27FC236}">
                      <a16:creationId xmlns:a16="http://schemas.microsoft.com/office/drawing/2014/main" id="{D0446041-8CA7-6B9D-D405-ADDCDB4945AC}"/>
                    </a:ext>
                  </a:extLst>
                </p:cNvPr>
                <p:cNvSpPr/>
                <p:nvPr/>
              </p:nvSpPr>
              <p:spPr>
                <a:xfrm>
                  <a:off x="5231948" y="3302281"/>
                  <a:ext cx="129163" cy="20671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2967" h="612914">
                      <a:moveTo>
                        <a:pt x="342366" y="327609"/>
                      </a:moveTo>
                      <a:cubicBezTo>
                        <a:pt x="320078" y="297904"/>
                        <a:pt x="296850" y="274142"/>
                        <a:pt x="276352" y="253340"/>
                      </a:cubicBezTo>
                      <a:cubicBezTo>
                        <a:pt x="233743" y="209868"/>
                        <a:pt x="200215" y="175692"/>
                        <a:pt x="200215" y="117323"/>
                      </a:cubicBezTo>
                      <a:cubicBezTo>
                        <a:pt x="200215" y="57811"/>
                        <a:pt x="243726" y="25121"/>
                        <a:pt x="284543" y="15316"/>
                      </a:cubicBezTo>
                      <a:cubicBezTo>
                        <a:pt x="282499" y="14656"/>
                        <a:pt x="280162" y="14313"/>
                        <a:pt x="278054" y="13742"/>
                      </a:cubicBezTo>
                      <a:cubicBezTo>
                        <a:pt x="249555" y="5157"/>
                        <a:pt x="218605" y="0"/>
                        <a:pt x="188531" y="0"/>
                      </a:cubicBezTo>
                      <a:cubicBezTo>
                        <a:pt x="138582" y="0"/>
                        <a:pt x="99174" y="10275"/>
                        <a:pt x="60719" y="33389"/>
                      </a:cubicBezTo>
                      <a:cubicBezTo>
                        <a:pt x="32842" y="50127"/>
                        <a:pt x="10960" y="87922"/>
                        <a:pt x="4864" y="129718"/>
                      </a:cubicBezTo>
                      <a:cubicBezTo>
                        <a:pt x="686" y="158141"/>
                        <a:pt x="0" y="213157"/>
                        <a:pt x="41846" y="262065"/>
                      </a:cubicBezTo>
                      <a:cubicBezTo>
                        <a:pt x="74536" y="300393"/>
                        <a:pt x="114948" y="316002"/>
                        <a:pt x="153987" y="331038"/>
                      </a:cubicBezTo>
                      <a:cubicBezTo>
                        <a:pt x="199809" y="348652"/>
                        <a:pt x="247002" y="366953"/>
                        <a:pt x="280975" y="419442"/>
                      </a:cubicBezTo>
                      <a:cubicBezTo>
                        <a:pt x="304025" y="455091"/>
                        <a:pt x="303886" y="505104"/>
                        <a:pt x="282499" y="547801"/>
                      </a:cubicBezTo>
                      <a:cubicBezTo>
                        <a:pt x="281102" y="550659"/>
                        <a:pt x="279552" y="553415"/>
                        <a:pt x="277952" y="556132"/>
                      </a:cubicBezTo>
                      <a:cubicBezTo>
                        <a:pt x="277520" y="556932"/>
                        <a:pt x="277038" y="557745"/>
                        <a:pt x="276581" y="558545"/>
                      </a:cubicBezTo>
                      <a:cubicBezTo>
                        <a:pt x="259715" y="585304"/>
                        <a:pt x="231902" y="606069"/>
                        <a:pt x="204165" y="612914"/>
                      </a:cubicBezTo>
                      <a:cubicBezTo>
                        <a:pt x="219011" y="610793"/>
                        <a:pt x="233401" y="607555"/>
                        <a:pt x="247307" y="602856"/>
                      </a:cubicBezTo>
                      <a:cubicBezTo>
                        <a:pt x="248679" y="602462"/>
                        <a:pt x="250038" y="602043"/>
                        <a:pt x="251435" y="601649"/>
                      </a:cubicBezTo>
                      <a:cubicBezTo>
                        <a:pt x="253213" y="601001"/>
                        <a:pt x="254864" y="600100"/>
                        <a:pt x="256603" y="599427"/>
                      </a:cubicBezTo>
                      <a:cubicBezTo>
                        <a:pt x="259804" y="598157"/>
                        <a:pt x="262979" y="596823"/>
                        <a:pt x="266103" y="595375"/>
                      </a:cubicBezTo>
                      <a:cubicBezTo>
                        <a:pt x="268084" y="594448"/>
                        <a:pt x="270091" y="593559"/>
                        <a:pt x="272110" y="592505"/>
                      </a:cubicBezTo>
                      <a:cubicBezTo>
                        <a:pt x="276936" y="590092"/>
                        <a:pt x="281686" y="587336"/>
                        <a:pt x="286334" y="584453"/>
                      </a:cubicBezTo>
                      <a:cubicBezTo>
                        <a:pt x="287007" y="584022"/>
                        <a:pt x="287642" y="583590"/>
                        <a:pt x="288252" y="583183"/>
                      </a:cubicBezTo>
                      <a:cubicBezTo>
                        <a:pt x="293408" y="579894"/>
                        <a:pt x="298386" y="576198"/>
                        <a:pt x="303301" y="572274"/>
                      </a:cubicBezTo>
                      <a:cubicBezTo>
                        <a:pt x="303695" y="571944"/>
                        <a:pt x="304101" y="571601"/>
                        <a:pt x="304495" y="571296"/>
                      </a:cubicBezTo>
                      <a:cubicBezTo>
                        <a:pt x="308991" y="567575"/>
                        <a:pt x="313398" y="563587"/>
                        <a:pt x="317716" y="559282"/>
                      </a:cubicBezTo>
                      <a:cubicBezTo>
                        <a:pt x="318795" y="558139"/>
                        <a:pt x="319900" y="556932"/>
                        <a:pt x="321018" y="555789"/>
                      </a:cubicBezTo>
                      <a:cubicBezTo>
                        <a:pt x="323939" y="552703"/>
                        <a:pt x="326796" y="549477"/>
                        <a:pt x="329565" y="546087"/>
                      </a:cubicBezTo>
                      <a:cubicBezTo>
                        <a:pt x="331787" y="543470"/>
                        <a:pt x="333832" y="540753"/>
                        <a:pt x="335877" y="538022"/>
                      </a:cubicBezTo>
                      <a:cubicBezTo>
                        <a:pt x="338036" y="535114"/>
                        <a:pt x="340182" y="532091"/>
                        <a:pt x="342265" y="529005"/>
                      </a:cubicBezTo>
                      <a:cubicBezTo>
                        <a:pt x="343255" y="527494"/>
                        <a:pt x="344283" y="526046"/>
                        <a:pt x="345210" y="524535"/>
                      </a:cubicBezTo>
                      <a:cubicBezTo>
                        <a:pt x="345502" y="524141"/>
                        <a:pt x="345782" y="523709"/>
                        <a:pt x="346087" y="523239"/>
                      </a:cubicBezTo>
                      <a:lnTo>
                        <a:pt x="346036" y="523062"/>
                      </a:lnTo>
                      <a:cubicBezTo>
                        <a:pt x="352792" y="511949"/>
                        <a:pt x="358609" y="500176"/>
                        <a:pt x="363092" y="487616"/>
                      </a:cubicBezTo>
                      <a:cubicBezTo>
                        <a:pt x="382967" y="432472"/>
                        <a:pt x="374992" y="371144"/>
                        <a:pt x="342366" y="327609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</p:grpSp>
          <p:grpSp>
            <p:nvGrpSpPr>
              <p:cNvPr id="174" name="Групувати 173">
                <a:extLst>
                  <a:ext uri="{FF2B5EF4-FFF2-40B4-BE49-F238E27FC236}">
                    <a16:creationId xmlns:a16="http://schemas.microsoft.com/office/drawing/2014/main" id="{C20059F0-53B9-DD66-2E63-AE7EDC4D0490}"/>
                  </a:ext>
                </a:extLst>
              </p:cNvPr>
              <p:cNvGrpSpPr/>
              <p:nvPr/>
            </p:nvGrpSpPr>
            <p:grpSpPr>
              <a:xfrm>
                <a:off x="9192478" y="1930875"/>
                <a:ext cx="575419" cy="50379"/>
                <a:chOff x="4220435" y="3738620"/>
                <a:chExt cx="575419" cy="50379"/>
              </a:xfrm>
            </p:grpSpPr>
            <p:sp>
              <p:nvSpPr>
                <p:cNvPr id="175" name="TextBox 174">
                  <a:extLst>
                    <a:ext uri="{FF2B5EF4-FFF2-40B4-BE49-F238E27FC236}">
                      <a16:creationId xmlns:a16="http://schemas.microsoft.com/office/drawing/2014/main" id="{B7525A61-0E82-DA06-8BBD-39DF7838A653}"/>
                    </a:ext>
                  </a:extLst>
                </p:cNvPr>
                <p:cNvSpPr txBox="1"/>
                <p:nvPr/>
              </p:nvSpPr>
              <p:spPr>
                <a:xfrm>
                  <a:off x="4600817" y="3741001"/>
                  <a:ext cx="29929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929" h="47998">
                      <a:moveTo>
                        <a:pt x="15198" y="0"/>
                      </a:moveTo>
                      <a:cubicBezTo>
                        <a:pt x="17931" y="19"/>
                        <a:pt x="20418" y="463"/>
                        <a:pt x="22659" y="1331"/>
                      </a:cubicBezTo>
                      <a:cubicBezTo>
                        <a:pt x="24899" y="2200"/>
                        <a:pt x="26701" y="3376"/>
                        <a:pt x="28065" y="4860"/>
                      </a:cubicBezTo>
                      <a:lnTo>
                        <a:pt x="25002" y="9127"/>
                      </a:lnTo>
                      <a:cubicBezTo>
                        <a:pt x="23783" y="7889"/>
                        <a:pt x="22405" y="6947"/>
                        <a:pt x="20868" y="6301"/>
                      </a:cubicBezTo>
                      <a:cubicBezTo>
                        <a:pt x="19331" y="5655"/>
                        <a:pt x="17552" y="5330"/>
                        <a:pt x="15531" y="5326"/>
                      </a:cubicBezTo>
                      <a:cubicBezTo>
                        <a:pt x="12905" y="5353"/>
                        <a:pt x="10853" y="5981"/>
                        <a:pt x="9377" y="7210"/>
                      </a:cubicBezTo>
                      <a:cubicBezTo>
                        <a:pt x="7902" y="8438"/>
                        <a:pt x="7151" y="10099"/>
                        <a:pt x="7126" y="12195"/>
                      </a:cubicBezTo>
                      <a:cubicBezTo>
                        <a:pt x="7187" y="14454"/>
                        <a:pt x="7977" y="16223"/>
                        <a:pt x="9498" y="17502"/>
                      </a:cubicBezTo>
                      <a:cubicBezTo>
                        <a:pt x="11018" y="18780"/>
                        <a:pt x="12903" y="19858"/>
                        <a:pt x="15153" y="20734"/>
                      </a:cubicBezTo>
                      <a:cubicBezTo>
                        <a:pt x="17403" y="21611"/>
                        <a:pt x="19652" y="22575"/>
                        <a:pt x="21902" y="23627"/>
                      </a:cubicBezTo>
                      <a:cubicBezTo>
                        <a:pt x="24152" y="24680"/>
                        <a:pt x="26037" y="26110"/>
                        <a:pt x="27557" y="27916"/>
                      </a:cubicBezTo>
                      <a:cubicBezTo>
                        <a:pt x="29078" y="29723"/>
                        <a:pt x="29868" y="32197"/>
                        <a:pt x="29929" y="35336"/>
                      </a:cubicBezTo>
                      <a:cubicBezTo>
                        <a:pt x="29825" y="39219"/>
                        <a:pt x="28351" y="42288"/>
                        <a:pt x="25507" y="44543"/>
                      </a:cubicBezTo>
                      <a:cubicBezTo>
                        <a:pt x="22663" y="46798"/>
                        <a:pt x="19071" y="47949"/>
                        <a:pt x="14731" y="47998"/>
                      </a:cubicBezTo>
                      <a:cubicBezTo>
                        <a:pt x="11753" y="47981"/>
                        <a:pt x="8872" y="47365"/>
                        <a:pt x="6089" y="46150"/>
                      </a:cubicBezTo>
                      <a:cubicBezTo>
                        <a:pt x="3305" y="44935"/>
                        <a:pt x="1276" y="43220"/>
                        <a:pt x="0" y="41005"/>
                      </a:cubicBezTo>
                      <a:lnTo>
                        <a:pt x="3264" y="37137"/>
                      </a:lnTo>
                      <a:cubicBezTo>
                        <a:pt x="4693" y="38943"/>
                        <a:pt x="6465" y="40316"/>
                        <a:pt x="8579" y="41255"/>
                      </a:cubicBezTo>
                      <a:cubicBezTo>
                        <a:pt x="10693" y="42194"/>
                        <a:pt x="12766" y="42666"/>
                        <a:pt x="14798" y="42672"/>
                      </a:cubicBezTo>
                      <a:cubicBezTo>
                        <a:pt x="17309" y="42665"/>
                        <a:pt x="19441" y="42045"/>
                        <a:pt x="21193" y="40813"/>
                      </a:cubicBezTo>
                      <a:cubicBezTo>
                        <a:pt x="22946" y="39581"/>
                        <a:pt x="23860" y="37777"/>
                        <a:pt x="23936" y="35403"/>
                      </a:cubicBezTo>
                      <a:cubicBezTo>
                        <a:pt x="23876" y="33168"/>
                        <a:pt x="23085" y="31398"/>
                        <a:pt x="21565" y="30095"/>
                      </a:cubicBezTo>
                      <a:cubicBezTo>
                        <a:pt x="20045" y="28792"/>
                        <a:pt x="18160" y="27681"/>
                        <a:pt x="15910" y="26763"/>
                      </a:cubicBezTo>
                      <a:cubicBezTo>
                        <a:pt x="13660" y="25844"/>
                        <a:pt x="11410" y="24845"/>
                        <a:pt x="9160" y="23763"/>
                      </a:cubicBezTo>
                      <a:cubicBezTo>
                        <a:pt x="6910" y="22682"/>
                        <a:pt x="5025" y="21246"/>
                        <a:pt x="3505" y="19455"/>
                      </a:cubicBezTo>
                      <a:cubicBezTo>
                        <a:pt x="1985" y="17663"/>
                        <a:pt x="1194" y="15243"/>
                        <a:pt x="1134" y="12195"/>
                      </a:cubicBezTo>
                      <a:cubicBezTo>
                        <a:pt x="1165" y="8740"/>
                        <a:pt x="2400" y="5865"/>
                        <a:pt x="4839" y="3571"/>
                      </a:cubicBezTo>
                      <a:cubicBezTo>
                        <a:pt x="7278" y="1278"/>
                        <a:pt x="10731" y="87"/>
                        <a:pt x="15198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76" name="TextBox 175">
                  <a:extLst>
                    <a:ext uri="{FF2B5EF4-FFF2-40B4-BE49-F238E27FC236}">
                      <a16:creationId xmlns:a16="http://schemas.microsoft.com/office/drawing/2014/main" id="{575156D8-F689-6673-B845-732CE777E8B5}"/>
                    </a:ext>
                  </a:extLst>
                </p:cNvPr>
                <p:cNvSpPr txBox="1"/>
                <p:nvPr/>
              </p:nvSpPr>
              <p:spPr>
                <a:xfrm>
                  <a:off x="4646060" y="3741001"/>
                  <a:ext cx="41130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30" h="47998">
                      <a:moveTo>
                        <a:pt x="22933" y="0"/>
                      </a:moveTo>
                      <a:cubicBezTo>
                        <a:pt x="26078" y="1"/>
                        <a:pt x="28840" y="381"/>
                        <a:pt x="31219" y="1140"/>
                      </a:cubicBezTo>
                      <a:cubicBezTo>
                        <a:pt x="33597" y="1899"/>
                        <a:pt x="35725" y="3028"/>
                        <a:pt x="37602" y="4527"/>
                      </a:cubicBezTo>
                      <a:lnTo>
                        <a:pt x="35138" y="9061"/>
                      </a:lnTo>
                      <a:cubicBezTo>
                        <a:pt x="33740" y="7826"/>
                        <a:pt x="32033" y="6895"/>
                        <a:pt x="30019" y="6268"/>
                      </a:cubicBezTo>
                      <a:cubicBezTo>
                        <a:pt x="28004" y="5641"/>
                        <a:pt x="25864" y="5327"/>
                        <a:pt x="23600" y="5326"/>
                      </a:cubicBezTo>
                      <a:cubicBezTo>
                        <a:pt x="18314" y="5399"/>
                        <a:pt x="14079" y="7103"/>
                        <a:pt x="10895" y="10437"/>
                      </a:cubicBezTo>
                      <a:cubicBezTo>
                        <a:pt x="7710" y="13771"/>
                        <a:pt x="6076" y="18293"/>
                        <a:pt x="5993" y="24002"/>
                      </a:cubicBezTo>
                      <a:cubicBezTo>
                        <a:pt x="6072" y="29738"/>
                        <a:pt x="7714" y="34266"/>
                        <a:pt x="10920" y="37586"/>
                      </a:cubicBezTo>
                      <a:cubicBezTo>
                        <a:pt x="14125" y="40907"/>
                        <a:pt x="18418" y="42602"/>
                        <a:pt x="23800" y="42672"/>
                      </a:cubicBezTo>
                      <a:cubicBezTo>
                        <a:pt x="26071" y="42650"/>
                        <a:pt x="28314" y="42261"/>
                        <a:pt x="30527" y="41505"/>
                      </a:cubicBezTo>
                      <a:cubicBezTo>
                        <a:pt x="32741" y="40748"/>
                        <a:pt x="34500" y="39759"/>
                        <a:pt x="35805" y="38536"/>
                      </a:cubicBezTo>
                      <a:lnTo>
                        <a:pt x="35805" y="28929"/>
                      </a:lnTo>
                      <a:lnTo>
                        <a:pt x="23199" y="28929"/>
                      </a:lnTo>
                      <a:lnTo>
                        <a:pt x="23199" y="23603"/>
                      </a:lnTo>
                      <a:lnTo>
                        <a:pt x="41130" y="23603"/>
                      </a:lnTo>
                      <a:lnTo>
                        <a:pt x="41130" y="41538"/>
                      </a:lnTo>
                      <a:cubicBezTo>
                        <a:pt x="38960" y="43614"/>
                        <a:pt x="36258" y="45207"/>
                        <a:pt x="33026" y="46316"/>
                      </a:cubicBezTo>
                      <a:cubicBezTo>
                        <a:pt x="29795" y="47426"/>
                        <a:pt x="26675" y="47987"/>
                        <a:pt x="23666" y="47998"/>
                      </a:cubicBezTo>
                      <a:cubicBezTo>
                        <a:pt x="16319" y="47906"/>
                        <a:pt x="10558" y="45724"/>
                        <a:pt x="6381" y="41450"/>
                      </a:cubicBezTo>
                      <a:cubicBezTo>
                        <a:pt x="2204" y="37176"/>
                        <a:pt x="78" y="31361"/>
                        <a:pt x="0" y="24002"/>
                      </a:cubicBezTo>
                      <a:cubicBezTo>
                        <a:pt x="25" y="19485"/>
                        <a:pt x="974" y="15425"/>
                        <a:pt x="2848" y="11821"/>
                      </a:cubicBezTo>
                      <a:cubicBezTo>
                        <a:pt x="4722" y="8217"/>
                        <a:pt x="7370" y="5358"/>
                        <a:pt x="10792" y="3244"/>
                      </a:cubicBezTo>
                      <a:cubicBezTo>
                        <a:pt x="14215" y="1129"/>
                        <a:pt x="18261" y="48"/>
                        <a:pt x="22933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77" name="TextBox 176">
                  <a:extLst>
                    <a:ext uri="{FF2B5EF4-FFF2-40B4-BE49-F238E27FC236}">
                      <a16:creationId xmlns:a16="http://schemas.microsoft.com/office/drawing/2014/main" id="{53BAE978-C350-0DD0-11D9-2FB7722CE213}"/>
                    </a:ext>
                  </a:extLst>
                </p:cNvPr>
                <p:cNvSpPr txBox="1"/>
                <p:nvPr/>
              </p:nvSpPr>
              <p:spPr>
                <a:xfrm>
                  <a:off x="4479416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70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70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7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78" name="TextBox 177">
                  <a:extLst>
                    <a:ext uri="{FF2B5EF4-FFF2-40B4-BE49-F238E27FC236}">
                      <a16:creationId xmlns:a16="http://schemas.microsoft.com/office/drawing/2014/main" id="{8D57EFC4-37A7-33BD-0A04-2F39E1DD67BA}"/>
                    </a:ext>
                  </a:extLst>
                </p:cNvPr>
                <p:cNvSpPr txBox="1"/>
                <p:nvPr/>
              </p:nvSpPr>
              <p:spPr>
                <a:xfrm>
                  <a:off x="4700872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69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69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8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79" name="TextBox 178">
                  <a:extLst>
                    <a:ext uri="{FF2B5EF4-FFF2-40B4-BE49-F238E27FC236}">
                      <a16:creationId xmlns:a16="http://schemas.microsoft.com/office/drawing/2014/main" id="{47F598F4-C0EE-6947-499E-8E14A694A5C8}"/>
                    </a:ext>
                  </a:extLst>
                </p:cNvPr>
                <p:cNvSpPr txBox="1"/>
                <p:nvPr/>
              </p:nvSpPr>
              <p:spPr>
                <a:xfrm>
                  <a:off x="4330639" y="3738620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60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9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80" name="TextBox 179">
                  <a:extLst>
                    <a:ext uri="{FF2B5EF4-FFF2-40B4-BE49-F238E27FC236}">
                      <a16:creationId xmlns:a16="http://schemas.microsoft.com/office/drawing/2014/main" id="{23C16D67-2444-7F77-BD06-DA1F5D95D131}"/>
                    </a:ext>
                  </a:extLst>
                </p:cNvPr>
                <p:cNvSpPr txBox="1"/>
                <p:nvPr/>
              </p:nvSpPr>
              <p:spPr>
                <a:xfrm>
                  <a:off x="4428271" y="3741001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59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8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81" name="TextBox 180">
                  <a:extLst>
                    <a:ext uri="{FF2B5EF4-FFF2-40B4-BE49-F238E27FC236}">
                      <a16:creationId xmlns:a16="http://schemas.microsoft.com/office/drawing/2014/main" id="{411AE46F-9A42-C23F-7965-68699D81A518}"/>
                    </a:ext>
                  </a:extLst>
                </p:cNvPr>
                <p:cNvSpPr txBox="1"/>
                <p:nvPr/>
              </p:nvSpPr>
              <p:spPr>
                <a:xfrm>
                  <a:off x="4220435" y="3738620"/>
                  <a:ext cx="37396" cy="4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396" h="472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25670"/>
                      </a:lnTo>
                      <a:cubicBezTo>
                        <a:pt x="5682" y="30781"/>
                        <a:pt x="6869" y="34760"/>
                        <a:pt x="9219" y="37604"/>
                      </a:cubicBezTo>
                      <a:cubicBezTo>
                        <a:pt x="11568" y="40449"/>
                        <a:pt x="14939" y="41894"/>
                        <a:pt x="19331" y="41938"/>
                      </a:cubicBezTo>
                      <a:cubicBezTo>
                        <a:pt x="23204" y="41940"/>
                        <a:pt x="26230" y="40620"/>
                        <a:pt x="28410" y="37980"/>
                      </a:cubicBezTo>
                      <a:cubicBezTo>
                        <a:pt x="30591" y="35339"/>
                        <a:pt x="31699" y="31369"/>
                        <a:pt x="31737" y="26070"/>
                      </a:cubicBezTo>
                      <a:lnTo>
                        <a:pt x="31737" y="0"/>
                      </a:lnTo>
                      <a:lnTo>
                        <a:pt x="37396" y="0"/>
                      </a:lnTo>
                      <a:lnTo>
                        <a:pt x="37396" y="27203"/>
                      </a:lnTo>
                      <a:cubicBezTo>
                        <a:pt x="37349" y="31943"/>
                        <a:pt x="36495" y="35790"/>
                        <a:pt x="34832" y="38746"/>
                      </a:cubicBezTo>
                      <a:cubicBezTo>
                        <a:pt x="33169" y="41701"/>
                        <a:pt x="30976" y="43864"/>
                        <a:pt x="28254" y="45234"/>
                      </a:cubicBezTo>
                      <a:cubicBezTo>
                        <a:pt x="25531" y="46604"/>
                        <a:pt x="22557" y="47281"/>
                        <a:pt x="19331" y="47264"/>
                      </a:cubicBezTo>
                      <a:cubicBezTo>
                        <a:pt x="13624" y="47263"/>
                        <a:pt x="9001" y="45550"/>
                        <a:pt x="5464" y="42126"/>
                      </a:cubicBezTo>
                      <a:cubicBezTo>
                        <a:pt x="1926" y="38702"/>
                        <a:pt x="105" y="33572"/>
                        <a:pt x="0" y="267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82" name="TextBox 181">
                  <a:extLst>
                    <a:ext uri="{FF2B5EF4-FFF2-40B4-BE49-F238E27FC236}">
                      <a16:creationId xmlns:a16="http://schemas.microsoft.com/office/drawing/2014/main" id="{FF206D42-9E2B-D051-365E-AB17E9BF23F3}"/>
                    </a:ext>
                  </a:extLst>
                </p:cNvPr>
                <p:cNvSpPr txBox="1"/>
                <p:nvPr/>
              </p:nvSpPr>
              <p:spPr>
                <a:xfrm>
                  <a:off x="4278251" y="3738620"/>
                  <a:ext cx="5659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9" h="466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83" name="TextBox 182">
                  <a:extLst>
                    <a:ext uri="{FF2B5EF4-FFF2-40B4-BE49-F238E27FC236}">
                      <a16:creationId xmlns:a16="http://schemas.microsoft.com/office/drawing/2014/main" id="{96DE588A-B99D-ED0C-5A21-FB976ABE60D0}"/>
                    </a:ext>
                  </a:extLst>
                </p:cNvPr>
                <p:cNvSpPr txBox="1"/>
                <p:nvPr/>
              </p:nvSpPr>
              <p:spPr>
                <a:xfrm>
                  <a:off x="4285044" y="3738620"/>
                  <a:ext cx="28403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403" h="46664">
                      <a:moveTo>
                        <a:pt x="20469" y="0"/>
                      </a:moveTo>
                      <a:lnTo>
                        <a:pt x="27337" y="0"/>
                      </a:lnTo>
                      <a:lnTo>
                        <a:pt x="6534" y="21932"/>
                      </a:lnTo>
                      <a:lnTo>
                        <a:pt x="28403" y="46664"/>
                      </a:lnTo>
                      <a:lnTo>
                        <a:pt x="21136" y="46664"/>
                      </a:lnTo>
                      <a:lnTo>
                        <a:pt x="0" y="22332"/>
                      </a:lnTo>
                      <a:lnTo>
                        <a:pt x="20469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84" name="TextBox 183">
                  <a:extLst>
                    <a:ext uri="{FF2B5EF4-FFF2-40B4-BE49-F238E27FC236}">
                      <a16:creationId xmlns:a16="http://schemas.microsoft.com/office/drawing/2014/main" id="{B16F818B-F5ED-2249-B5AC-3B4CC023FC28}"/>
                    </a:ext>
                  </a:extLst>
                </p:cNvPr>
                <p:cNvSpPr txBox="1"/>
                <p:nvPr/>
              </p:nvSpPr>
              <p:spPr>
                <a:xfrm>
                  <a:off x="4374312" y="3741001"/>
                  <a:ext cx="38330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330" h="46664">
                      <a:moveTo>
                        <a:pt x="0" y="0"/>
                      </a:moveTo>
                      <a:lnTo>
                        <a:pt x="38330" y="0"/>
                      </a:lnTo>
                      <a:lnTo>
                        <a:pt x="38330" y="5325"/>
                      </a:lnTo>
                      <a:lnTo>
                        <a:pt x="21995" y="5325"/>
                      </a:lnTo>
                      <a:lnTo>
                        <a:pt x="21995" y="46664"/>
                      </a:lnTo>
                      <a:lnTo>
                        <a:pt x="16336" y="46664"/>
                      </a:lnTo>
                      <a:lnTo>
                        <a:pt x="16336" y="5325"/>
                      </a:lnTo>
                      <a:lnTo>
                        <a:pt x="0" y="53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85" name="TextBox 184">
                  <a:extLst>
                    <a:ext uri="{FF2B5EF4-FFF2-40B4-BE49-F238E27FC236}">
                      <a16:creationId xmlns:a16="http://schemas.microsoft.com/office/drawing/2014/main" id="{C92861D2-3123-67A0-46C2-444295C6093C}"/>
                    </a:ext>
                  </a:extLst>
                </p:cNvPr>
                <p:cNvSpPr txBox="1"/>
                <p:nvPr/>
              </p:nvSpPr>
              <p:spPr>
                <a:xfrm>
                  <a:off x="4542571" y="3741001"/>
                  <a:ext cx="38997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97" h="46664">
                      <a:moveTo>
                        <a:pt x="0" y="0"/>
                      </a:moveTo>
                      <a:lnTo>
                        <a:pt x="4527" y="0"/>
                      </a:lnTo>
                      <a:lnTo>
                        <a:pt x="33671" y="36798"/>
                      </a:lnTo>
                      <a:lnTo>
                        <a:pt x="33671" y="0"/>
                      </a:lnTo>
                      <a:lnTo>
                        <a:pt x="38997" y="0"/>
                      </a:lnTo>
                      <a:lnTo>
                        <a:pt x="38997" y="46664"/>
                      </a:lnTo>
                      <a:lnTo>
                        <a:pt x="34470" y="46664"/>
                      </a:lnTo>
                      <a:lnTo>
                        <a:pt x="5326" y="9999"/>
                      </a:lnTo>
                      <a:lnTo>
                        <a:pt x="5326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189" name="TextBox 188">
                  <a:extLst>
                    <a:ext uri="{FF2B5EF4-FFF2-40B4-BE49-F238E27FC236}">
                      <a16:creationId xmlns:a16="http://schemas.microsoft.com/office/drawing/2014/main" id="{368EDE52-0768-A725-D7CB-3AC39F908ABB}"/>
                    </a:ext>
                  </a:extLst>
                </p:cNvPr>
                <p:cNvSpPr txBox="1"/>
                <p:nvPr/>
              </p:nvSpPr>
              <p:spPr>
                <a:xfrm>
                  <a:off x="4758121" y="3741001"/>
                  <a:ext cx="37733" cy="477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733" h="47727">
                      <a:moveTo>
                        <a:pt x="2767" y="0"/>
                      </a:moveTo>
                      <a:lnTo>
                        <a:pt x="36951" y="0"/>
                      </a:lnTo>
                      <a:lnTo>
                        <a:pt x="36951" y="5632"/>
                      </a:lnTo>
                      <a:lnTo>
                        <a:pt x="10158" y="38742"/>
                      </a:lnTo>
                      <a:lnTo>
                        <a:pt x="7260" y="42095"/>
                      </a:lnTo>
                      <a:lnTo>
                        <a:pt x="37733" y="42095"/>
                      </a:lnTo>
                      <a:lnTo>
                        <a:pt x="37733" y="47727"/>
                      </a:lnTo>
                      <a:lnTo>
                        <a:pt x="0" y="47727"/>
                      </a:lnTo>
                      <a:lnTo>
                        <a:pt x="0" y="41867"/>
                      </a:lnTo>
                      <a:lnTo>
                        <a:pt x="24450" y="11297"/>
                      </a:lnTo>
                      <a:cubicBezTo>
                        <a:pt x="26186" y="9126"/>
                        <a:pt x="27836" y="7238"/>
                        <a:pt x="29398" y="5632"/>
                      </a:cubicBezTo>
                      <a:lnTo>
                        <a:pt x="2767" y="5632"/>
                      </a:lnTo>
                      <a:lnTo>
                        <a:pt x="2767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611743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B27D750-0BAF-87B4-EA47-79238ABA57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023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Групувати 37">
            <a:extLst>
              <a:ext uri="{FF2B5EF4-FFF2-40B4-BE49-F238E27FC236}">
                <a16:creationId xmlns:a16="http://schemas.microsoft.com/office/drawing/2014/main" id="{9C4B59F9-D06B-613F-C7CB-B49843F1539A}"/>
              </a:ext>
            </a:extLst>
          </p:cNvPr>
          <p:cNvGrpSpPr/>
          <p:nvPr/>
        </p:nvGrpSpPr>
        <p:grpSpPr>
          <a:xfrm>
            <a:off x="-9942" y="-23260"/>
            <a:ext cx="2662826" cy="2005058"/>
            <a:chOff x="3378" y="79916"/>
            <a:chExt cx="2662826" cy="2005058"/>
          </a:xfrm>
        </p:grpSpPr>
        <p:grpSp>
          <p:nvGrpSpPr>
            <p:cNvPr id="39" name="Групувати 38">
              <a:extLst>
                <a:ext uri="{FF2B5EF4-FFF2-40B4-BE49-F238E27FC236}">
                  <a16:creationId xmlns:a16="http://schemas.microsoft.com/office/drawing/2014/main" id="{BCEE7352-6A2B-8636-ABF5-7AA04AF55939}"/>
                </a:ext>
              </a:extLst>
            </p:cNvPr>
            <p:cNvGrpSpPr/>
            <p:nvPr/>
          </p:nvGrpSpPr>
          <p:grpSpPr>
            <a:xfrm>
              <a:off x="3378" y="576373"/>
              <a:ext cx="1065132" cy="1508601"/>
              <a:chOff x="3378" y="423973"/>
              <a:chExt cx="1065132" cy="1508601"/>
            </a:xfrm>
          </p:grpSpPr>
          <p:sp>
            <p:nvSpPr>
              <p:cNvPr id="46" name="Прямокутник 45">
                <a:extLst>
                  <a:ext uri="{FF2B5EF4-FFF2-40B4-BE49-F238E27FC236}">
                    <a16:creationId xmlns:a16="http://schemas.microsoft.com/office/drawing/2014/main" id="{F918BA93-7EC1-4E4D-FF7D-CC870629DF89}"/>
                  </a:ext>
                </a:extLst>
              </p:cNvPr>
              <p:cNvSpPr/>
              <p:nvPr/>
            </p:nvSpPr>
            <p:spPr>
              <a:xfrm rot="16200000">
                <a:off x="15871" y="916102"/>
                <a:ext cx="507582" cy="532567"/>
              </a:xfrm>
              <a:prstGeom prst="rect">
                <a:avLst/>
              </a:prstGeom>
              <a:solidFill>
                <a:srgbClr val="0E78A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47" name="Прямокутник 46">
                <a:extLst>
                  <a:ext uri="{FF2B5EF4-FFF2-40B4-BE49-F238E27FC236}">
                    <a16:creationId xmlns:a16="http://schemas.microsoft.com/office/drawing/2014/main" id="{F7C8AF83-C758-B6D1-FA1C-9D09DA2BEAA8}"/>
                  </a:ext>
                </a:extLst>
              </p:cNvPr>
              <p:cNvSpPr/>
              <p:nvPr/>
            </p:nvSpPr>
            <p:spPr>
              <a:xfrm rot="16200000">
                <a:off x="15871" y="411480"/>
                <a:ext cx="507582" cy="532567"/>
              </a:xfrm>
              <a:prstGeom prst="rect">
                <a:avLst/>
              </a:prstGeom>
              <a:solidFill>
                <a:srgbClr val="0E78A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48" name="Прямокутник 47">
                <a:extLst>
                  <a:ext uri="{FF2B5EF4-FFF2-40B4-BE49-F238E27FC236}">
                    <a16:creationId xmlns:a16="http://schemas.microsoft.com/office/drawing/2014/main" id="{CC3044FA-3976-6664-1BD7-7240A6B87DDD}"/>
                  </a:ext>
                </a:extLst>
              </p:cNvPr>
              <p:cNvSpPr/>
              <p:nvPr/>
            </p:nvSpPr>
            <p:spPr>
              <a:xfrm rot="16200000">
                <a:off x="548436" y="411481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49" name="Прямокутник 48">
                <a:extLst>
                  <a:ext uri="{FF2B5EF4-FFF2-40B4-BE49-F238E27FC236}">
                    <a16:creationId xmlns:a16="http://schemas.microsoft.com/office/drawing/2014/main" id="{E959B60A-967C-6CA8-EB87-4F4A2791216E}"/>
                  </a:ext>
                </a:extLst>
              </p:cNvPr>
              <p:cNvSpPr/>
              <p:nvPr/>
            </p:nvSpPr>
            <p:spPr>
              <a:xfrm rot="16200000">
                <a:off x="15871" y="1412499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</p:grpSp>
        <p:grpSp>
          <p:nvGrpSpPr>
            <p:cNvPr id="40" name="Групувати 39">
              <a:extLst>
                <a:ext uri="{FF2B5EF4-FFF2-40B4-BE49-F238E27FC236}">
                  <a16:creationId xmlns:a16="http://schemas.microsoft.com/office/drawing/2014/main" id="{C117B2A8-5A63-D82F-035C-EB10CBAB8601}"/>
                </a:ext>
              </a:extLst>
            </p:cNvPr>
            <p:cNvGrpSpPr/>
            <p:nvPr/>
          </p:nvGrpSpPr>
          <p:grpSpPr>
            <a:xfrm>
              <a:off x="1068507" y="79916"/>
              <a:ext cx="1597697" cy="507582"/>
              <a:chOff x="1068507" y="-72484"/>
              <a:chExt cx="1597697" cy="507582"/>
            </a:xfrm>
          </p:grpSpPr>
          <p:sp>
            <p:nvSpPr>
              <p:cNvPr id="43" name="Прямокутник 42">
                <a:extLst>
                  <a:ext uri="{FF2B5EF4-FFF2-40B4-BE49-F238E27FC236}">
                    <a16:creationId xmlns:a16="http://schemas.microsoft.com/office/drawing/2014/main" id="{1A1A482D-055F-17DE-1CBF-714EEEE18E0B}"/>
                  </a:ext>
                </a:extLst>
              </p:cNvPr>
              <p:cNvSpPr/>
              <p:nvPr/>
            </p:nvSpPr>
            <p:spPr>
              <a:xfrm rot="16200000">
                <a:off x="1081000" y="-84977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44" name="Прямокутник 43">
                <a:extLst>
                  <a:ext uri="{FF2B5EF4-FFF2-40B4-BE49-F238E27FC236}">
                    <a16:creationId xmlns:a16="http://schemas.microsoft.com/office/drawing/2014/main" id="{17BCF0A5-9D45-3981-3A6B-2B5AED16F568}"/>
                  </a:ext>
                </a:extLst>
              </p:cNvPr>
              <p:cNvSpPr/>
              <p:nvPr/>
            </p:nvSpPr>
            <p:spPr>
              <a:xfrm rot="16200000">
                <a:off x="1613565" y="-84977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45" name="Прямокутник 44">
                <a:extLst>
                  <a:ext uri="{FF2B5EF4-FFF2-40B4-BE49-F238E27FC236}">
                    <a16:creationId xmlns:a16="http://schemas.microsoft.com/office/drawing/2014/main" id="{69F2E6FE-8D37-D8E6-B3F1-5C9EC9EDC1E0}"/>
                  </a:ext>
                </a:extLst>
              </p:cNvPr>
              <p:cNvSpPr/>
              <p:nvPr/>
            </p:nvSpPr>
            <p:spPr>
              <a:xfrm rot="16200000">
                <a:off x="2146130" y="-84977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</p:grpSp>
      </p:grpSp>
      <p:grpSp>
        <p:nvGrpSpPr>
          <p:cNvPr id="51" name="Групувати 50">
            <a:extLst>
              <a:ext uri="{FF2B5EF4-FFF2-40B4-BE49-F238E27FC236}">
                <a16:creationId xmlns:a16="http://schemas.microsoft.com/office/drawing/2014/main" id="{BD39936C-0547-AD86-EDE3-9CF018F38231}"/>
              </a:ext>
            </a:extLst>
          </p:cNvPr>
          <p:cNvGrpSpPr/>
          <p:nvPr/>
        </p:nvGrpSpPr>
        <p:grpSpPr>
          <a:xfrm>
            <a:off x="10173614" y="946547"/>
            <a:ext cx="2026780" cy="5911453"/>
            <a:chOff x="10173614" y="1062659"/>
            <a:chExt cx="2026780" cy="5911453"/>
          </a:xfrm>
        </p:grpSpPr>
        <p:grpSp>
          <p:nvGrpSpPr>
            <p:cNvPr id="52" name="Групувати 51">
              <a:extLst>
                <a:ext uri="{FF2B5EF4-FFF2-40B4-BE49-F238E27FC236}">
                  <a16:creationId xmlns:a16="http://schemas.microsoft.com/office/drawing/2014/main" id="{E95D9D00-2AAC-9072-6C8A-63FEDAE29A39}"/>
                </a:ext>
              </a:extLst>
            </p:cNvPr>
            <p:cNvGrpSpPr/>
            <p:nvPr/>
          </p:nvGrpSpPr>
          <p:grpSpPr>
            <a:xfrm>
              <a:off x="10173614" y="1062659"/>
              <a:ext cx="2026780" cy="5911453"/>
              <a:chOff x="10173614" y="1062659"/>
              <a:chExt cx="2026780" cy="5911453"/>
            </a:xfrm>
          </p:grpSpPr>
          <p:grpSp>
            <p:nvGrpSpPr>
              <p:cNvPr id="54" name="Групувати 53">
                <a:extLst>
                  <a:ext uri="{FF2B5EF4-FFF2-40B4-BE49-F238E27FC236}">
                    <a16:creationId xmlns:a16="http://schemas.microsoft.com/office/drawing/2014/main" id="{EADF6D64-520D-3F2B-FC1E-B6207E566DC5}"/>
                  </a:ext>
                </a:extLst>
              </p:cNvPr>
              <p:cNvGrpSpPr/>
              <p:nvPr/>
            </p:nvGrpSpPr>
            <p:grpSpPr>
              <a:xfrm>
                <a:off x="11185270" y="1062659"/>
                <a:ext cx="507582" cy="5326228"/>
                <a:chOff x="11191366" y="1062659"/>
                <a:chExt cx="507582" cy="5326228"/>
              </a:xfrm>
            </p:grpSpPr>
            <p:grpSp>
              <p:nvGrpSpPr>
                <p:cNvPr id="78" name="Групувати 77">
                  <a:extLst>
                    <a:ext uri="{FF2B5EF4-FFF2-40B4-BE49-F238E27FC236}">
                      <a16:creationId xmlns:a16="http://schemas.microsoft.com/office/drawing/2014/main" id="{79FF61B4-777C-630E-E84A-962C47CB3B9F}"/>
                    </a:ext>
                  </a:extLst>
                </p:cNvPr>
                <p:cNvGrpSpPr/>
                <p:nvPr/>
              </p:nvGrpSpPr>
              <p:grpSpPr>
                <a:xfrm>
                  <a:off x="11191366" y="1062659"/>
                  <a:ext cx="507582" cy="2663404"/>
                  <a:chOff x="11191366" y="1062659"/>
                  <a:chExt cx="507582" cy="2663404"/>
                </a:xfrm>
              </p:grpSpPr>
              <p:sp>
                <p:nvSpPr>
                  <p:cNvPr id="82" name="Прямокутник 81">
                    <a:extLst>
                      <a:ext uri="{FF2B5EF4-FFF2-40B4-BE49-F238E27FC236}">
                        <a16:creationId xmlns:a16="http://schemas.microsoft.com/office/drawing/2014/main" id="{FE57EA79-F4B8-A8C9-2534-3923612299FF}"/>
                      </a:ext>
                    </a:extLst>
                  </p:cNvPr>
                  <p:cNvSpPr/>
                  <p:nvPr/>
                </p:nvSpPr>
                <p:spPr>
                  <a:xfrm>
                    <a:off x="11191366" y="1062659"/>
                    <a:ext cx="507582" cy="532567"/>
                  </a:xfrm>
                  <a:prstGeom prst="rect">
                    <a:avLst/>
                  </a:prstGeom>
                  <a:solidFill>
                    <a:srgbClr val="71B7D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uk-UA"/>
                  </a:p>
                </p:txBody>
              </p:sp>
              <p:sp>
                <p:nvSpPr>
                  <p:cNvPr id="85" name="Прямокутник 84">
                    <a:extLst>
                      <a:ext uri="{FF2B5EF4-FFF2-40B4-BE49-F238E27FC236}">
                        <a16:creationId xmlns:a16="http://schemas.microsoft.com/office/drawing/2014/main" id="{2193FFCA-CB1E-634B-6CC7-FA606A82F790}"/>
                      </a:ext>
                    </a:extLst>
                  </p:cNvPr>
                  <p:cNvSpPr/>
                  <p:nvPr/>
                </p:nvSpPr>
                <p:spPr>
                  <a:xfrm>
                    <a:off x="11191366" y="3193496"/>
                    <a:ext cx="507582" cy="532567"/>
                  </a:xfrm>
                  <a:prstGeom prst="rect">
                    <a:avLst/>
                  </a:prstGeom>
                  <a:solidFill>
                    <a:srgbClr val="71B7D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uk-UA"/>
                  </a:p>
                </p:txBody>
              </p:sp>
            </p:grpSp>
            <p:grpSp>
              <p:nvGrpSpPr>
                <p:cNvPr id="79" name="Групувати 78">
                  <a:extLst>
                    <a:ext uri="{FF2B5EF4-FFF2-40B4-BE49-F238E27FC236}">
                      <a16:creationId xmlns:a16="http://schemas.microsoft.com/office/drawing/2014/main" id="{35ED2AB3-5D14-8EEE-CE68-523B9141494E}"/>
                    </a:ext>
                  </a:extLst>
                </p:cNvPr>
                <p:cNvGrpSpPr/>
                <p:nvPr/>
              </p:nvGrpSpPr>
              <p:grpSpPr>
                <a:xfrm>
                  <a:off x="11191366" y="5323755"/>
                  <a:ext cx="507582" cy="1065132"/>
                  <a:chOff x="11191366" y="5323755"/>
                  <a:chExt cx="507582" cy="1065132"/>
                </a:xfrm>
              </p:grpSpPr>
              <p:sp>
                <p:nvSpPr>
                  <p:cNvPr id="80" name="Прямокутник 79">
                    <a:extLst>
                      <a:ext uri="{FF2B5EF4-FFF2-40B4-BE49-F238E27FC236}">
                        <a16:creationId xmlns:a16="http://schemas.microsoft.com/office/drawing/2014/main" id="{54185E27-EC3C-6B9B-C8DE-B43D074CE4DC}"/>
                      </a:ext>
                    </a:extLst>
                  </p:cNvPr>
                  <p:cNvSpPr/>
                  <p:nvPr/>
                </p:nvSpPr>
                <p:spPr>
                  <a:xfrm>
                    <a:off x="11191366" y="5323755"/>
                    <a:ext cx="507582" cy="532567"/>
                  </a:xfrm>
                  <a:prstGeom prst="rect">
                    <a:avLst/>
                  </a:prstGeom>
                  <a:solidFill>
                    <a:srgbClr val="71B7D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uk-UA"/>
                  </a:p>
                </p:txBody>
              </p:sp>
              <p:sp>
                <p:nvSpPr>
                  <p:cNvPr id="81" name="Прямокутник 80">
                    <a:extLst>
                      <a:ext uri="{FF2B5EF4-FFF2-40B4-BE49-F238E27FC236}">
                        <a16:creationId xmlns:a16="http://schemas.microsoft.com/office/drawing/2014/main" id="{347AC2E2-655C-891F-473B-0DD866D39E02}"/>
                      </a:ext>
                    </a:extLst>
                  </p:cNvPr>
                  <p:cNvSpPr/>
                  <p:nvPr/>
                </p:nvSpPr>
                <p:spPr>
                  <a:xfrm>
                    <a:off x="11191366" y="5856320"/>
                    <a:ext cx="507582" cy="532567"/>
                  </a:xfrm>
                  <a:prstGeom prst="rect">
                    <a:avLst/>
                  </a:prstGeom>
                  <a:solidFill>
                    <a:srgbClr val="71B7D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uk-UA"/>
                  </a:p>
                </p:txBody>
              </p:sp>
            </p:grpSp>
          </p:grpSp>
          <p:grpSp>
            <p:nvGrpSpPr>
              <p:cNvPr id="55" name="Групувати 54">
                <a:extLst>
                  <a:ext uri="{FF2B5EF4-FFF2-40B4-BE49-F238E27FC236}">
                    <a16:creationId xmlns:a16="http://schemas.microsoft.com/office/drawing/2014/main" id="{AD591C4F-F452-FAAC-073D-9296452E4B26}"/>
                  </a:ext>
                </a:extLst>
              </p:cNvPr>
              <p:cNvGrpSpPr/>
              <p:nvPr/>
            </p:nvGrpSpPr>
            <p:grpSpPr>
              <a:xfrm>
                <a:off x="10677727" y="2128366"/>
                <a:ext cx="507583" cy="3727956"/>
                <a:chOff x="10677727" y="2128366"/>
                <a:chExt cx="507583" cy="3727956"/>
              </a:xfrm>
            </p:grpSpPr>
            <p:sp>
              <p:nvSpPr>
                <p:cNvPr id="73" name="Прямокутник 72">
                  <a:extLst>
                    <a:ext uri="{FF2B5EF4-FFF2-40B4-BE49-F238E27FC236}">
                      <a16:creationId xmlns:a16="http://schemas.microsoft.com/office/drawing/2014/main" id="{50406047-A7A5-DA06-152E-1F0FAC3C32DD}"/>
                    </a:ext>
                  </a:extLst>
                </p:cNvPr>
                <p:cNvSpPr/>
                <p:nvPr/>
              </p:nvSpPr>
              <p:spPr>
                <a:xfrm>
                  <a:off x="10677728" y="2128366"/>
                  <a:ext cx="507582" cy="532567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74" name="Прямокутник 73">
                  <a:extLst>
                    <a:ext uri="{FF2B5EF4-FFF2-40B4-BE49-F238E27FC236}">
                      <a16:creationId xmlns:a16="http://schemas.microsoft.com/office/drawing/2014/main" id="{88E393E0-1F6D-D7CF-46A2-C1E23AFCF7B5}"/>
                    </a:ext>
                  </a:extLst>
                </p:cNvPr>
                <p:cNvSpPr/>
                <p:nvPr/>
              </p:nvSpPr>
              <p:spPr>
                <a:xfrm>
                  <a:off x="10677727" y="2660931"/>
                  <a:ext cx="507582" cy="532567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75" name="Прямокутник 74">
                  <a:extLst>
                    <a:ext uri="{FF2B5EF4-FFF2-40B4-BE49-F238E27FC236}">
                      <a16:creationId xmlns:a16="http://schemas.microsoft.com/office/drawing/2014/main" id="{17DBF1B8-D1C6-AED7-FBF5-DD25DF41D097}"/>
                    </a:ext>
                  </a:extLst>
                </p:cNvPr>
                <p:cNvSpPr/>
                <p:nvPr/>
              </p:nvSpPr>
              <p:spPr>
                <a:xfrm>
                  <a:off x="10677728" y="4258626"/>
                  <a:ext cx="507582" cy="532567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76" name="Прямокутник 75">
                  <a:extLst>
                    <a:ext uri="{FF2B5EF4-FFF2-40B4-BE49-F238E27FC236}">
                      <a16:creationId xmlns:a16="http://schemas.microsoft.com/office/drawing/2014/main" id="{2273253A-FB31-BE55-526B-64C3B6472041}"/>
                    </a:ext>
                  </a:extLst>
                </p:cNvPr>
                <p:cNvSpPr/>
                <p:nvPr/>
              </p:nvSpPr>
              <p:spPr>
                <a:xfrm>
                  <a:off x="10677728" y="4791191"/>
                  <a:ext cx="507582" cy="532567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  <a:alpha val="23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77" name="Прямокутник 76">
                  <a:extLst>
                    <a:ext uri="{FF2B5EF4-FFF2-40B4-BE49-F238E27FC236}">
                      <a16:creationId xmlns:a16="http://schemas.microsoft.com/office/drawing/2014/main" id="{A112B645-971D-DEEE-133C-BD8055F5420F}"/>
                    </a:ext>
                  </a:extLst>
                </p:cNvPr>
                <p:cNvSpPr/>
                <p:nvPr/>
              </p:nvSpPr>
              <p:spPr>
                <a:xfrm>
                  <a:off x="10677728" y="5323755"/>
                  <a:ext cx="507582" cy="532567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</p:grpSp>
          <p:grpSp>
            <p:nvGrpSpPr>
              <p:cNvPr id="56" name="Групувати 55">
                <a:extLst>
                  <a:ext uri="{FF2B5EF4-FFF2-40B4-BE49-F238E27FC236}">
                    <a16:creationId xmlns:a16="http://schemas.microsoft.com/office/drawing/2014/main" id="{41B99028-D604-AFCE-3D84-FCC03EB2C9CA}"/>
                  </a:ext>
                </a:extLst>
              </p:cNvPr>
              <p:cNvGrpSpPr/>
              <p:nvPr/>
            </p:nvGrpSpPr>
            <p:grpSpPr>
              <a:xfrm>
                <a:off x="10173614" y="2128366"/>
                <a:ext cx="1011676" cy="3727956"/>
                <a:chOff x="10154564" y="2128366"/>
                <a:chExt cx="1011676" cy="3727956"/>
              </a:xfrm>
            </p:grpSpPr>
            <p:sp>
              <p:nvSpPr>
                <p:cNvPr id="68" name="Прямокутник 67">
                  <a:extLst>
                    <a:ext uri="{FF2B5EF4-FFF2-40B4-BE49-F238E27FC236}">
                      <a16:creationId xmlns:a16="http://schemas.microsoft.com/office/drawing/2014/main" id="{F055B4D5-3EAF-0BBD-6B41-51CE7CAEE3FE}"/>
                    </a:ext>
                  </a:extLst>
                </p:cNvPr>
                <p:cNvSpPr/>
                <p:nvPr/>
              </p:nvSpPr>
              <p:spPr>
                <a:xfrm>
                  <a:off x="10154564" y="2128366"/>
                  <a:ext cx="507582" cy="532567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69" name="Прямокутник 68">
                  <a:extLst>
                    <a:ext uri="{FF2B5EF4-FFF2-40B4-BE49-F238E27FC236}">
                      <a16:creationId xmlns:a16="http://schemas.microsoft.com/office/drawing/2014/main" id="{906FF7A7-6267-8C7B-10A5-61DFCA176789}"/>
                    </a:ext>
                  </a:extLst>
                </p:cNvPr>
                <p:cNvSpPr/>
                <p:nvPr/>
              </p:nvSpPr>
              <p:spPr>
                <a:xfrm>
                  <a:off x="10154564" y="4258626"/>
                  <a:ext cx="507582" cy="532567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70" name="Прямокутник 69">
                  <a:extLst>
                    <a:ext uri="{FF2B5EF4-FFF2-40B4-BE49-F238E27FC236}">
                      <a16:creationId xmlns:a16="http://schemas.microsoft.com/office/drawing/2014/main" id="{07D10597-5BDF-6A9D-E3F9-A0DC9F24B050}"/>
                    </a:ext>
                  </a:extLst>
                </p:cNvPr>
                <p:cNvSpPr/>
                <p:nvPr/>
              </p:nvSpPr>
              <p:spPr>
                <a:xfrm>
                  <a:off x="10154564" y="4791191"/>
                  <a:ext cx="507582" cy="532567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  <a:alpha val="23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71" name="Прямокутник 70">
                  <a:extLst>
                    <a:ext uri="{FF2B5EF4-FFF2-40B4-BE49-F238E27FC236}">
                      <a16:creationId xmlns:a16="http://schemas.microsoft.com/office/drawing/2014/main" id="{26A4A310-E933-0307-17B9-A3E754602E25}"/>
                    </a:ext>
                  </a:extLst>
                </p:cNvPr>
                <p:cNvSpPr/>
                <p:nvPr/>
              </p:nvSpPr>
              <p:spPr>
                <a:xfrm>
                  <a:off x="10154564" y="5323755"/>
                  <a:ext cx="507582" cy="532567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  <a:alpha val="23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72" name="Прямокутник 71">
                  <a:extLst>
                    <a:ext uri="{FF2B5EF4-FFF2-40B4-BE49-F238E27FC236}">
                      <a16:creationId xmlns:a16="http://schemas.microsoft.com/office/drawing/2014/main" id="{34D88E3C-A274-DFDE-545C-37DD451A00AF}"/>
                    </a:ext>
                  </a:extLst>
                </p:cNvPr>
                <p:cNvSpPr/>
                <p:nvPr/>
              </p:nvSpPr>
              <p:spPr>
                <a:xfrm>
                  <a:off x="10658658" y="3723888"/>
                  <a:ext cx="507582" cy="532567"/>
                </a:xfrm>
                <a:prstGeom prst="rect">
                  <a:avLst/>
                </a:prstGeom>
                <a:solidFill>
                  <a:srgbClr val="0960B7">
                    <a:alpha val="23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</p:grpSp>
          <p:grpSp>
            <p:nvGrpSpPr>
              <p:cNvPr id="57" name="Групувати 56">
                <a:extLst>
                  <a:ext uri="{FF2B5EF4-FFF2-40B4-BE49-F238E27FC236}">
                    <a16:creationId xmlns:a16="http://schemas.microsoft.com/office/drawing/2014/main" id="{7E4D84B5-AFC3-E9D1-66EF-15D601732D82}"/>
                  </a:ext>
                </a:extLst>
              </p:cNvPr>
              <p:cNvGrpSpPr/>
              <p:nvPr/>
            </p:nvGrpSpPr>
            <p:grpSpPr>
              <a:xfrm>
                <a:off x="11692812" y="2660931"/>
                <a:ext cx="507582" cy="4313181"/>
                <a:chOff x="11692812" y="2660931"/>
                <a:chExt cx="507582" cy="4313181"/>
              </a:xfrm>
            </p:grpSpPr>
            <p:sp>
              <p:nvSpPr>
                <p:cNvPr id="60" name="Прямокутник 59">
                  <a:extLst>
                    <a:ext uri="{FF2B5EF4-FFF2-40B4-BE49-F238E27FC236}">
                      <a16:creationId xmlns:a16="http://schemas.microsoft.com/office/drawing/2014/main" id="{FD585020-1E65-0E36-6EFD-23491DC13680}"/>
                    </a:ext>
                  </a:extLst>
                </p:cNvPr>
                <p:cNvSpPr/>
                <p:nvPr/>
              </p:nvSpPr>
              <p:spPr>
                <a:xfrm>
                  <a:off x="11692812" y="2660931"/>
                  <a:ext cx="507582" cy="532567"/>
                </a:xfrm>
                <a:prstGeom prst="rect">
                  <a:avLst/>
                </a:prstGeom>
                <a:solidFill>
                  <a:srgbClr val="0E78A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61" name="Прямокутник 60">
                  <a:extLst>
                    <a:ext uri="{FF2B5EF4-FFF2-40B4-BE49-F238E27FC236}">
                      <a16:creationId xmlns:a16="http://schemas.microsoft.com/office/drawing/2014/main" id="{B449D03C-2657-D7B0-7A8F-C765BD8C1809}"/>
                    </a:ext>
                  </a:extLst>
                </p:cNvPr>
                <p:cNvSpPr/>
                <p:nvPr/>
              </p:nvSpPr>
              <p:spPr>
                <a:xfrm>
                  <a:off x="11692812" y="3193496"/>
                  <a:ext cx="507582" cy="532567"/>
                </a:xfrm>
                <a:prstGeom prst="rect">
                  <a:avLst/>
                </a:prstGeom>
                <a:solidFill>
                  <a:srgbClr val="0960B7">
                    <a:alpha val="23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63" name="Прямокутник 62">
                  <a:extLst>
                    <a:ext uri="{FF2B5EF4-FFF2-40B4-BE49-F238E27FC236}">
                      <a16:creationId xmlns:a16="http://schemas.microsoft.com/office/drawing/2014/main" id="{1BB7F188-9ECC-68D7-5C7E-AA7CB521DB0E}"/>
                    </a:ext>
                  </a:extLst>
                </p:cNvPr>
                <p:cNvSpPr/>
                <p:nvPr/>
              </p:nvSpPr>
              <p:spPr>
                <a:xfrm>
                  <a:off x="11692812" y="4258626"/>
                  <a:ext cx="507582" cy="532567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66" name="Прямокутник 65">
                  <a:extLst>
                    <a:ext uri="{FF2B5EF4-FFF2-40B4-BE49-F238E27FC236}">
                      <a16:creationId xmlns:a16="http://schemas.microsoft.com/office/drawing/2014/main" id="{EE8031EE-BC45-CD7F-8968-4C4F3B0608A1}"/>
                    </a:ext>
                  </a:extLst>
                </p:cNvPr>
                <p:cNvSpPr/>
                <p:nvPr/>
              </p:nvSpPr>
              <p:spPr>
                <a:xfrm>
                  <a:off x="11692812" y="5856321"/>
                  <a:ext cx="507582" cy="532567"/>
                </a:xfrm>
                <a:prstGeom prst="rect">
                  <a:avLst/>
                </a:prstGeom>
                <a:solidFill>
                  <a:srgbClr val="0960B7">
                    <a:alpha val="23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67" name="Прямокутник 66">
                  <a:extLst>
                    <a:ext uri="{FF2B5EF4-FFF2-40B4-BE49-F238E27FC236}">
                      <a16:creationId xmlns:a16="http://schemas.microsoft.com/office/drawing/2014/main" id="{3DC7BF80-ADA6-88E5-52C8-5446728FA657}"/>
                    </a:ext>
                  </a:extLst>
                </p:cNvPr>
                <p:cNvSpPr/>
                <p:nvPr/>
              </p:nvSpPr>
              <p:spPr>
                <a:xfrm>
                  <a:off x="11692812" y="6388886"/>
                  <a:ext cx="507582" cy="585226"/>
                </a:xfrm>
                <a:prstGeom prst="rect">
                  <a:avLst/>
                </a:prstGeom>
                <a:solidFill>
                  <a:srgbClr val="71B7D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</p:grpSp>
        </p:grpSp>
        <p:sp>
          <p:nvSpPr>
            <p:cNvPr id="53" name="Прямокутник 52">
              <a:extLst>
                <a:ext uri="{FF2B5EF4-FFF2-40B4-BE49-F238E27FC236}">
                  <a16:creationId xmlns:a16="http://schemas.microsoft.com/office/drawing/2014/main" id="{21FC84D0-D1B6-5549-99A9-BCF039D3D2D5}"/>
                </a:ext>
              </a:extLst>
            </p:cNvPr>
            <p:cNvSpPr/>
            <p:nvPr/>
          </p:nvSpPr>
          <p:spPr>
            <a:xfrm>
              <a:off x="11692739" y="1062867"/>
              <a:ext cx="507582" cy="532567"/>
            </a:xfrm>
            <a:prstGeom prst="rect">
              <a:avLst/>
            </a:prstGeom>
            <a:solidFill>
              <a:srgbClr val="71B7D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8B57A9-4056-900A-CF92-FF936A32214A}"/>
              </a:ext>
            </a:extLst>
          </p:cNvPr>
          <p:cNvSpPr txBox="1"/>
          <p:nvPr/>
        </p:nvSpPr>
        <p:spPr>
          <a:xfrm>
            <a:off x="2106594" y="1302183"/>
            <a:ext cx="7811742" cy="49705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facilities = 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u="sng" dirty="0">
                <a:latin typeface="Calibri" panose="020F0502020204030204" pitchFamily="34" charset="0"/>
                <a:cs typeface="Calibri" panose="020F0502020204030204" pitchFamily="34" charset="0"/>
              </a:rPr>
              <a:t>virtual storage facility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  <a:tabLst/>
              <a:defRPr/>
            </a:pP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case of one UGS facility outage, gas can be withdrawn from another UGS to confirm nomination</a:t>
            </a:r>
          </a:p>
          <a:p>
            <a:pPr marL="0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endParaRPr lang="en-US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  <a:tabLst/>
              <a:defRPr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to 5 connections to GTS </a:t>
            </a:r>
          </a:p>
          <a:p>
            <a:pPr marL="285750" indent="-28575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endParaRPr lang="ru-RU" sz="1600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UGS classified as critical infrastructure with relevant </a:t>
            </a: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atment (ADS</a:t>
            </a:r>
            <a:r>
              <a:rPr lang="uk-UA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</a:t>
            </a: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A Armed Forces) </a:t>
            </a:r>
          </a:p>
          <a:p>
            <a:pPr marL="457200" lvl="1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d on the Ukrainian Legislation </a:t>
            </a:r>
            <a:r>
              <a:rPr lang="uk-UA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General Staff of the Armed Forces of Ukraine Protocol)</a:t>
            </a:r>
            <a:r>
              <a:rPr lang="uk-UA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i="1" kern="1200" dirty="0">
              <a:solidFill>
                <a:schemeClr val="dk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endParaRPr lang="en-US" sz="7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ergency back-up power supply at each UGS facility </a:t>
            </a:r>
          </a:p>
          <a:p>
            <a:pPr marL="457200" lvl="1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el reserve for at least 10 days</a:t>
            </a: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GS equipment is additionally protected with special constructions </a:t>
            </a: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ed emergency response plans</a:t>
            </a:r>
          </a:p>
          <a:p>
            <a:pPr marL="457200" lvl="1" indent="0" algn="l" defTabSz="914400" rtl="0" eaLnBrk="1" latinLnBrk="0" hangingPunct="1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luding emergency response to surface equipment  damage  as a result of attacks</a:t>
            </a:r>
          </a:p>
          <a:p>
            <a:pPr marL="457200" lvl="1" indent="0" algn="l" defTabSz="914400" rtl="0" eaLnBrk="1" latinLnBrk="0" hangingPunct="1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endParaRPr lang="en-US" sz="600" i="1" kern="1200" dirty="0">
              <a:solidFill>
                <a:schemeClr val="dk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tests for maximum withdrawal capacity for each UGS facility</a:t>
            </a:r>
          </a:p>
          <a:p>
            <a:pPr marL="0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March 2024</a:t>
            </a:r>
          </a:p>
          <a:p>
            <a:pPr marL="285750" indent="-285750">
              <a:lnSpc>
                <a:spcPct val="15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ergency response drills</a:t>
            </a:r>
          </a:p>
          <a:p>
            <a:pPr marL="457200" lvl="1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r>
              <a:rPr lang="en-US" sz="1200" b="1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274</a:t>
            </a: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during the last 2 years </a:t>
            </a:r>
          </a:p>
          <a:p>
            <a:pPr marL="457200" lvl="1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endParaRPr lang="en-US" sz="500" i="1" kern="1200" dirty="0">
              <a:solidFill>
                <a:schemeClr val="dk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  <a:tabLst/>
              <a:defRPr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ss-test scenarios for 2023/2024</a:t>
            </a:r>
          </a:p>
          <a:p>
            <a:pPr marL="0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r>
              <a:rPr lang="en-US" sz="1200" i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Verified and confirmed by the independent international auditor Simone Research Group</a:t>
            </a:r>
          </a:p>
          <a:p>
            <a:pPr marL="0" indent="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None/>
            </a:pPr>
            <a:endParaRPr lang="en-US" sz="400" i="1" kern="1200" dirty="0">
              <a:solidFill>
                <a:schemeClr val="dk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Прямокутник: округлені кути 92">
            <a:extLst>
              <a:ext uri="{FF2B5EF4-FFF2-40B4-BE49-F238E27FC236}">
                <a16:creationId xmlns:a16="http://schemas.microsoft.com/office/drawing/2014/main" id="{8947FD6E-F236-8DC3-B2D2-AF0DF00C203B}"/>
              </a:ext>
            </a:extLst>
          </p:cNvPr>
          <p:cNvSpPr/>
          <p:nvPr/>
        </p:nvSpPr>
        <p:spPr>
          <a:xfrm>
            <a:off x="8343901" y="4567684"/>
            <a:ext cx="3602630" cy="1445981"/>
          </a:xfrm>
          <a:prstGeom prst="roundRect">
            <a:avLst>
              <a:gd name="adj" fmla="val 33024"/>
            </a:avLst>
          </a:prstGeom>
          <a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100000"/>
                      </a14:imgEffect>
                      <a14:imgEffect>
                        <a14:brightnessContrast bright="4000" contrast="-11000"/>
                      </a14:imgEffect>
                    </a14:imgLayer>
                  </a14:imgProps>
                </a:ext>
              </a:extLst>
            </a:blip>
            <a:stretch>
              <a:fillRect l="-231880" t="-315889" r="-7285" b="-58392"/>
            </a:stretch>
          </a:blipFill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780000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1715F87-3FE2-092E-53A3-CFDAE871DF2E}"/>
              </a:ext>
            </a:extLst>
          </p:cNvPr>
          <p:cNvSpPr txBox="1"/>
          <p:nvPr/>
        </p:nvSpPr>
        <p:spPr>
          <a:xfrm>
            <a:off x="8429445" y="4736676"/>
            <a:ext cx="343154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Natural protection </a:t>
            </a:r>
          </a:p>
          <a:p>
            <a:pPr algn="ctr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Clr>
                <a:schemeClr val="tx2">
                  <a:lumMod val="75000"/>
                </a:schemeClr>
              </a:buClr>
              <a:buSzPct val="120000"/>
              <a:buFont typeface="Calibri Light" panose="020F0302020204030204" pitchFamily="34" charset="0"/>
              <a:buChar char="›"/>
            </a:pP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to </a:t>
            </a:r>
            <a:r>
              <a:rPr lang="en-US" sz="1600" b="1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00</a:t>
            </a:r>
            <a:r>
              <a:rPr lang="en-US" sz="1600" kern="12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ters – depths of gas deployment in dense rock</a:t>
            </a:r>
          </a:p>
        </p:txBody>
      </p:sp>
      <p:grpSp>
        <p:nvGrpSpPr>
          <p:cNvPr id="125" name="Групувати 124">
            <a:extLst>
              <a:ext uri="{FF2B5EF4-FFF2-40B4-BE49-F238E27FC236}">
                <a16:creationId xmlns:a16="http://schemas.microsoft.com/office/drawing/2014/main" id="{542D9D77-E304-5379-1A4B-49424A244C52}"/>
              </a:ext>
            </a:extLst>
          </p:cNvPr>
          <p:cNvGrpSpPr/>
          <p:nvPr/>
        </p:nvGrpSpPr>
        <p:grpSpPr>
          <a:xfrm rot="10800000">
            <a:off x="-20928" y="2626491"/>
            <a:ext cx="1026756" cy="4259318"/>
            <a:chOff x="10171234" y="2128366"/>
            <a:chExt cx="1026756" cy="4259318"/>
          </a:xfrm>
        </p:grpSpPr>
        <p:grpSp>
          <p:nvGrpSpPr>
            <p:cNvPr id="128" name="Групувати 127">
              <a:extLst>
                <a:ext uri="{FF2B5EF4-FFF2-40B4-BE49-F238E27FC236}">
                  <a16:creationId xmlns:a16="http://schemas.microsoft.com/office/drawing/2014/main" id="{D338D165-0187-AA39-4560-E9A6676314A3}"/>
                </a:ext>
              </a:extLst>
            </p:cNvPr>
            <p:cNvGrpSpPr/>
            <p:nvPr/>
          </p:nvGrpSpPr>
          <p:grpSpPr>
            <a:xfrm>
              <a:off x="10677727" y="2128366"/>
              <a:ext cx="507583" cy="3727956"/>
              <a:chOff x="10677727" y="2128366"/>
              <a:chExt cx="507583" cy="3727956"/>
            </a:xfrm>
          </p:grpSpPr>
          <p:sp>
            <p:nvSpPr>
              <p:cNvPr id="141" name="Прямокутник 140">
                <a:extLst>
                  <a:ext uri="{FF2B5EF4-FFF2-40B4-BE49-F238E27FC236}">
                    <a16:creationId xmlns:a16="http://schemas.microsoft.com/office/drawing/2014/main" id="{7D1132AF-33F4-7335-9F51-4E1171EB1049}"/>
                  </a:ext>
                </a:extLst>
              </p:cNvPr>
              <p:cNvSpPr/>
              <p:nvPr/>
            </p:nvSpPr>
            <p:spPr>
              <a:xfrm>
                <a:off x="10677728" y="2128366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142" name="Прямокутник 141">
                <a:extLst>
                  <a:ext uri="{FF2B5EF4-FFF2-40B4-BE49-F238E27FC236}">
                    <a16:creationId xmlns:a16="http://schemas.microsoft.com/office/drawing/2014/main" id="{BDF12AD3-15A4-12D1-7AE1-64FAF58DFA72}"/>
                  </a:ext>
                </a:extLst>
              </p:cNvPr>
              <p:cNvSpPr/>
              <p:nvPr/>
            </p:nvSpPr>
            <p:spPr>
              <a:xfrm>
                <a:off x="10677727" y="2660931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143" name="Прямокутник 142">
                <a:extLst>
                  <a:ext uri="{FF2B5EF4-FFF2-40B4-BE49-F238E27FC236}">
                    <a16:creationId xmlns:a16="http://schemas.microsoft.com/office/drawing/2014/main" id="{A77994A8-D5EB-CC97-CA5C-C867CD02E41A}"/>
                  </a:ext>
                </a:extLst>
              </p:cNvPr>
              <p:cNvSpPr/>
              <p:nvPr/>
            </p:nvSpPr>
            <p:spPr>
              <a:xfrm>
                <a:off x="10677728" y="4258626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144" name="Прямокутник 143">
                <a:extLst>
                  <a:ext uri="{FF2B5EF4-FFF2-40B4-BE49-F238E27FC236}">
                    <a16:creationId xmlns:a16="http://schemas.microsoft.com/office/drawing/2014/main" id="{DBA97EA0-F373-6184-C689-3D2AF8888DAE}"/>
                  </a:ext>
                </a:extLst>
              </p:cNvPr>
              <p:cNvSpPr/>
              <p:nvPr/>
            </p:nvSpPr>
            <p:spPr>
              <a:xfrm>
                <a:off x="10677728" y="4791191"/>
                <a:ext cx="507582" cy="532567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  <a:alpha val="2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145" name="Прямокутник 144">
                <a:extLst>
                  <a:ext uri="{FF2B5EF4-FFF2-40B4-BE49-F238E27FC236}">
                    <a16:creationId xmlns:a16="http://schemas.microsoft.com/office/drawing/2014/main" id="{778C63A6-CEC2-17DC-6951-BC5A8248CF00}"/>
                  </a:ext>
                </a:extLst>
              </p:cNvPr>
              <p:cNvSpPr/>
              <p:nvPr/>
            </p:nvSpPr>
            <p:spPr>
              <a:xfrm>
                <a:off x="10677728" y="5323755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</p:grpSp>
        <p:grpSp>
          <p:nvGrpSpPr>
            <p:cNvPr id="129" name="Групувати 128">
              <a:extLst>
                <a:ext uri="{FF2B5EF4-FFF2-40B4-BE49-F238E27FC236}">
                  <a16:creationId xmlns:a16="http://schemas.microsoft.com/office/drawing/2014/main" id="{2B8000D8-F027-65ED-A43B-F838665C5BF2}"/>
                </a:ext>
              </a:extLst>
            </p:cNvPr>
            <p:cNvGrpSpPr/>
            <p:nvPr/>
          </p:nvGrpSpPr>
          <p:grpSpPr>
            <a:xfrm>
              <a:off x="10171234" y="3725477"/>
              <a:ext cx="1026756" cy="2662207"/>
              <a:chOff x="10152184" y="3725477"/>
              <a:chExt cx="1026756" cy="2662207"/>
            </a:xfrm>
          </p:grpSpPr>
          <p:sp>
            <p:nvSpPr>
              <p:cNvPr id="137" name="Прямокутник 136">
                <a:extLst>
                  <a:ext uri="{FF2B5EF4-FFF2-40B4-BE49-F238E27FC236}">
                    <a16:creationId xmlns:a16="http://schemas.microsoft.com/office/drawing/2014/main" id="{EFF7C7EF-87DD-8F2B-F91A-C92EE7820A5D}"/>
                  </a:ext>
                </a:extLst>
              </p:cNvPr>
              <p:cNvSpPr/>
              <p:nvPr/>
            </p:nvSpPr>
            <p:spPr>
              <a:xfrm>
                <a:off x="10154564" y="4258626"/>
                <a:ext cx="507582" cy="532567"/>
              </a:xfrm>
              <a:prstGeom prst="rect">
                <a:avLst/>
              </a:prstGeom>
              <a:solidFill>
                <a:srgbClr val="71B7D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138" name="Прямокутник 137">
                <a:extLst>
                  <a:ext uri="{FF2B5EF4-FFF2-40B4-BE49-F238E27FC236}">
                    <a16:creationId xmlns:a16="http://schemas.microsoft.com/office/drawing/2014/main" id="{F7CE9212-7CD2-2470-E3AD-8CCE5427A277}"/>
                  </a:ext>
                </a:extLst>
              </p:cNvPr>
              <p:cNvSpPr/>
              <p:nvPr/>
            </p:nvSpPr>
            <p:spPr>
              <a:xfrm>
                <a:off x="10152184" y="5855117"/>
                <a:ext cx="507582" cy="532567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  <a:alpha val="2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dirty="0"/>
              </a:p>
            </p:txBody>
          </p:sp>
          <p:sp>
            <p:nvSpPr>
              <p:cNvPr id="139" name="Прямокутник 138">
                <a:extLst>
                  <a:ext uri="{FF2B5EF4-FFF2-40B4-BE49-F238E27FC236}">
                    <a16:creationId xmlns:a16="http://schemas.microsoft.com/office/drawing/2014/main" id="{A3A8019E-3470-F599-AF50-D23EDD7F47D8}"/>
                  </a:ext>
                </a:extLst>
              </p:cNvPr>
              <p:cNvSpPr/>
              <p:nvPr/>
            </p:nvSpPr>
            <p:spPr>
              <a:xfrm>
                <a:off x="10154564" y="5323755"/>
                <a:ext cx="507582" cy="532567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  <a:alpha val="2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  <p:sp>
            <p:nvSpPr>
              <p:cNvPr id="140" name="Прямокутник 139">
                <a:extLst>
                  <a:ext uri="{FF2B5EF4-FFF2-40B4-BE49-F238E27FC236}">
                    <a16:creationId xmlns:a16="http://schemas.microsoft.com/office/drawing/2014/main" id="{EA8BE29C-73C3-3EE6-C0E2-82E65A70A723}"/>
                  </a:ext>
                </a:extLst>
              </p:cNvPr>
              <p:cNvSpPr/>
              <p:nvPr/>
            </p:nvSpPr>
            <p:spPr>
              <a:xfrm>
                <a:off x="10671358" y="3725477"/>
                <a:ext cx="507582" cy="532567"/>
              </a:xfrm>
              <a:prstGeom prst="rect">
                <a:avLst/>
              </a:prstGeom>
              <a:solidFill>
                <a:srgbClr val="0960B7">
                  <a:alpha val="23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/>
              </a:p>
            </p:txBody>
          </p:sp>
        </p:grpSp>
      </p:grpSp>
      <p:sp>
        <p:nvSpPr>
          <p:cNvPr id="152" name="Прямокутник 151">
            <a:extLst>
              <a:ext uri="{FF2B5EF4-FFF2-40B4-BE49-F238E27FC236}">
                <a16:creationId xmlns:a16="http://schemas.microsoft.com/office/drawing/2014/main" id="{71E979C7-BD3E-7253-E26E-4D795F51FD62}"/>
              </a:ext>
            </a:extLst>
          </p:cNvPr>
          <p:cNvSpPr/>
          <p:nvPr/>
        </p:nvSpPr>
        <p:spPr>
          <a:xfrm rot="10800000">
            <a:off x="1002514" y="5288139"/>
            <a:ext cx="507582" cy="532567"/>
          </a:xfrm>
          <a:prstGeom prst="rect">
            <a:avLst/>
          </a:prstGeom>
          <a:solidFill>
            <a:srgbClr val="0960B7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53" name="Прямокутник 152">
            <a:extLst>
              <a:ext uri="{FF2B5EF4-FFF2-40B4-BE49-F238E27FC236}">
                <a16:creationId xmlns:a16="http://schemas.microsoft.com/office/drawing/2014/main" id="{09D1F5D6-F179-F119-D34C-45F45DE4492B}"/>
              </a:ext>
            </a:extLst>
          </p:cNvPr>
          <p:cNvSpPr/>
          <p:nvPr/>
        </p:nvSpPr>
        <p:spPr>
          <a:xfrm rot="10800000">
            <a:off x="486654" y="4754959"/>
            <a:ext cx="516754" cy="532567"/>
          </a:xfrm>
          <a:prstGeom prst="rect">
            <a:avLst/>
          </a:prstGeom>
          <a:solidFill>
            <a:srgbClr val="0960B7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54" name="Прямокутник 153">
            <a:extLst>
              <a:ext uri="{FF2B5EF4-FFF2-40B4-BE49-F238E27FC236}">
                <a16:creationId xmlns:a16="http://schemas.microsoft.com/office/drawing/2014/main" id="{C410AE3A-2318-5E13-0B15-352E81ECBCA5}"/>
              </a:ext>
            </a:extLst>
          </p:cNvPr>
          <p:cNvSpPr/>
          <p:nvPr/>
        </p:nvSpPr>
        <p:spPr>
          <a:xfrm rot="10800000">
            <a:off x="495865" y="5286934"/>
            <a:ext cx="507582" cy="532567"/>
          </a:xfrm>
          <a:prstGeom prst="rect">
            <a:avLst/>
          </a:prstGeom>
          <a:solidFill>
            <a:srgbClr val="0960B7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155" name="Пряма сполучна лінія 154">
            <a:extLst>
              <a:ext uri="{FF2B5EF4-FFF2-40B4-BE49-F238E27FC236}">
                <a16:creationId xmlns:a16="http://schemas.microsoft.com/office/drawing/2014/main" id="{26D1C715-C8CA-F878-FD13-839B101D53A9}"/>
              </a:ext>
            </a:extLst>
          </p:cNvPr>
          <p:cNvCxnSpPr>
            <a:cxnSpLocks/>
          </p:cNvCxnSpPr>
          <p:nvPr/>
        </p:nvCxnSpPr>
        <p:spPr>
          <a:xfrm>
            <a:off x="1203234" y="1186179"/>
            <a:ext cx="9370534" cy="0"/>
          </a:xfrm>
          <a:prstGeom prst="line">
            <a:avLst/>
          </a:prstGeom>
          <a:ln w="6350">
            <a:gradFill>
              <a:gsLst>
                <a:gs pos="100000">
                  <a:srgbClr val="EFF6F8">
                    <a:alpha val="0"/>
                  </a:srgbClr>
                </a:gs>
                <a:gs pos="3000">
                  <a:schemeClr val="accent1">
                    <a:lumMod val="5000"/>
                    <a:lumOff val="95000"/>
                    <a:alpha val="0"/>
                  </a:schemeClr>
                </a:gs>
                <a:gs pos="49000">
                  <a:srgbClr val="009FE3"/>
                </a:gs>
                <a:gs pos="62000">
                  <a:srgbClr val="009FE3"/>
                </a:gs>
              </a:gsLst>
              <a:lin ang="6600000" scaled="0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3" name="Групувати 162">
            <a:extLst>
              <a:ext uri="{FF2B5EF4-FFF2-40B4-BE49-F238E27FC236}">
                <a16:creationId xmlns:a16="http://schemas.microsoft.com/office/drawing/2014/main" id="{823CCD40-E765-DCE4-EFFE-C478C6CAA4FB}"/>
              </a:ext>
            </a:extLst>
          </p:cNvPr>
          <p:cNvGrpSpPr/>
          <p:nvPr/>
        </p:nvGrpSpPr>
        <p:grpSpPr>
          <a:xfrm>
            <a:off x="10613803" y="104129"/>
            <a:ext cx="1405132" cy="300056"/>
            <a:chOff x="8944864" y="1776832"/>
            <a:chExt cx="1022457" cy="221924"/>
          </a:xfrm>
        </p:grpSpPr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E4512CC-E6A4-C391-6F9D-D99E785CD784}"/>
                </a:ext>
              </a:extLst>
            </p:cNvPr>
            <p:cNvSpPr txBox="1"/>
            <p:nvPr/>
          </p:nvSpPr>
          <p:spPr>
            <a:xfrm>
              <a:off x="9569202" y="1795187"/>
              <a:ext cx="97196" cy="96262"/>
            </a:xfrm>
            <a:custGeom>
              <a:avLst/>
              <a:gdLst/>
              <a:ahLst/>
              <a:cxnLst/>
              <a:rect l="l" t="t" r="r" b="b"/>
              <a:pathLst>
                <a:path w="97196" h="96262">
                  <a:moveTo>
                    <a:pt x="48531" y="0"/>
                  </a:moveTo>
                  <a:cubicBezTo>
                    <a:pt x="57866" y="55"/>
                    <a:pt x="66182" y="2061"/>
                    <a:pt x="73479" y="6016"/>
                  </a:cubicBezTo>
                  <a:cubicBezTo>
                    <a:pt x="80775" y="9972"/>
                    <a:pt x="86530" y="15542"/>
                    <a:pt x="90744" y="22729"/>
                  </a:cubicBezTo>
                  <a:cubicBezTo>
                    <a:pt x="94958" y="29915"/>
                    <a:pt x="97109" y="38382"/>
                    <a:pt x="97196" y="48130"/>
                  </a:cubicBezTo>
                  <a:cubicBezTo>
                    <a:pt x="97109" y="57543"/>
                    <a:pt x="94958" y="65852"/>
                    <a:pt x="90744" y="73058"/>
                  </a:cubicBezTo>
                  <a:cubicBezTo>
                    <a:pt x="86530" y="80264"/>
                    <a:pt x="80775" y="85914"/>
                    <a:pt x="73479" y="90008"/>
                  </a:cubicBezTo>
                  <a:cubicBezTo>
                    <a:pt x="66182" y="94102"/>
                    <a:pt x="57866" y="96186"/>
                    <a:pt x="48531" y="96262"/>
                  </a:cubicBezTo>
                  <a:cubicBezTo>
                    <a:pt x="39198" y="96206"/>
                    <a:pt x="30894" y="94200"/>
                    <a:pt x="23618" y="90245"/>
                  </a:cubicBezTo>
                  <a:cubicBezTo>
                    <a:pt x="16343" y="86290"/>
                    <a:pt x="10610" y="80719"/>
                    <a:pt x="6417" y="73532"/>
                  </a:cubicBezTo>
                  <a:cubicBezTo>
                    <a:pt x="2225" y="66346"/>
                    <a:pt x="86" y="57879"/>
                    <a:pt x="0" y="48130"/>
                  </a:cubicBezTo>
                  <a:cubicBezTo>
                    <a:pt x="68" y="39012"/>
                    <a:pt x="2138" y="30841"/>
                    <a:pt x="6210" y="23618"/>
                  </a:cubicBezTo>
                  <a:cubicBezTo>
                    <a:pt x="10281" y="16395"/>
                    <a:pt x="15946" y="10676"/>
                    <a:pt x="23203" y="6461"/>
                  </a:cubicBezTo>
                  <a:cubicBezTo>
                    <a:pt x="30461" y="2246"/>
                    <a:pt x="38904" y="92"/>
                    <a:pt x="48531" y="0"/>
                  </a:cubicBezTo>
                  <a:close/>
                  <a:moveTo>
                    <a:pt x="48531" y="15318"/>
                  </a:moveTo>
                  <a:cubicBezTo>
                    <a:pt x="39411" y="15477"/>
                    <a:pt x="31975" y="18528"/>
                    <a:pt x="26223" y="24472"/>
                  </a:cubicBezTo>
                  <a:cubicBezTo>
                    <a:pt x="20470" y="30415"/>
                    <a:pt x="17503" y="38302"/>
                    <a:pt x="17319" y="48130"/>
                  </a:cubicBezTo>
                  <a:cubicBezTo>
                    <a:pt x="17528" y="57667"/>
                    <a:pt x="20545" y="65470"/>
                    <a:pt x="26373" y="71539"/>
                  </a:cubicBezTo>
                  <a:cubicBezTo>
                    <a:pt x="32200" y="77608"/>
                    <a:pt x="39586" y="80743"/>
                    <a:pt x="48531" y="80943"/>
                  </a:cubicBezTo>
                  <a:cubicBezTo>
                    <a:pt x="58415" y="80726"/>
                    <a:pt x="66091" y="77558"/>
                    <a:pt x="71557" y="71439"/>
                  </a:cubicBezTo>
                  <a:cubicBezTo>
                    <a:pt x="77023" y="65320"/>
                    <a:pt x="79796" y="57551"/>
                    <a:pt x="79877" y="48130"/>
                  </a:cubicBezTo>
                  <a:cubicBezTo>
                    <a:pt x="79671" y="38302"/>
                    <a:pt x="76648" y="30415"/>
                    <a:pt x="70807" y="24472"/>
                  </a:cubicBezTo>
                  <a:cubicBezTo>
                    <a:pt x="64965" y="18528"/>
                    <a:pt x="57540" y="15477"/>
                    <a:pt x="48531" y="15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8829F00C-B6CF-A024-C9C5-A04B114748BC}"/>
                </a:ext>
              </a:extLst>
            </p:cNvPr>
            <p:cNvSpPr txBox="1"/>
            <p:nvPr/>
          </p:nvSpPr>
          <p:spPr>
            <a:xfrm>
              <a:off x="9683502" y="1795187"/>
              <a:ext cx="83594" cy="96262"/>
            </a:xfrm>
            <a:custGeom>
              <a:avLst/>
              <a:gdLst/>
              <a:ahLst/>
              <a:cxnLst/>
              <a:rect l="l" t="t" r="r" b="b"/>
              <a:pathLst>
                <a:path w="83594" h="96262">
                  <a:moveTo>
                    <a:pt x="46532" y="0"/>
                  </a:moveTo>
                  <a:cubicBezTo>
                    <a:pt x="53144" y="19"/>
                    <a:pt x="58862" y="846"/>
                    <a:pt x="63688" y="2481"/>
                  </a:cubicBezTo>
                  <a:cubicBezTo>
                    <a:pt x="68514" y="4115"/>
                    <a:pt x="72796" y="6441"/>
                    <a:pt x="76534" y="9457"/>
                  </a:cubicBezTo>
                  <a:lnTo>
                    <a:pt x="69608" y="22523"/>
                  </a:lnTo>
                  <a:cubicBezTo>
                    <a:pt x="67196" y="20297"/>
                    <a:pt x="64117" y="18546"/>
                    <a:pt x="60371" y="17270"/>
                  </a:cubicBezTo>
                  <a:cubicBezTo>
                    <a:pt x="56625" y="15994"/>
                    <a:pt x="52679" y="15343"/>
                    <a:pt x="48533" y="15318"/>
                  </a:cubicBezTo>
                  <a:cubicBezTo>
                    <a:pt x="39354" y="15385"/>
                    <a:pt x="31901" y="18253"/>
                    <a:pt x="26173" y="23923"/>
                  </a:cubicBezTo>
                  <a:cubicBezTo>
                    <a:pt x="20446" y="29593"/>
                    <a:pt x="17494" y="37664"/>
                    <a:pt x="17319" y="48135"/>
                  </a:cubicBezTo>
                  <a:cubicBezTo>
                    <a:pt x="17453" y="58192"/>
                    <a:pt x="20354" y="66143"/>
                    <a:pt x="26023" y="71988"/>
                  </a:cubicBezTo>
                  <a:cubicBezTo>
                    <a:pt x="31692" y="77832"/>
                    <a:pt x="39329" y="80817"/>
                    <a:pt x="48933" y="80943"/>
                  </a:cubicBezTo>
                  <a:cubicBezTo>
                    <a:pt x="52674" y="80885"/>
                    <a:pt x="56364" y="80234"/>
                    <a:pt x="60005" y="78991"/>
                  </a:cubicBezTo>
                  <a:cubicBezTo>
                    <a:pt x="63645" y="77748"/>
                    <a:pt x="66402" y="76264"/>
                    <a:pt x="68276" y="74537"/>
                  </a:cubicBezTo>
                  <a:lnTo>
                    <a:pt x="68276" y="59857"/>
                  </a:lnTo>
                  <a:lnTo>
                    <a:pt x="45732" y="59857"/>
                  </a:lnTo>
                  <a:lnTo>
                    <a:pt x="45732" y="44539"/>
                  </a:lnTo>
                  <a:lnTo>
                    <a:pt x="83594" y="44539"/>
                  </a:lnTo>
                  <a:lnTo>
                    <a:pt x="83594" y="83208"/>
                  </a:lnTo>
                  <a:cubicBezTo>
                    <a:pt x="79251" y="87365"/>
                    <a:pt x="73848" y="90573"/>
                    <a:pt x="67385" y="92832"/>
                  </a:cubicBezTo>
                  <a:cubicBezTo>
                    <a:pt x="60922" y="95091"/>
                    <a:pt x="54683" y="96234"/>
                    <a:pt x="48666" y="96262"/>
                  </a:cubicBezTo>
                  <a:cubicBezTo>
                    <a:pt x="33274" y="96073"/>
                    <a:pt x="21345" y="91686"/>
                    <a:pt x="12878" y="83100"/>
                  </a:cubicBezTo>
                  <a:cubicBezTo>
                    <a:pt x="4412" y="74514"/>
                    <a:pt x="119" y="62859"/>
                    <a:pt x="0" y="48135"/>
                  </a:cubicBezTo>
                  <a:cubicBezTo>
                    <a:pt x="46" y="39100"/>
                    <a:pt x="1953" y="30968"/>
                    <a:pt x="5721" y="23739"/>
                  </a:cubicBezTo>
                  <a:cubicBezTo>
                    <a:pt x="9488" y="16510"/>
                    <a:pt x="14842" y="10771"/>
                    <a:pt x="21781" y="6521"/>
                  </a:cubicBezTo>
                  <a:cubicBezTo>
                    <a:pt x="28721" y="2271"/>
                    <a:pt x="36971" y="97"/>
                    <a:pt x="46532" y="0"/>
                  </a:cubicBez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B4065388-EA09-31A5-CA41-F979ACDD600A}"/>
                </a:ext>
              </a:extLst>
            </p:cNvPr>
            <p:cNvSpPr txBox="1"/>
            <p:nvPr/>
          </p:nvSpPr>
          <p:spPr>
            <a:xfrm>
              <a:off x="92879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194C6DA8-8B35-C1CB-29DC-05C73D6F5905}"/>
                </a:ext>
              </a:extLst>
            </p:cNvPr>
            <p:cNvSpPr txBox="1"/>
            <p:nvPr/>
          </p:nvSpPr>
          <p:spPr>
            <a:xfrm>
              <a:off x="97832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2BD3715A-3A94-3F4E-E34E-80ABCB0AF397}"/>
                </a:ext>
              </a:extLst>
            </p:cNvPr>
            <p:cNvSpPr txBox="1"/>
            <p:nvPr/>
          </p:nvSpPr>
          <p:spPr>
            <a:xfrm>
              <a:off x="9185612" y="1796788"/>
              <a:ext cx="79726" cy="93195"/>
            </a:xfrm>
            <a:custGeom>
              <a:avLst/>
              <a:gdLst/>
              <a:ahLst/>
              <a:cxnLst/>
              <a:rect l="l" t="t" r="r" b="b"/>
              <a:pathLst>
                <a:path w="79726" h="93195">
                  <a:moveTo>
                    <a:pt x="0" y="0"/>
                  </a:moveTo>
                  <a:lnTo>
                    <a:pt x="13054" y="0"/>
                  </a:lnTo>
                  <a:lnTo>
                    <a:pt x="64408" y="64837"/>
                  </a:lnTo>
                  <a:lnTo>
                    <a:pt x="64408" y="0"/>
                  </a:lnTo>
                  <a:lnTo>
                    <a:pt x="79726" y="0"/>
                  </a:lnTo>
                  <a:lnTo>
                    <a:pt x="79726" y="93195"/>
                  </a:lnTo>
                  <a:lnTo>
                    <a:pt x="66672" y="93195"/>
                  </a:lnTo>
                  <a:lnTo>
                    <a:pt x="15318" y="28624"/>
                  </a:lnTo>
                  <a:lnTo>
                    <a:pt x="15318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1995AB43-8765-D2CF-5CA0-8DD95EAB112A}"/>
                </a:ext>
              </a:extLst>
            </p:cNvPr>
            <p:cNvSpPr txBox="1"/>
            <p:nvPr/>
          </p:nvSpPr>
          <p:spPr>
            <a:xfrm>
              <a:off x="9404688" y="1796788"/>
              <a:ext cx="53323" cy="93195"/>
            </a:xfrm>
            <a:custGeom>
              <a:avLst/>
              <a:gdLst/>
              <a:ahLst/>
              <a:cxnLst/>
              <a:rect l="l" t="t" r="r" b="b"/>
              <a:pathLst>
                <a:path w="53323" h="93195">
                  <a:moveTo>
                    <a:pt x="0" y="0"/>
                  </a:moveTo>
                  <a:lnTo>
                    <a:pt x="53323" y="0"/>
                  </a:lnTo>
                  <a:lnTo>
                    <a:pt x="53323" y="15318"/>
                  </a:lnTo>
                  <a:lnTo>
                    <a:pt x="16385" y="15318"/>
                  </a:lnTo>
                  <a:lnTo>
                    <a:pt x="16385" y="41605"/>
                  </a:lnTo>
                  <a:lnTo>
                    <a:pt x="49322" y="41605"/>
                  </a:lnTo>
                  <a:lnTo>
                    <a:pt x="49322" y="56924"/>
                  </a:lnTo>
                  <a:lnTo>
                    <a:pt x="16385" y="56924"/>
                  </a:lnTo>
                  <a:lnTo>
                    <a:pt x="16385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FED0D7BC-DD9D-1EBD-DF19-D5E4A62DBF4B}"/>
                </a:ext>
              </a:extLst>
            </p:cNvPr>
            <p:cNvSpPr txBox="1"/>
            <p:nvPr/>
          </p:nvSpPr>
          <p:spPr>
            <a:xfrm>
              <a:off x="9478810" y="1796788"/>
              <a:ext cx="76926" cy="93195"/>
            </a:xfrm>
            <a:custGeom>
              <a:avLst/>
              <a:gdLst/>
              <a:ahLst/>
              <a:cxnLst/>
              <a:rect l="l" t="t" r="r" b="b"/>
              <a:pathLst>
                <a:path w="76926" h="93195">
                  <a:moveTo>
                    <a:pt x="0" y="0"/>
                  </a:moveTo>
                  <a:lnTo>
                    <a:pt x="76926" y="0"/>
                  </a:lnTo>
                  <a:lnTo>
                    <a:pt x="76926" y="15318"/>
                  </a:lnTo>
                  <a:lnTo>
                    <a:pt x="46656" y="15318"/>
                  </a:lnTo>
                  <a:lnTo>
                    <a:pt x="46656" y="93195"/>
                  </a:lnTo>
                  <a:lnTo>
                    <a:pt x="30270" y="93195"/>
                  </a:lnTo>
                  <a:lnTo>
                    <a:pt x="30270" y="15318"/>
                  </a:lnTo>
                  <a:lnTo>
                    <a:pt x="0" y="15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40F374C5-A1AF-F21E-E0F1-CCBCA5D2156B}"/>
                </a:ext>
              </a:extLst>
            </p:cNvPr>
            <p:cNvSpPr txBox="1"/>
            <p:nvPr/>
          </p:nvSpPr>
          <p:spPr>
            <a:xfrm>
              <a:off x="9892378" y="1796788"/>
              <a:ext cx="74943" cy="93195"/>
            </a:xfrm>
            <a:custGeom>
              <a:avLst/>
              <a:gdLst/>
              <a:ahLst/>
              <a:cxnLst/>
              <a:rect l="l" t="t" r="r" b="b"/>
              <a:pathLst>
                <a:path w="74943" h="93195">
                  <a:moveTo>
                    <a:pt x="2667" y="0"/>
                  </a:moveTo>
                  <a:lnTo>
                    <a:pt x="73609" y="0"/>
                  </a:lnTo>
                  <a:lnTo>
                    <a:pt x="73609" y="11322"/>
                  </a:lnTo>
                  <a:lnTo>
                    <a:pt x="21870" y="77876"/>
                  </a:lnTo>
                  <a:lnTo>
                    <a:pt x="74943" y="77876"/>
                  </a:lnTo>
                  <a:lnTo>
                    <a:pt x="74943" y="93195"/>
                  </a:lnTo>
                  <a:lnTo>
                    <a:pt x="0" y="93195"/>
                  </a:lnTo>
                  <a:lnTo>
                    <a:pt x="0" y="82006"/>
                  </a:lnTo>
                  <a:lnTo>
                    <a:pt x="51607" y="15318"/>
                  </a:lnTo>
                  <a:lnTo>
                    <a:pt x="2667" y="15318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172" name="Freeform 218">
              <a:extLst>
                <a:ext uri="{FF2B5EF4-FFF2-40B4-BE49-F238E27FC236}">
                  <a16:creationId xmlns:a16="http://schemas.microsoft.com/office/drawing/2014/main" id="{F6F85C0A-48A8-E761-185C-F86B9E6CED7E}"/>
                </a:ext>
              </a:extLst>
            </p:cNvPr>
            <p:cNvSpPr/>
            <p:nvPr/>
          </p:nvSpPr>
          <p:spPr>
            <a:xfrm>
              <a:off x="9064800" y="1991655"/>
              <a:ext cx="4609" cy="1336"/>
            </a:xfrm>
            <a:custGeom>
              <a:avLst/>
              <a:gdLst/>
              <a:ahLst/>
              <a:cxnLst/>
              <a:rect l="0" t="0" r="0" b="0"/>
              <a:pathLst>
                <a:path w="13665" h="3962">
                  <a:moveTo>
                    <a:pt x="0" y="3962"/>
                  </a:moveTo>
                  <a:cubicBezTo>
                    <a:pt x="4610" y="2731"/>
                    <a:pt x="9169" y="1626"/>
                    <a:pt x="13665" y="0"/>
                  </a:cubicBezTo>
                  <a:cubicBezTo>
                    <a:pt x="8978" y="1384"/>
                    <a:pt x="4508" y="2731"/>
                    <a:pt x="0" y="3962"/>
                  </a:cubicBezTo>
                </a:path>
              </a:pathLst>
            </a:custGeom>
            <a:solidFill>
              <a:srgbClr val="000000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pic>
          <p:nvPicPr>
            <p:cNvPr id="173" name="Picture 219">
              <a:extLst>
                <a:ext uri="{FF2B5EF4-FFF2-40B4-BE49-F238E27FC236}">
                  <a16:creationId xmlns:a16="http://schemas.microsoft.com/office/drawing/2014/main" id="{AD1EBBCD-13E2-05D5-616D-32FF7E0D0AC7}"/>
                </a:ext>
              </a:extLst>
            </p:cNvPr>
            <p:cNvPicPr/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058175" y="1988501"/>
              <a:ext cx="15518" cy="10255"/>
            </a:xfrm>
            <a:prstGeom prst="rect">
              <a:avLst/>
            </a:prstGeom>
            <a:noFill/>
          </p:spPr>
        </p:pic>
        <p:grpSp>
          <p:nvGrpSpPr>
            <p:cNvPr id="174" name="Групувати 173">
              <a:extLst>
                <a:ext uri="{FF2B5EF4-FFF2-40B4-BE49-F238E27FC236}">
                  <a16:creationId xmlns:a16="http://schemas.microsoft.com/office/drawing/2014/main" id="{58206137-6A49-A8FA-1943-C9B11B54FA00}"/>
                </a:ext>
              </a:extLst>
            </p:cNvPr>
            <p:cNvGrpSpPr/>
            <p:nvPr/>
          </p:nvGrpSpPr>
          <p:grpSpPr>
            <a:xfrm>
              <a:off x="8944864" y="1776832"/>
              <a:ext cx="207633" cy="206717"/>
              <a:chOff x="5192198" y="3302281"/>
              <a:chExt cx="207633" cy="206717"/>
            </a:xfrm>
          </p:grpSpPr>
          <p:sp>
            <p:nvSpPr>
              <p:cNvPr id="188" name="Freeform 220">
                <a:extLst>
                  <a:ext uri="{FF2B5EF4-FFF2-40B4-BE49-F238E27FC236}">
                    <a16:creationId xmlns:a16="http://schemas.microsoft.com/office/drawing/2014/main" id="{DF964B08-7D8D-51C1-4151-5F2FE43033C5}"/>
                  </a:ext>
                </a:extLst>
              </p:cNvPr>
              <p:cNvSpPr/>
              <p:nvPr/>
            </p:nvSpPr>
            <p:spPr>
              <a:xfrm>
                <a:off x="5309209" y="3316368"/>
                <a:ext cx="90622" cy="178639"/>
              </a:xfrm>
              <a:custGeom>
                <a:avLst/>
                <a:gdLst/>
                <a:ahLst/>
                <a:cxnLst/>
                <a:rect l="0" t="0" r="0" b="0"/>
                <a:pathLst>
                  <a:path w="268693" h="529665">
                    <a:moveTo>
                      <a:pt x="249186" y="162356"/>
                    </a:moveTo>
                    <a:cubicBezTo>
                      <a:pt x="249490" y="162482"/>
                      <a:pt x="249770" y="162521"/>
                      <a:pt x="250049" y="162724"/>
                    </a:cubicBezTo>
                    <a:cubicBezTo>
                      <a:pt x="233972" y="106400"/>
                      <a:pt x="199834" y="59042"/>
                      <a:pt x="150126" y="24841"/>
                    </a:cubicBezTo>
                    <a:cubicBezTo>
                      <a:pt x="127165" y="9055"/>
                      <a:pt x="100622" y="0"/>
                      <a:pt x="77356" y="0"/>
                    </a:cubicBezTo>
                    <a:cubicBezTo>
                      <a:pt x="63970" y="0"/>
                      <a:pt x="51701" y="2844"/>
                      <a:pt x="41008" y="8661"/>
                    </a:cubicBezTo>
                    <a:cubicBezTo>
                      <a:pt x="13894" y="24498"/>
                      <a:pt x="0" y="46990"/>
                      <a:pt x="0" y="75565"/>
                    </a:cubicBezTo>
                    <a:cubicBezTo>
                      <a:pt x="0" y="122174"/>
                      <a:pt x="27051" y="149669"/>
                      <a:pt x="67932" y="191324"/>
                    </a:cubicBezTo>
                    <a:cubicBezTo>
                      <a:pt x="89205" y="213003"/>
                      <a:pt x="113068" y="237336"/>
                      <a:pt x="136474" y="268591"/>
                    </a:cubicBezTo>
                    <a:cubicBezTo>
                      <a:pt x="174879" y="319785"/>
                      <a:pt x="184366" y="391375"/>
                      <a:pt x="161239" y="455687"/>
                    </a:cubicBezTo>
                    <a:cubicBezTo>
                      <a:pt x="151143" y="483754"/>
                      <a:pt x="135737" y="508431"/>
                      <a:pt x="115798" y="528992"/>
                    </a:cubicBezTo>
                    <a:cubicBezTo>
                      <a:pt x="115519" y="529068"/>
                      <a:pt x="115468" y="529462"/>
                      <a:pt x="115214" y="529665"/>
                    </a:cubicBezTo>
                    <a:cubicBezTo>
                      <a:pt x="163931" y="502233"/>
                      <a:pt x="200685" y="463269"/>
                      <a:pt x="223342" y="414768"/>
                    </a:cubicBezTo>
                    <a:cubicBezTo>
                      <a:pt x="268693" y="317359"/>
                      <a:pt x="235026" y="249795"/>
                      <a:pt x="214922" y="209384"/>
                    </a:cubicBezTo>
                    <a:cubicBezTo>
                      <a:pt x="204610" y="188670"/>
                      <a:pt x="197193" y="173531"/>
                      <a:pt x="204711" y="162191"/>
                    </a:cubicBezTo>
                    <a:cubicBezTo>
                      <a:pt x="213411" y="149098"/>
                      <a:pt x="229451" y="148463"/>
                      <a:pt x="249186" y="162356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sp>
            <p:nvSpPr>
              <p:cNvPr id="189" name="Freeform 221">
                <a:extLst>
                  <a:ext uri="{FF2B5EF4-FFF2-40B4-BE49-F238E27FC236}">
                    <a16:creationId xmlns:a16="http://schemas.microsoft.com/office/drawing/2014/main" id="{53950757-4E2E-6B61-6073-3AA7C1180226}"/>
                  </a:ext>
                </a:extLst>
              </p:cNvPr>
              <p:cNvSpPr/>
              <p:nvPr/>
            </p:nvSpPr>
            <p:spPr>
              <a:xfrm>
                <a:off x="5192198" y="3326401"/>
                <a:ext cx="131219" cy="179925"/>
              </a:xfrm>
              <a:custGeom>
                <a:avLst/>
                <a:gdLst/>
                <a:ahLst/>
                <a:cxnLst/>
                <a:rect l="0" t="0" r="0" b="0"/>
                <a:pathLst>
                  <a:path w="389064" h="533476">
                    <a:moveTo>
                      <a:pt x="374561" y="363639"/>
                    </a:moveTo>
                    <a:cubicBezTo>
                      <a:pt x="345733" y="318936"/>
                      <a:pt x="304800" y="303162"/>
                      <a:pt x="261519" y="286563"/>
                    </a:cubicBezTo>
                    <a:cubicBezTo>
                      <a:pt x="219050" y="270142"/>
                      <a:pt x="175095" y="253251"/>
                      <a:pt x="137757" y="209398"/>
                    </a:cubicBezTo>
                    <a:cubicBezTo>
                      <a:pt x="101156" y="166739"/>
                      <a:pt x="85764" y="111430"/>
                      <a:pt x="94044" y="53988"/>
                    </a:cubicBezTo>
                    <a:cubicBezTo>
                      <a:pt x="96635" y="36322"/>
                      <a:pt x="101651" y="19495"/>
                      <a:pt x="108243" y="3988"/>
                    </a:cubicBezTo>
                    <a:cubicBezTo>
                      <a:pt x="108509" y="3214"/>
                      <a:pt x="108801" y="2451"/>
                      <a:pt x="108827" y="2439"/>
                    </a:cubicBezTo>
                    <a:cubicBezTo>
                      <a:pt x="109182" y="1486"/>
                      <a:pt x="109386" y="788"/>
                      <a:pt x="109703" y="0"/>
                    </a:cubicBezTo>
                    <a:cubicBezTo>
                      <a:pt x="104902" y="3988"/>
                      <a:pt x="100559" y="8408"/>
                      <a:pt x="96063" y="12675"/>
                    </a:cubicBezTo>
                    <a:cubicBezTo>
                      <a:pt x="96139" y="12599"/>
                      <a:pt x="96241" y="12535"/>
                      <a:pt x="96330" y="12459"/>
                    </a:cubicBezTo>
                    <a:cubicBezTo>
                      <a:pt x="96241" y="12535"/>
                      <a:pt x="96139" y="12612"/>
                      <a:pt x="96063" y="12688"/>
                    </a:cubicBezTo>
                    <a:cubicBezTo>
                      <a:pt x="35345" y="69977"/>
                      <a:pt x="0" y="149556"/>
                      <a:pt x="0" y="234925"/>
                    </a:cubicBezTo>
                    <a:cubicBezTo>
                      <a:pt x="0" y="369468"/>
                      <a:pt x="90031" y="490258"/>
                      <a:pt x="218974" y="528586"/>
                    </a:cubicBezTo>
                    <a:cubicBezTo>
                      <a:pt x="231445" y="531837"/>
                      <a:pt x="244221" y="533476"/>
                      <a:pt x="256972" y="533476"/>
                    </a:cubicBezTo>
                    <a:cubicBezTo>
                      <a:pt x="300482" y="533476"/>
                      <a:pt x="339344" y="514349"/>
                      <a:pt x="363881" y="480910"/>
                    </a:cubicBezTo>
                    <a:cubicBezTo>
                      <a:pt x="376135" y="464070"/>
                      <a:pt x="383044" y="444995"/>
                      <a:pt x="385800" y="426034"/>
                    </a:cubicBezTo>
                    <a:cubicBezTo>
                      <a:pt x="389064" y="403453"/>
                      <a:pt x="385838" y="381190"/>
                      <a:pt x="374561" y="363639"/>
                    </a:cubicBezTo>
                  </a:path>
                </a:pathLst>
              </a:cu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 dirty="0"/>
              </a:p>
            </p:txBody>
          </p:sp>
          <p:sp>
            <p:nvSpPr>
              <p:cNvPr id="190" name="Freeform 222">
                <a:extLst>
                  <a:ext uri="{FF2B5EF4-FFF2-40B4-BE49-F238E27FC236}">
                    <a16:creationId xmlns:a16="http://schemas.microsoft.com/office/drawing/2014/main" id="{C83CE2AA-2643-32B2-8AF9-91C7BF342FE6}"/>
                  </a:ext>
                </a:extLst>
              </p:cNvPr>
              <p:cNvSpPr/>
              <p:nvPr/>
            </p:nvSpPr>
            <p:spPr>
              <a:xfrm>
                <a:off x="5231948" y="3302281"/>
                <a:ext cx="129163" cy="206717"/>
              </a:xfrm>
              <a:custGeom>
                <a:avLst/>
                <a:gdLst/>
                <a:ahLst/>
                <a:cxnLst/>
                <a:rect l="0" t="0" r="0" b="0"/>
                <a:pathLst>
                  <a:path w="382967" h="612914">
                    <a:moveTo>
                      <a:pt x="342366" y="327609"/>
                    </a:moveTo>
                    <a:cubicBezTo>
                      <a:pt x="320078" y="297904"/>
                      <a:pt x="296850" y="274142"/>
                      <a:pt x="276352" y="253340"/>
                    </a:cubicBezTo>
                    <a:cubicBezTo>
                      <a:pt x="233743" y="209868"/>
                      <a:pt x="200215" y="175692"/>
                      <a:pt x="200215" y="117323"/>
                    </a:cubicBezTo>
                    <a:cubicBezTo>
                      <a:pt x="200215" y="57811"/>
                      <a:pt x="243726" y="25121"/>
                      <a:pt x="284543" y="15316"/>
                    </a:cubicBezTo>
                    <a:cubicBezTo>
                      <a:pt x="282499" y="14656"/>
                      <a:pt x="280162" y="14313"/>
                      <a:pt x="278054" y="13742"/>
                    </a:cubicBezTo>
                    <a:cubicBezTo>
                      <a:pt x="249555" y="5157"/>
                      <a:pt x="218605" y="0"/>
                      <a:pt x="188531" y="0"/>
                    </a:cubicBezTo>
                    <a:cubicBezTo>
                      <a:pt x="138582" y="0"/>
                      <a:pt x="99174" y="10275"/>
                      <a:pt x="60719" y="33389"/>
                    </a:cubicBezTo>
                    <a:cubicBezTo>
                      <a:pt x="32842" y="50127"/>
                      <a:pt x="10960" y="87922"/>
                      <a:pt x="4864" y="129718"/>
                    </a:cubicBezTo>
                    <a:cubicBezTo>
                      <a:pt x="686" y="158141"/>
                      <a:pt x="0" y="213157"/>
                      <a:pt x="41846" y="262065"/>
                    </a:cubicBezTo>
                    <a:cubicBezTo>
                      <a:pt x="74536" y="300393"/>
                      <a:pt x="114948" y="316002"/>
                      <a:pt x="153987" y="331038"/>
                    </a:cubicBezTo>
                    <a:cubicBezTo>
                      <a:pt x="199809" y="348652"/>
                      <a:pt x="247002" y="366953"/>
                      <a:pt x="280975" y="419442"/>
                    </a:cubicBezTo>
                    <a:cubicBezTo>
                      <a:pt x="304025" y="455091"/>
                      <a:pt x="303886" y="505104"/>
                      <a:pt x="282499" y="547801"/>
                    </a:cubicBezTo>
                    <a:cubicBezTo>
                      <a:pt x="281102" y="550659"/>
                      <a:pt x="279552" y="553415"/>
                      <a:pt x="277952" y="556132"/>
                    </a:cubicBezTo>
                    <a:cubicBezTo>
                      <a:pt x="277520" y="556932"/>
                      <a:pt x="277038" y="557745"/>
                      <a:pt x="276581" y="558545"/>
                    </a:cubicBezTo>
                    <a:cubicBezTo>
                      <a:pt x="259715" y="585304"/>
                      <a:pt x="231902" y="606069"/>
                      <a:pt x="204165" y="612914"/>
                    </a:cubicBezTo>
                    <a:cubicBezTo>
                      <a:pt x="219011" y="610793"/>
                      <a:pt x="233401" y="607555"/>
                      <a:pt x="247307" y="602856"/>
                    </a:cubicBezTo>
                    <a:cubicBezTo>
                      <a:pt x="248679" y="602462"/>
                      <a:pt x="250038" y="602043"/>
                      <a:pt x="251435" y="601649"/>
                    </a:cubicBezTo>
                    <a:cubicBezTo>
                      <a:pt x="253213" y="601001"/>
                      <a:pt x="254864" y="600100"/>
                      <a:pt x="256603" y="599427"/>
                    </a:cubicBezTo>
                    <a:cubicBezTo>
                      <a:pt x="259804" y="598157"/>
                      <a:pt x="262979" y="596823"/>
                      <a:pt x="266103" y="595375"/>
                    </a:cubicBezTo>
                    <a:cubicBezTo>
                      <a:pt x="268084" y="594448"/>
                      <a:pt x="270091" y="593559"/>
                      <a:pt x="272110" y="592505"/>
                    </a:cubicBezTo>
                    <a:cubicBezTo>
                      <a:pt x="276936" y="590092"/>
                      <a:pt x="281686" y="587336"/>
                      <a:pt x="286334" y="584453"/>
                    </a:cubicBezTo>
                    <a:cubicBezTo>
                      <a:pt x="287007" y="584022"/>
                      <a:pt x="287642" y="583590"/>
                      <a:pt x="288252" y="583183"/>
                    </a:cubicBezTo>
                    <a:cubicBezTo>
                      <a:pt x="293408" y="579894"/>
                      <a:pt x="298386" y="576198"/>
                      <a:pt x="303301" y="572274"/>
                    </a:cubicBezTo>
                    <a:cubicBezTo>
                      <a:pt x="303695" y="571944"/>
                      <a:pt x="304101" y="571601"/>
                      <a:pt x="304495" y="571296"/>
                    </a:cubicBezTo>
                    <a:cubicBezTo>
                      <a:pt x="308991" y="567575"/>
                      <a:pt x="313398" y="563587"/>
                      <a:pt x="317716" y="559282"/>
                    </a:cubicBezTo>
                    <a:cubicBezTo>
                      <a:pt x="318795" y="558139"/>
                      <a:pt x="319900" y="556932"/>
                      <a:pt x="321018" y="555789"/>
                    </a:cubicBezTo>
                    <a:cubicBezTo>
                      <a:pt x="323939" y="552703"/>
                      <a:pt x="326796" y="549477"/>
                      <a:pt x="329565" y="546087"/>
                    </a:cubicBezTo>
                    <a:cubicBezTo>
                      <a:pt x="331787" y="543470"/>
                      <a:pt x="333832" y="540753"/>
                      <a:pt x="335877" y="538022"/>
                    </a:cubicBezTo>
                    <a:cubicBezTo>
                      <a:pt x="338036" y="535114"/>
                      <a:pt x="340182" y="532091"/>
                      <a:pt x="342265" y="529005"/>
                    </a:cubicBezTo>
                    <a:cubicBezTo>
                      <a:pt x="343255" y="527494"/>
                      <a:pt x="344283" y="526046"/>
                      <a:pt x="345210" y="524535"/>
                    </a:cubicBezTo>
                    <a:cubicBezTo>
                      <a:pt x="345502" y="524141"/>
                      <a:pt x="345782" y="523709"/>
                      <a:pt x="346087" y="523239"/>
                    </a:cubicBezTo>
                    <a:lnTo>
                      <a:pt x="346036" y="523062"/>
                    </a:lnTo>
                    <a:cubicBezTo>
                      <a:pt x="352792" y="511949"/>
                      <a:pt x="358609" y="500176"/>
                      <a:pt x="363092" y="487616"/>
                    </a:cubicBezTo>
                    <a:cubicBezTo>
                      <a:pt x="382967" y="432472"/>
                      <a:pt x="374992" y="371144"/>
                      <a:pt x="342366" y="327609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</p:grpSp>
        <p:grpSp>
          <p:nvGrpSpPr>
            <p:cNvPr id="175" name="Групувати 174">
              <a:extLst>
                <a:ext uri="{FF2B5EF4-FFF2-40B4-BE49-F238E27FC236}">
                  <a16:creationId xmlns:a16="http://schemas.microsoft.com/office/drawing/2014/main" id="{4AFE230B-96C6-6A42-0772-3B580D6C930F}"/>
                </a:ext>
              </a:extLst>
            </p:cNvPr>
            <p:cNvGrpSpPr/>
            <p:nvPr/>
          </p:nvGrpSpPr>
          <p:grpSpPr>
            <a:xfrm>
              <a:off x="9192478" y="1930875"/>
              <a:ext cx="575419" cy="50379"/>
              <a:chOff x="4220435" y="3738620"/>
              <a:chExt cx="575419" cy="50379"/>
            </a:xfrm>
          </p:grpSpPr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6AD6D4E5-BEF4-1D5D-E103-610EDDC2D50D}"/>
                  </a:ext>
                </a:extLst>
              </p:cNvPr>
              <p:cNvSpPr txBox="1"/>
              <p:nvPr/>
            </p:nvSpPr>
            <p:spPr>
              <a:xfrm>
                <a:off x="4600817" y="3741001"/>
                <a:ext cx="29929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29929" h="47998">
                    <a:moveTo>
                      <a:pt x="15198" y="0"/>
                    </a:moveTo>
                    <a:cubicBezTo>
                      <a:pt x="17931" y="19"/>
                      <a:pt x="20418" y="463"/>
                      <a:pt x="22659" y="1331"/>
                    </a:cubicBezTo>
                    <a:cubicBezTo>
                      <a:pt x="24899" y="2200"/>
                      <a:pt x="26701" y="3376"/>
                      <a:pt x="28065" y="4860"/>
                    </a:cubicBezTo>
                    <a:lnTo>
                      <a:pt x="25002" y="9127"/>
                    </a:lnTo>
                    <a:cubicBezTo>
                      <a:pt x="23783" y="7889"/>
                      <a:pt x="22405" y="6947"/>
                      <a:pt x="20868" y="6301"/>
                    </a:cubicBezTo>
                    <a:cubicBezTo>
                      <a:pt x="19331" y="5655"/>
                      <a:pt x="17552" y="5330"/>
                      <a:pt x="15531" y="5326"/>
                    </a:cubicBezTo>
                    <a:cubicBezTo>
                      <a:pt x="12905" y="5353"/>
                      <a:pt x="10853" y="5981"/>
                      <a:pt x="9377" y="7210"/>
                    </a:cubicBezTo>
                    <a:cubicBezTo>
                      <a:pt x="7902" y="8438"/>
                      <a:pt x="7151" y="10099"/>
                      <a:pt x="7126" y="12195"/>
                    </a:cubicBezTo>
                    <a:cubicBezTo>
                      <a:pt x="7187" y="14454"/>
                      <a:pt x="7977" y="16223"/>
                      <a:pt x="9498" y="17502"/>
                    </a:cubicBezTo>
                    <a:cubicBezTo>
                      <a:pt x="11018" y="18780"/>
                      <a:pt x="12903" y="19858"/>
                      <a:pt x="15153" y="20734"/>
                    </a:cubicBezTo>
                    <a:cubicBezTo>
                      <a:pt x="17403" y="21611"/>
                      <a:pt x="19652" y="22575"/>
                      <a:pt x="21902" y="23627"/>
                    </a:cubicBezTo>
                    <a:cubicBezTo>
                      <a:pt x="24152" y="24680"/>
                      <a:pt x="26037" y="26110"/>
                      <a:pt x="27557" y="27916"/>
                    </a:cubicBezTo>
                    <a:cubicBezTo>
                      <a:pt x="29078" y="29723"/>
                      <a:pt x="29868" y="32197"/>
                      <a:pt x="29929" y="35336"/>
                    </a:cubicBezTo>
                    <a:cubicBezTo>
                      <a:pt x="29825" y="39219"/>
                      <a:pt x="28351" y="42288"/>
                      <a:pt x="25507" y="44543"/>
                    </a:cubicBezTo>
                    <a:cubicBezTo>
                      <a:pt x="22663" y="46798"/>
                      <a:pt x="19071" y="47949"/>
                      <a:pt x="14731" y="47998"/>
                    </a:cubicBezTo>
                    <a:cubicBezTo>
                      <a:pt x="11753" y="47981"/>
                      <a:pt x="8872" y="47365"/>
                      <a:pt x="6089" y="46150"/>
                    </a:cubicBezTo>
                    <a:cubicBezTo>
                      <a:pt x="3305" y="44935"/>
                      <a:pt x="1276" y="43220"/>
                      <a:pt x="0" y="41005"/>
                    </a:cubicBezTo>
                    <a:lnTo>
                      <a:pt x="3264" y="37137"/>
                    </a:lnTo>
                    <a:cubicBezTo>
                      <a:pt x="4693" y="38943"/>
                      <a:pt x="6465" y="40316"/>
                      <a:pt x="8579" y="41255"/>
                    </a:cubicBezTo>
                    <a:cubicBezTo>
                      <a:pt x="10693" y="42194"/>
                      <a:pt x="12766" y="42666"/>
                      <a:pt x="14798" y="42672"/>
                    </a:cubicBezTo>
                    <a:cubicBezTo>
                      <a:pt x="17309" y="42665"/>
                      <a:pt x="19441" y="42045"/>
                      <a:pt x="21193" y="40813"/>
                    </a:cubicBezTo>
                    <a:cubicBezTo>
                      <a:pt x="22946" y="39581"/>
                      <a:pt x="23860" y="37777"/>
                      <a:pt x="23936" y="35403"/>
                    </a:cubicBezTo>
                    <a:cubicBezTo>
                      <a:pt x="23876" y="33168"/>
                      <a:pt x="23085" y="31398"/>
                      <a:pt x="21565" y="30095"/>
                    </a:cubicBezTo>
                    <a:cubicBezTo>
                      <a:pt x="20045" y="28792"/>
                      <a:pt x="18160" y="27681"/>
                      <a:pt x="15910" y="26763"/>
                    </a:cubicBezTo>
                    <a:cubicBezTo>
                      <a:pt x="13660" y="25844"/>
                      <a:pt x="11410" y="24845"/>
                      <a:pt x="9160" y="23763"/>
                    </a:cubicBezTo>
                    <a:cubicBezTo>
                      <a:pt x="6910" y="22682"/>
                      <a:pt x="5025" y="21246"/>
                      <a:pt x="3505" y="19455"/>
                    </a:cubicBezTo>
                    <a:cubicBezTo>
                      <a:pt x="1985" y="17663"/>
                      <a:pt x="1194" y="15243"/>
                      <a:pt x="1134" y="12195"/>
                    </a:cubicBezTo>
                    <a:cubicBezTo>
                      <a:pt x="1165" y="8740"/>
                      <a:pt x="2400" y="5865"/>
                      <a:pt x="4839" y="3571"/>
                    </a:cubicBezTo>
                    <a:cubicBezTo>
                      <a:pt x="7278" y="1278"/>
                      <a:pt x="10731" y="87"/>
                      <a:pt x="1519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D655C6C0-9B4C-1567-83EA-3EB4A5A33B7B}"/>
                  </a:ext>
                </a:extLst>
              </p:cNvPr>
              <p:cNvSpPr txBox="1"/>
              <p:nvPr/>
            </p:nvSpPr>
            <p:spPr>
              <a:xfrm>
                <a:off x="4646060" y="3741001"/>
                <a:ext cx="41130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41130" h="47998">
                    <a:moveTo>
                      <a:pt x="22933" y="0"/>
                    </a:moveTo>
                    <a:cubicBezTo>
                      <a:pt x="26078" y="1"/>
                      <a:pt x="28840" y="381"/>
                      <a:pt x="31219" y="1140"/>
                    </a:cubicBezTo>
                    <a:cubicBezTo>
                      <a:pt x="33597" y="1899"/>
                      <a:pt x="35725" y="3028"/>
                      <a:pt x="37602" y="4527"/>
                    </a:cubicBezTo>
                    <a:lnTo>
                      <a:pt x="35138" y="9061"/>
                    </a:lnTo>
                    <a:cubicBezTo>
                      <a:pt x="33740" y="7826"/>
                      <a:pt x="32033" y="6895"/>
                      <a:pt x="30019" y="6268"/>
                    </a:cubicBezTo>
                    <a:cubicBezTo>
                      <a:pt x="28004" y="5641"/>
                      <a:pt x="25864" y="5327"/>
                      <a:pt x="23600" y="5326"/>
                    </a:cubicBezTo>
                    <a:cubicBezTo>
                      <a:pt x="18314" y="5399"/>
                      <a:pt x="14079" y="7103"/>
                      <a:pt x="10895" y="10437"/>
                    </a:cubicBezTo>
                    <a:cubicBezTo>
                      <a:pt x="7710" y="13771"/>
                      <a:pt x="6076" y="18293"/>
                      <a:pt x="5993" y="24002"/>
                    </a:cubicBezTo>
                    <a:cubicBezTo>
                      <a:pt x="6072" y="29738"/>
                      <a:pt x="7714" y="34266"/>
                      <a:pt x="10920" y="37586"/>
                    </a:cubicBezTo>
                    <a:cubicBezTo>
                      <a:pt x="14125" y="40907"/>
                      <a:pt x="18418" y="42602"/>
                      <a:pt x="23800" y="42672"/>
                    </a:cubicBezTo>
                    <a:cubicBezTo>
                      <a:pt x="26071" y="42650"/>
                      <a:pt x="28314" y="42261"/>
                      <a:pt x="30527" y="41505"/>
                    </a:cubicBezTo>
                    <a:cubicBezTo>
                      <a:pt x="32741" y="40748"/>
                      <a:pt x="34500" y="39759"/>
                      <a:pt x="35805" y="38536"/>
                    </a:cubicBezTo>
                    <a:lnTo>
                      <a:pt x="35805" y="28929"/>
                    </a:lnTo>
                    <a:lnTo>
                      <a:pt x="23199" y="28929"/>
                    </a:lnTo>
                    <a:lnTo>
                      <a:pt x="23199" y="23603"/>
                    </a:lnTo>
                    <a:lnTo>
                      <a:pt x="41130" y="23603"/>
                    </a:lnTo>
                    <a:lnTo>
                      <a:pt x="41130" y="41538"/>
                    </a:lnTo>
                    <a:cubicBezTo>
                      <a:pt x="38960" y="43614"/>
                      <a:pt x="36258" y="45207"/>
                      <a:pt x="33026" y="46316"/>
                    </a:cubicBezTo>
                    <a:cubicBezTo>
                      <a:pt x="29795" y="47426"/>
                      <a:pt x="26675" y="47987"/>
                      <a:pt x="23666" y="47998"/>
                    </a:cubicBezTo>
                    <a:cubicBezTo>
                      <a:pt x="16319" y="47906"/>
                      <a:pt x="10558" y="45724"/>
                      <a:pt x="6381" y="41450"/>
                    </a:cubicBezTo>
                    <a:cubicBezTo>
                      <a:pt x="2204" y="37176"/>
                      <a:pt x="78" y="31361"/>
                      <a:pt x="0" y="24002"/>
                    </a:cubicBezTo>
                    <a:cubicBezTo>
                      <a:pt x="25" y="19485"/>
                      <a:pt x="974" y="15425"/>
                      <a:pt x="2848" y="11821"/>
                    </a:cubicBezTo>
                    <a:cubicBezTo>
                      <a:pt x="4722" y="8217"/>
                      <a:pt x="7370" y="5358"/>
                      <a:pt x="10792" y="3244"/>
                    </a:cubicBezTo>
                    <a:cubicBezTo>
                      <a:pt x="14215" y="1129"/>
                      <a:pt x="18261" y="48"/>
                      <a:pt x="2293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05084C90-CA32-C252-6F68-E76048FF3264}"/>
                  </a:ext>
                </a:extLst>
              </p:cNvPr>
              <p:cNvSpPr txBox="1"/>
              <p:nvPr/>
            </p:nvSpPr>
            <p:spPr>
              <a:xfrm>
                <a:off x="4479416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70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70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7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9DE022A5-FA97-583D-755F-D1613FF8F465}"/>
                  </a:ext>
                </a:extLst>
              </p:cNvPr>
              <p:cNvSpPr txBox="1"/>
              <p:nvPr/>
            </p:nvSpPr>
            <p:spPr>
              <a:xfrm>
                <a:off x="4700872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69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69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8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A9ECD527-B556-D14B-68CA-FC03067964E2}"/>
                  </a:ext>
                </a:extLst>
              </p:cNvPr>
              <p:cNvSpPr txBox="1"/>
              <p:nvPr/>
            </p:nvSpPr>
            <p:spPr>
              <a:xfrm>
                <a:off x="4330639" y="3738620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60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9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913D9F6-9E6C-8EEB-6384-797939E8BFA8}"/>
                  </a:ext>
                </a:extLst>
              </p:cNvPr>
              <p:cNvSpPr txBox="1"/>
              <p:nvPr/>
            </p:nvSpPr>
            <p:spPr>
              <a:xfrm>
                <a:off x="4428271" y="3741001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59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8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B6D78D6D-9776-0FBC-9C21-E83AFC0C7CDC}"/>
                  </a:ext>
                </a:extLst>
              </p:cNvPr>
              <p:cNvSpPr txBox="1"/>
              <p:nvPr/>
            </p:nvSpPr>
            <p:spPr>
              <a:xfrm>
                <a:off x="4220435" y="3738620"/>
                <a:ext cx="37396" cy="47264"/>
              </a:xfrm>
              <a:custGeom>
                <a:avLst/>
                <a:gdLst/>
                <a:ahLst/>
                <a:cxnLst/>
                <a:rect l="l" t="t" r="r" b="b"/>
                <a:pathLst>
                  <a:path w="37396" h="472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25670"/>
                    </a:lnTo>
                    <a:cubicBezTo>
                      <a:pt x="5682" y="30781"/>
                      <a:pt x="6869" y="34760"/>
                      <a:pt x="9219" y="37604"/>
                    </a:cubicBezTo>
                    <a:cubicBezTo>
                      <a:pt x="11568" y="40449"/>
                      <a:pt x="14939" y="41894"/>
                      <a:pt x="19331" y="41938"/>
                    </a:cubicBezTo>
                    <a:cubicBezTo>
                      <a:pt x="23204" y="41940"/>
                      <a:pt x="26230" y="40620"/>
                      <a:pt x="28410" y="37980"/>
                    </a:cubicBezTo>
                    <a:cubicBezTo>
                      <a:pt x="30591" y="35339"/>
                      <a:pt x="31699" y="31369"/>
                      <a:pt x="31737" y="26070"/>
                    </a:cubicBezTo>
                    <a:lnTo>
                      <a:pt x="31737" y="0"/>
                    </a:lnTo>
                    <a:lnTo>
                      <a:pt x="37396" y="0"/>
                    </a:lnTo>
                    <a:lnTo>
                      <a:pt x="37396" y="27203"/>
                    </a:lnTo>
                    <a:cubicBezTo>
                      <a:pt x="37349" y="31943"/>
                      <a:pt x="36495" y="35790"/>
                      <a:pt x="34832" y="38746"/>
                    </a:cubicBezTo>
                    <a:cubicBezTo>
                      <a:pt x="33169" y="41701"/>
                      <a:pt x="30976" y="43864"/>
                      <a:pt x="28254" y="45234"/>
                    </a:cubicBezTo>
                    <a:cubicBezTo>
                      <a:pt x="25531" y="46604"/>
                      <a:pt x="22557" y="47281"/>
                      <a:pt x="19331" y="47264"/>
                    </a:cubicBezTo>
                    <a:cubicBezTo>
                      <a:pt x="13624" y="47263"/>
                      <a:pt x="9001" y="45550"/>
                      <a:pt x="5464" y="42126"/>
                    </a:cubicBezTo>
                    <a:cubicBezTo>
                      <a:pt x="1926" y="38702"/>
                      <a:pt x="105" y="33572"/>
                      <a:pt x="0" y="267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FA6E245B-C4FD-5BFF-603B-C7438A8DD3B4}"/>
                  </a:ext>
                </a:extLst>
              </p:cNvPr>
              <p:cNvSpPr txBox="1"/>
              <p:nvPr/>
            </p:nvSpPr>
            <p:spPr>
              <a:xfrm>
                <a:off x="4278251" y="3738620"/>
                <a:ext cx="5659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5659" h="466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C624671A-B0D0-CD7D-3851-515CD06E809E}"/>
                  </a:ext>
                </a:extLst>
              </p:cNvPr>
              <p:cNvSpPr txBox="1"/>
              <p:nvPr/>
            </p:nvSpPr>
            <p:spPr>
              <a:xfrm>
                <a:off x="4285044" y="3738620"/>
                <a:ext cx="28403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28403" h="46664">
                    <a:moveTo>
                      <a:pt x="20469" y="0"/>
                    </a:moveTo>
                    <a:lnTo>
                      <a:pt x="27337" y="0"/>
                    </a:lnTo>
                    <a:lnTo>
                      <a:pt x="6534" y="21932"/>
                    </a:lnTo>
                    <a:lnTo>
                      <a:pt x="28403" y="46664"/>
                    </a:lnTo>
                    <a:lnTo>
                      <a:pt x="21136" y="46664"/>
                    </a:lnTo>
                    <a:lnTo>
                      <a:pt x="0" y="22332"/>
                    </a:lnTo>
                    <a:lnTo>
                      <a:pt x="2046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9DB02669-A956-32CE-7876-AF12254C01C6}"/>
                  </a:ext>
                </a:extLst>
              </p:cNvPr>
              <p:cNvSpPr txBox="1"/>
              <p:nvPr/>
            </p:nvSpPr>
            <p:spPr>
              <a:xfrm>
                <a:off x="4374312" y="3741001"/>
                <a:ext cx="38330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330" h="46664">
                    <a:moveTo>
                      <a:pt x="0" y="0"/>
                    </a:moveTo>
                    <a:lnTo>
                      <a:pt x="38330" y="0"/>
                    </a:lnTo>
                    <a:lnTo>
                      <a:pt x="38330" y="5325"/>
                    </a:lnTo>
                    <a:lnTo>
                      <a:pt x="21995" y="5325"/>
                    </a:lnTo>
                    <a:lnTo>
                      <a:pt x="21995" y="46664"/>
                    </a:lnTo>
                    <a:lnTo>
                      <a:pt x="16336" y="46664"/>
                    </a:lnTo>
                    <a:lnTo>
                      <a:pt x="16336" y="5325"/>
                    </a:lnTo>
                    <a:lnTo>
                      <a:pt x="0" y="53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42AD9439-D88D-B909-59B3-4C04B0C93D0A}"/>
                  </a:ext>
                </a:extLst>
              </p:cNvPr>
              <p:cNvSpPr txBox="1"/>
              <p:nvPr/>
            </p:nvSpPr>
            <p:spPr>
              <a:xfrm>
                <a:off x="4542571" y="3741001"/>
                <a:ext cx="38997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997" h="46664">
                    <a:moveTo>
                      <a:pt x="0" y="0"/>
                    </a:moveTo>
                    <a:lnTo>
                      <a:pt x="4527" y="0"/>
                    </a:lnTo>
                    <a:lnTo>
                      <a:pt x="33671" y="36798"/>
                    </a:lnTo>
                    <a:lnTo>
                      <a:pt x="33671" y="0"/>
                    </a:lnTo>
                    <a:lnTo>
                      <a:pt x="38997" y="0"/>
                    </a:lnTo>
                    <a:lnTo>
                      <a:pt x="38997" y="46664"/>
                    </a:lnTo>
                    <a:lnTo>
                      <a:pt x="34470" y="46664"/>
                    </a:lnTo>
                    <a:lnTo>
                      <a:pt x="5326" y="9999"/>
                    </a:lnTo>
                    <a:lnTo>
                      <a:pt x="5326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78B55AA6-42F5-EDB3-5579-747E033875CA}"/>
                  </a:ext>
                </a:extLst>
              </p:cNvPr>
              <p:cNvSpPr txBox="1"/>
              <p:nvPr/>
            </p:nvSpPr>
            <p:spPr>
              <a:xfrm>
                <a:off x="4758121" y="3741001"/>
                <a:ext cx="37733" cy="47727"/>
              </a:xfrm>
              <a:custGeom>
                <a:avLst/>
                <a:gdLst/>
                <a:ahLst/>
                <a:cxnLst/>
                <a:rect l="l" t="t" r="r" b="b"/>
                <a:pathLst>
                  <a:path w="37733" h="47727">
                    <a:moveTo>
                      <a:pt x="2767" y="0"/>
                    </a:moveTo>
                    <a:lnTo>
                      <a:pt x="36951" y="0"/>
                    </a:lnTo>
                    <a:lnTo>
                      <a:pt x="36951" y="5632"/>
                    </a:lnTo>
                    <a:lnTo>
                      <a:pt x="10158" y="38742"/>
                    </a:lnTo>
                    <a:lnTo>
                      <a:pt x="7260" y="42095"/>
                    </a:lnTo>
                    <a:lnTo>
                      <a:pt x="37733" y="42095"/>
                    </a:lnTo>
                    <a:lnTo>
                      <a:pt x="37733" y="47727"/>
                    </a:lnTo>
                    <a:lnTo>
                      <a:pt x="0" y="47727"/>
                    </a:lnTo>
                    <a:lnTo>
                      <a:pt x="0" y="41867"/>
                    </a:lnTo>
                    <a:lnTo>
                      <a:pt x="24450" y="11297"/>
                    </a:lnTo>
                    <a:cubicBezTo>
                      <a:pt x="26186" y="9126"/>
                      <a:pt x="27836" y="7238"/>
                      <a:pt x="29398" y="5632"/>
                    </a:cubicBezTo>
                    <a:lnTo>
                      <a:pt x="2767" y="5632"/>
                    </a:lnTo>
                    <a:lnTo>
                      <a:pt x="276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dirty="0"/>
              </a:p>
            </p:txBody>
          </p:sp>
        </p:grpSp>
      </p:grpSp>
      <p:sp>
        <p:nvSpPr>
          <p:cNvPr id="193" name="Полілінія: фігура 192">
            <a:extLst>
              <a:ext uri="{FF2B5EF4-FFF2-40B4-BE49-F238E27FC236}">
                <a16:creationId xmlns:a16="http://schemas.microsoft.com/office/drawing/2014/main" id="{95DF3705-2C38-0D0D-6F01-6EBAD573EC8B}"/>
              </a:ext>
            </a:extLst>
          </p:cNvPr>
          <p:cNvSpPr/>
          <p:nvPr/>
        </p:nvSpPr>
        <p:spPr>
          <a:xfrm>
            <a:off x="3546474" y="220406"/>
            <a:ext cx="5575232" cy="206276"/>
          </a:xfrm>
          <a:custGeom>
            <a:avLst/>
            <a:gdLst/>
            <a:ahLst/>
            <a:cxnLst/>
            <a:rect l="l" t="t" r="r" b="b"/>
            <a:pathLst>
              <a:path w="5575232" h="206276">
                <a:moveTo>
                  <a:pt x="4264420" y="48006"/>
                </a:moveTo>
                <a:lnTo>
                  <a:pt x="4234988" y="119157"/>
                </a:lnTo>
                <a:lnTo>
                  <a:pt x="4293567" y="119157"/>
                </a:lnTo>
                <a:close/>
                <a:moveTo>
                  <a:pt x="2930920" y="48006"/>
                </a:moveTo>
                <a:lnTo>
                  <a:pt x="2901488" y="119157"/>
                </a:lnTo>
                <a:lnTo>
                  <a:pt x="2960067" y="119157"/>
                </a:lnTo>
                <a:close/>
                <a:moveTo>
                  <a:pt x="492520" y="48006"/>
                </a:moveTo>
                <a:lnTo>
                  <a:pt x="463088" y="119157"/>
                </a:lnTo>
                <a:lnTo>
                  <a:pt x="521667" y="119157"/>
                </a:lnTo>
                <a:close/>
                <a:moveTo>
                  <a:pt x="4878778" y="35397"/>
                </a:moveTo>
                <a:cubicBezTo>
                  <a:pt x="4875491" y="35403"/>
                  <a:pt x="4871845" y="35462"/>
                  <a:pt x="4867842" y="35576"/>
                </a:cubicBezTo>
                <a:cubicBezTo>
                  <a:pt x="4863840" y="35689"/>
                  <a:pt x="4859479" y="35820"/>
                  <a:pt x="4854762" y="35969"/>
                </a:cubicBezTo>
                <a:lnTo>
                  <a:pt x="4854762" y="95440"/>
                </a:lnTo>
                <a:lnTo>
                  <a:pt x="4877635" y="95440"/>
                </a:lnTo>
                <a:cubicBezTo>
                  <a:pt x="4888113" y="95440"/>
                  <a:pt x="4897036" y="92867"/>
                  <a:pt x="4904404" y="87720"/>
                </a:cubicBezTo>
                <a:cubicBezTo>
                  <a:pt x="4911772" y="82574"/>
                  <a:pt x="4915620" y="74854"/>
                  <a:pt x="4915948" y="64561"/>
                </a:cubicBezTo>
                <a:cubicBezTo>
                  <a:pt x="4916186" y="56466"/>
                  <a:pt x="4913566" y="49639"/>
                  <a:pt x="4908086" y="44082"/>
                </a:cubicBezTo>
                <a:cubicBezTo>
                  <a:pt x="4902605" y="38524"/>
                  <a:pt x="4892836" y="35629"/>
                  <a:pt x="4878778" y="35397"/>
                </a:cubicBezTo>
                <a:close/>
                <a:moveTo>
                  <a:pt x="4450154" y="35397"/>
                </a:moveTo>
                <a:cubicBezTo>
                  <a:pt x="4446866" y="35403"/>
                  <a:pt x="4443220" y="35462"/>
                  <a:pt x="4439218" y="35576"/>
                </a:cubicBezTo>
                <a:cubicBezTo>
                  <a:pt x="4435215" y="35689"/>
                  <a:pt x="4430855" y="35820"/>
                  <a:pt x="4426137" y="35969"/>
                </a:cubicBezTo>
                <a:lnTo>
                  <a:pt x="4426137" y="95440"/>
                </a:lnTo>
                <a:lnTo>
                  <a:pt x="4449010" y="95440"/>
                </a:lnTo>
                <a:cubicBezTo>
                  <a:pt x="4459488" y="95440"/>
                  <a:pt x="4468411" y="92867"/>
                  <a:pt x="4475779" y="87720"/>
                </a:cubicBezTo>
                <a:cubicBezTo>
                  <a:pt x="4483148" y="82574"/>
                  <a:pt x="4486996" y="74854"/>
                  <a:pt x="4487323" y="64561"/>
                </a:cubicBezTo>
                <a:cubicBezTo>
                  <a:pt x="4487561" y="56466"/>
                  <a:pt x="4484941" y="49639"/>
                  <a:pt x="4479460" y="44082"/>
                </a:cubicBezTo>
                <a:cubicBezTo>
                  <a:pt x="4473980" y="38524"/>
                  <a:pt x="4464212" y="35629"/>
                  <a:pt x="4450154" y="35397"/>
                </a:cubicBezTo>
                <a:close/>
                <a:moveTo>
                  <a:pt x="1059254" y="35397"/>
                </a:moveTo>
                <a:cubicBezTo>
                  <a:pt x="1055966" y="35403"/>
                  <a:pt x="1052320" y="35462"/>
                  <a:pt x="1048318" y="35576"/>
                </a:cubicBezTo>
                <a:cubicBezTo>
                  <a:pt x="1044315" y="35689"/>
                  <a:pt x="1039955" y="35820"/>
                  <a:pt x="1035237" y="35969"/>
                </a:cubicBezTo>
                <a:lnTo>
                  <a:pt x="1035237" y="95440"/>
                </a:lnTo>
                <a:lnTo>
                  <a:pt x="1058110" y="95440"/>
                </a:lnTo>
                <a:cubicBezTo>
                  <a:pt x="1068588" y="95440"/>
                  <a:pt x="1077511" y="92867"/>
                  <a:pt x="1084879" y="87720"/>
                </a:cubicBezTo>
                <a:cubicBezTo>
                  <a:pt x="1092248" y="82574"/>
                  <a:pt x="1096095" y="74854"/>
                  <a:pt x="1096423" y="64561"/>
                </a:cubicBezTo>
                <a:cubicBezTo>
                  <a:pt x="1096661" y="56466"/>
                  <a:pt x="1094040" y="49639"/>
                  <a:pt x="1088560" y="44082"/>
                </a:cubicBezTo>
                <a:cubicBezTo>
                  <a:pt x="1083080" y="38524"/>
                  <a:pt x="1073311" y="35629"/>
                  <a:pt x="1059254" y="35397"/>
                </a:cubicBezTo>
                <a:close/>
                <a:moveTo>
                  <a:pt x="1822686" y="32825"/>
                </a:moveTo>
                <a:cubicBezTo>
                  <a:pt x="1803143" y="33165"/>
                  <a:pt x="1787208" y="39703"/>
                  <a:pt x="1774882" y="52439"/>
                </a:cubicBezTo>
                <a:cubicBezTo>
                  <a:pt x="1762556" y="65176"/>
                  <a:pt x="1756196" y="82076"/>
                  <a:pt x="1755803" y="103137"/>
                </a:cubicBezTo>
                <a:cubicBezTo>
                  <a:pt x="1756250" y="123574"/>
                  <a:pt x="1762716" y="140294"/>
                  <a:pt x="1775203" y="153299"/>
                </a:cubicBezTo>
                <a:cubicBezTo>
                  <a:pt x="1787690" y="166304"/>
                  <a:pt x="1803518" y="173021"/>
                  <a:pt x="1822686" y="173450"/>
                </a:cubicBezTo>
                <a:cubicBezTo>
                  <a:pt x="1843867" y="172985"/>
                  <a:pt x="1860314" y="166197"/>
                  <a:pt x="1872027" y="153085"/>
                </a:cubicBezTo>
                <a:cubicBezTo>
                  <a:pt x="1883740" y="139973"/>
                  <a:pt x="1889683" y="123323"/>
                  <a:pt x="1889855" y="103137"/>
                </a:cubicBezTo>
                <a:cubicBezTo>
                  <a:pt x="1889415" y="82076"/>
                  <a:pt x="1882936" y="65176"/>
                  <a:pt x="1870419" y="52439"/>
                </a:cubicBezTo>
                <a:cubicBezTo>
                  <a:pt x="1857902" y="39703"/>
                  <a:pt x="1841991" y="33165"/>
                  <a:pt x="1822686" y="32825"/>
                </a:cubicBezTo>
                <a:close/>
                <a:moveTo>
                  <a:pt x="5267325" y="3429"/>
                </a:moveTo>
                <a:lnTo>
                  <a:pt x="5302437" y="3429"/>
                </a:lnTo>
                <a:lnTo>
                  <a:pt x="5302437" y="98145"/>
                </a:lnTo>
                <a:lnTo>
                  <a:pt x="5381304" y="3429"/>
                </a:lnTo>
                <a:lnTo>
                  <a:pt x="5423594" y="3429"/>
                </a:lnTo>
                <a:lnTo>
                  <a:pt x="5341299" y="96433"/>
                </a:lnTo>
                <a:lnTo>
                  <a:pt x="5428738" y="203132"/>
                </a:lnTo>
                <a:lnTo>
                  <a:pt x="5384162" y="203132"/>
                </a:lnTo>
                <a:lnTo>
                  <a:pt x="5302437" y="100142"/>
                </a:lnTo>
                <a:lnTo>
                  <a:pt x="5302437" y="203132"/>
                </a:lnTo>
                <a:lnTo>
                  <a:pt x="5267325" y="203132"/>
                </a:lnTo>
                <a:close/>
                <a:moveTo>
                  <a:pt x="5014436" y="3429"/>
                </a:moveTo>
                <a:lnTo>
                  <a:pt x="5049548" y="3429"/>
                </a:lnTo>
                <a:lnTo>
                  <a:pt x="5049548" y="203132"/>
                </a:lnTo>
                <a:lnTo>
                  <a:pt x="5014436" y="203132"/>
                </a:lnTo>
                <a:close/>
                <a:moveTo>
                  <a:pt x="4545712" y="3429"/>
                </a:moveTo>
                <a:lnTo>
                  <a:pt x="4585716" y="3429"/>
                </a:lnTo>
                <a:lnTo>
                  <a:pt x="4635417" y="87018"/>
                </a:lnTo>
                <a:lnTo>
                  <a:pt x="4684550" y="3429"/>
                </a:lnTo>
                <a:lnTo>
                  <a:pt x="4722555" y="3429"/>
                </a:lnTo>
                <a:lnTo>
                  <a:pt x="4651403" y="119827"/>
                </a:lnTo>
                <a:lnTo>
                  <a:pt x="4651403" y="203132"/>
                </a:lnTo>
                <a:lnTo>
                  <a:pt x="4616292" y="203132"/>
                </a:lnTo>
                <a:lnTo>
                  <a:pt x="4616292" y="119827"/>
                </a:lnTo>
                <a:close/>
                <a:moveTo>
                  <a:pt x="4013740" y="3429"/>
                </a:moveTo>
                <a:lnTo>
                  <a:pt x="4178582" y="3429"/>
                </a:lnTo>
                <a:lnTo>
                  <a:pt x="4178582" y="36254"/>
                </a:lnTo>
                <a:lnTo>
                  <a:pt x="4113717" y="36254"/>
                </a:lnTo>
                <a:lnTo>
                  <a:pt x="4113717" y="203132"/>
                </a:lnTo>
                <a:lnTo>
                  <a:pt x="4078605" y="203132"/>
                </a:lnTo>
                <a:lnTo>
                  <a:pt x="4078605" y="36254"/>
                </a:lnTo>
                <a:lnTo>
                  <a:pt x="4013740" y="36254"/>
                </a:lnTo>
                <a:close/>
                <a:moveTo>
                  <a:pt x="3947637" y="3429"/>
                </a:moveTo>
                <a:lnTo>
                  <a:pt x="3982748" y="3429"/>
                </a:lnTo>
                <a:lnTo>
                  <a:pt x="3982748" y="203132"/>
                </a:lnTo>
                <a:lnTo>
                  <a:pt x="3947637" y="203132"/>
                </a:lnTo>
                <a:close/>
                <a:moveTo>
                  <a:pt x="3790951" y="3429"/>
                </a:moveTo>
                <a:lnTo>
                  <a:pt x="3826062" y="3429"/>
                </a:lnTo>
                <a:lnTo>
                  <a:pt x="3826062" y="170307"/>
                </a:lnTo>
                <a:lnTo>
                  <a:pt x="3916073" y="170307"/>
                </a:lnTo>
                <a:lnTo>
                  <a:pt x="3916073" y="203132"/>
                </a:lnTo>
                <a:lnTo>
                  <a:pt x="3790951" y="203132"/>
                </a:lnTo>
                <a:close/>
                <a:moveTo>
                  <a:pt x="3699987" y="3429"/>
                </a:moveTo>
                <a:lnTo>
                  <a:pt x="3735098" y="3429"/>
                </a:lnTo>
                <a:lnTo>
                  <a:pt x="3735098" y="203132"/>
                </a:lnTo>
                <a:lnTo>
                  <a:pt x="3699987" y="203132"/>
                </a:lnTo>
                <a:close/>
                <a:moveTo>
                  <a:pt x="3438525" y="3429"/>
                </a:moveTo>
                <a:lnTo>
                  <a:pt x="3473923" y="3429"/>
                </a:lnTo>
                <a:lnTo>
                  <a:pt x="3542236" y="96718"/>
                </a:lnTo>
                <a:lnTo>
                  <a:pt x="3607402" y="3429"/>
                </a:lnTo>
                <a:lnTo>
                  <a:pt x="3640515" y="3429"/>
                </a:lnTo>
                <a:lnTo>
                  <a:pt x="3640515" y="203132"/>
                </a:lnTo>
                <a:lnTo>
                  <a:pt x="3605689" y="203132"/>
                </a:lnTo>
                <a:lnTo>
                  <a:pt x="3605689" y="58774"/>
                </a:lnTo>
                <a:lnTo>
                  <a:pt x="3542522" y="147500"/>
                </a:lnTo>
                <a:lnTo>
                  <a:pt x="3537376" y="147500"/>
                </a:lnTo>
                <a:lnTo>
                  <a:pt x="3473637" y="59630"/>
                </a:lnTo>
                <a:lnTo>
                  <a:pt x="3473637" y="203132"/>
                </a:lnTo>
                <a:lnTo>
                  <a:pt x="3438525" y="203132"/>
                </a:lnTo>
                <a:close/>
                <a:moveTo>
                  <a:pt x="3209925" y="3429"/>
                </a:moveTo>
                <a:lnTo>
                  <a:pt x="3325618" y="3429"/>
                </a:lnTo>
                <a:lnTo>
                  <a:pt x="3325618" y="36254"/>
                </a:lnTo>
                <a:lnTo>
                  <a:pt x="3245037" y="36254"/>
                </a:lnTo>
                <a:lnTo>
                  <a:pt x="3245037" y="85725"/>
                </a:lnTo>
                <a:lnTo>
                  <a:pt x="3317046" y="85725"/>
                </a:lnTo>
                <a:lnTo>
                  <a:pt x="3317046" y="118550"/>
                </a:lnTo>
                <a:lnTo>
                  <a:pt x="3245037" y="118550"/>
                </a:lnTo>
                <a:lnTo>
                  <a:pt x="3245037" y="170307"/>
                </a:lnTo>
                <a:lnTo>
                  <a:pt x="3328476" y="170307"/>
                </a:lnTo>
                <a:lnTo>
                  <a:pt x="3328476" y="203132"/>
                </a:lnTo>
                <a:lnTo>
                  <a:pt x="3209925" y="203132"/>
                </a:lnTo>
                <a:close/>
                <a:moveTo>
                  <a:pt x="3013615" y="3429"/>
                </a:moveTo>
                <a:lnTo>
                  <a:pt x="3178457" y="3429"/>
                </a:lnTo>
                <a:lnTo>
                  <a:pt x="3178457" y="36254"/>
                </a:lnTo>
                <a:lnTo>
                  <a:pt x="3113592" y="36254"/>
                </a:lnTo>
                <a:lnTo>
                  <a:pt x="3113592" y="203132"/>
                </a:lnTo>
                <a:lnTo>
                  <a:pt x="3078480" y="203132"/>
                </a:lnTo>
                <a:lnTo>
                  <a:pt x="3078480" y="36254"/>
                </a:lnTo>
                <a:lnTo>
                  <a:pt x="3013615" y="36254"/>
                </a:lnTo>
                <a:close/>
                <a:moveTo>
                  <a:pt x="2556987" y="3429"/>
                </a:moveTo>
                <a:lnTo>
                  <a:pt x="2592098" y="3429"/>
                </a:lnTo>
                <a:lnTo>
                  <a:pt x="2592098" y="203132"/>
                </a:lnTo>
                <a:lnTo>
                  <a:pt x="2556987" y="203132"/>
                </a:lnTo>
                <a:close/>
                <a:moveTo>
                  <a:pt x="2356390" y="3429"/>
                </a:moveTo>
                <a:lnTo>
                  <a:pt x="2521232" y="3429"/>
                </a:lnTo>
                <a:lnTo>
                  <a:pt x="2521232" y="36254"/>
                </a:lnTo>
                <a:lnTo>
                  <a:pt x="2456367" y="36254"/>
                </a:lnTo>
                <a:lnTo>
                  <a:pt x="2456367" y="203132"/>
                </a:lnTo>
                <a:lnTo>
                  <a:pt x="2421255" y="203132"/>
                </a:lnTo>
                <a:lnTo>
                  <a:pt x="2421255" y="36254"/>
                </a:lnTo>
                <a:lnTo>
                  <a:pt x="2356390" y="36254"/>
                </a:lnTo>
                <a:close/>
                <a:moveTo>
                  <a:pt x="2290287" y="3429"/>
                </a:moveTo>
                <a:lnTo>
                  <a:pt x="2325398" y="3429"/>
                </a:lnTo>
                <a:lnTo>
                  <a:pt x="2325398" y="203132"/>
                </a:lnTo>
                <a:lnTo>
                  <a:pt x="2290287" y="203132"/>
                </a:lnTo>
                <a:close/>
                <a:moveTo>
                  <a:pt x="2028825" y="3429"/>
                </a:moveTo>
                <a:lnTo>
                  <a:pt x="2064223" y="3429"/>
                </a:lnTo>
                <a:lnTo>
                  <a:pt x="2132536" y="96718"/>
                </a:lnTo>
                <a:lnTo>
                  <a:pt x="2197702" y="3429"/>
                </a:lnTo>
                <a:lnTo>
                  <a:pt x="2230815" y="3429"/>
                </a:lnTo>
                <a:lnTo>
                  <a:pt x="2230815" y="203132"/>
                </a:lnTo>
                <a:lnTo>
                  <a:pt x="2195989" y="203132"/>
                </a:lnTo>
                <a:lnTo>
                  <a:pt x="2195989" y="58774"/>
                </a:lnTo>
                <a:lnTo>
                  <a:pt x="2132822" y="147500"/>
                </a:lnTo>
                <a:lnTo>
                  <a:pt x="2127677" y="147500"/>
                </a:lnTo>
                <a:lnTo>
                  <a:pt x="2063937" y="59630"/>
                </a:lnTo>
                <a:lnTo>
                  <a:pt x="2063937" y="203132"/>
                </a:lnTo>
                <a:lnTo>
                  <a:pt x="2028825" y="203132"/>
                </a:lnTo>
                <a:close/>
                <a:moveTo>
                  <a:pt x="1546765" y="3429"/>
                </a:moveTo>
                <a:lnTo>
                  <a:pt x="1711607" y="3429"/>
                </a:lnTo>
                <a:lnTo>
                  <a:pt x="1711607" y="36254"/>
                </a:lnTo>
                <a:lnTo>
                  <a:pt x="1646742" y="36254"/>
                </a:lnTo>
                <a:lnTo>
                  <a:pt x="1646742" y="203132"/>
                </a:lnTo>
                <a:lnTo>
                  <a:pt x="1611630" y="203132"/>
                </a:lnTo>
                <a:lnTo>
                  <a:pt x="1611630" y="36254"/>
                </a:lnTo>
                <a:lnTo>
                  <a:pt x="1546765" y="36254"/>
                </a:lnTo>
                <a:close/>
                <a:moveTo>
                  <a:pt x="1190625" y="3429"/>
                </a:moveTo>
                <a:lnTo>
                  <a:pt x="1306318" y="3429"/>
                </a:lnTo>
                <a:lnTo>
                  <a:pt x="1306318" y="36254"/>
                </a:lnTo>
                <a:lnTo>
                  <a:pt x="1225737" y="36254"/>
                </a:lnTo>
                <a:lnTo>
                  <a:pt x="1225737" y="85725"/>
                </a:lnTo>
                <a:lnTo>
                  <a:pt x="1297746" y="85725"/>
                </a:lnTo>
                <a:lnTo>
                  <a:pt x="1297746" y="118550"/>
                </a:lnTo>
                <a:lnTo>
                  <a:pt x="1225737" y="118550"/>
                </a:lnTo>
                <a:lnTo>
                  <a:pt x="1225737" y="170307"/>
                </a:lnTo>
                <a:lnTo>
                  <a:pt x="1309176" y="170307"/>
                </a:lnTo>
                <a:lnTo>
                  <a:pt x="1309176" y="203132"/>
                </a:lnTo>
                <a:lnTo>
                  <a:pt x="1190625" y="203132"/>
                </a:lnTo>
                <a:close/>
                <a:moveTo>
                  <a:pt x="778193" y="3429"/>
                </a:moveTo>
                <a:lnTo>
                  <a:pt x="813304" y="3429"/>
                </a:lnTo>
                <a:lnTo>
                  <a:pt x="813304" y="110976"/>
                </a:lnTo>
                <a:cubicBezTo>
                  <a:pt x="813227" y="129928"/>
                  <a:pt x="817241" y="145012"/>
                  <a:pt x="825346" y="156227"/>
                </a:cubicBezTo>
                <a:cubicBezTo>
                  <a:pt x="833451" y="167441"/>
                  <a:pt x="846113" y="173182"/>
                  <a:pt x="863330" y="173450"/>
                </a:cubicBezTo>
                <a:cubicBezTo>
                  <a:pt x="878445" y="173367"/>
                  <a:pt x="889664" y="168184"/>
                  <a:pt x="896989" y="157903"/>
                </a:cubicBezTo>
                <a:cubicBezTo>
                  <a:pt x="904314" y="147621"/>
                  <a:pt x="907959" y="132739"/>
                  <a:pt x="907923" y="113258"/>
                </a:cubicBezTo>
                <a:lnTo>
                  <a:pt x="907923" y="3429"/>
                </a:lnTo>
                <a:lnTo>
                  <a:pt x="942749" y="3429"/>
                </a:lnTo>
                <a:lnTo>
                  <a:pt x="942749" y="120390"/>
                </a:lnTo>
                <a:cubicBezTo>
                  <a:pt x="942547" y="140670"/>
                  <a:pt x="938796" y="157137"/>
                  <a:pt x="931497" y="169791"/>
                </a:cubicBezTo>
                <a:cubicBezTo>
                  <a:pt x="924198" y="182444"/>
                  <a:pt x="914564" y="191706"/>
                  <a:pt x="902596" y="197576"/>
                </a:cubicBezTo>
                <a:cubicBezTo>
                  <a:pt x="890628" y="203446"/>
                  <a:pt x="877539" y="206346"/>
                  <a:pt x="863330" y="206275"/>
                </a:cubicBezTo>
                <a:cubicBezTo>
                  <a:pt x="838021" y="206269"/>
                  <a:pt x="817614" y="198932"/>
                  <a:pt x="802109" y="184265"/>
                </a:cubicBezTo>
                <a:cubicBezTo>
                  <a:pt x="786604" y="169598"/>
                  <a:pt x="778632" y="147641"/>
                  <a:pt x="778193" y="118393"/>
                </a:cubicBezTo>
                <a:close/>
                <a:moveTo>
                  <a:pt x="257175" y="3429"/>
                </a:moveTo>
                <a:lnTo>
                  <a:pt x="372868" y="3429"/>
                </a:lnTo>
                <a:lnTo>
                  <a:pt x="372868" y="36254"/>
                </a:lnTo>
                <a:lnTo>
                  <a:pt x="292287" y="36254"/>
                </a:lnTo>
                <a:lnTo>
                  <a:pt x="292287" y="85725"/>
                </a:lnTo>
                <a:lnTo>
                  <a:pt x="364296" y="85725"/>
                </a:lnTo>
                <a:lnTo>
                  <a:pt x="364296" y="118550"/>
                </a:lnTo>
                <a:lnTo>
                  <a:pt x="292287" y="118550"/>
                </a:lnTo>
                <a:lnTo>
                  <a:pt x="292287" y="170307"/>
                </a:lnTo>
                <a:lnTo>
                  <a:pt x="375726" y="170307"/>
                </a:lnTo>
                <a:lnTo>
                  <a:pt x="375726" y="203132"/>
                </a:lnTo>
                <a:lnTo>
                  <a:pt x="257175" y="203132"/>
                </a:lnTo>
                <a:close/>
                <a:moveTo>
                  <a:pt x="0" y="3429"/>
                </a:moveTo>
                <a:lnTo>
                  <a:pt x="35398" y="3429"/>
                </a:lnTo>
                <a:lnTo>
                  <a:pt x="103711" y="96718"/>
                </a:lnTo>
                <a:lnTo>
                  <a:pt x="168877" y="3429"/>
                </a:lnTo>
                <a:lnTo>
                  <a:pt x="201990" y="3429"/>
                </a:lnTo>
                <a:lnTo>
                  <a:pt x="201990" y="203132"/>
                </a:lnTo>
                <a:lnTo>
                  <a:pt x="167164" y="203132"/>
                </a:lnTo>
                <a:lnTo>
                  <a:pt x="167164" y="58774"/>
                </a:lnTo>
                <a:lnTo>
                  <a:pt x="103997" y="147500"/>
                </a:lnTo>
                <a:lnTo>
                  <a:pt x="98852" y="147500"/>
                </a:lnTo>
                <a:lnTo>
                  <a:pt x="35112" y="59630"/>
                </a:lnTo>
                <a:lnTo>
                  <a:pt x="35112" y="203132"/>
                </a:lnTo>
                <a:lnTo>
                  <a:pt x="0" y="203132"/>
                </a:lnTo>
                <a:close/>
                <a:moveTo>
                  <a:pt x="4880494" y="2571"/>
                </a:moveTo>
                <a:cubicBezTo>
                  <a:pt x="4907396" y="2981"/>
                  <a:pt x="4926314" y="8941"/>
                  <a:pt x="4937244" y="20453"/>
                </a:cubicBezTo>
                <a:cubicBezTo>
                  <a:pt x="4948176" y="31965"/>
                  <a:pt x="4953447" y="46572"/>
                  <a:pt x="4953060" y="64275"/>
                </a:cubicBezTo>
                <a:cubicBezTo>
                  <a:pt x="4952890" y="75674"/>
                  <a:pt x="4950786" y="85272"/>
                  <a:pt x="4946748" y="93067"/>
                </a:cubicBezTo>
                <a:cubicBezTo>
                  <a:pt x="4942708" y="100862"/>
                  <a:pt x="4937750" y="107069"/>
                  <a:pt x="4931870" y="111687"/>
                </a:cubicBezTo>
                <a:cubicBezTo>
                  <a:pt x="4925992" y="116305"/>
                  <a:pt x="4920208" y="119548"/>
                  <a:pt x="4914518" y="121415"/>
                </a:cubicBezTo>
                <a:lnTo>
                  <a:pt x="4977062" y="203132"/>
                </a:lnTo>
                <a:lnTo>
                  <a:pt x="4934504" y="203132"/>
                </a:lnTo>
                <a:lnTo>
                  <a:pt x="4879350" y="128266"/>
                </a:lnTo>
                <a:lnTo>
                  <a:pt x="4854762" y="128266"/>
                </a:lnTo>
                <a:lnTo>
                  <a:pt x="4854762" y="203132"/>
                </a:lnTo>
                <a:lnTo>
                  <a:pt x="4819650" y="203132"/>
                </a:lnTo>
                <a:lnTo>
                  <a:pt x="4819650" y="3142"/>
                </a:lnTo>
                <a:cubicBezTo>
                  <a:pt x="4823800" y="3135"/>
                  <a:pt x="4830284" y="3086"/>
                  <a:pt x="4839102" y="2994"/>
                </a:cubicBezTo>
                <a:cubicBezTo>
                  <a:pt x="4847920" y="2903"/>
                  <a:pt x="4856436" y="2811"/>
                  <a:pt x="4864652" y="2719"/>
                </a:cubicBezTo>
                <a:cubicBezTo>
                  <a:pt x="4872868" y="2628"/>
                  <a:pt x="4878149" y="2578"/>
                  <a:pt x="4880494" y="2571"/>
                </a:cubicBezTo>
                <a:close/>
                <a:moveTo>
                  <a:pt x="4451869" y="2571"/>
                </a:moveTo>
                <a:cubicBezTo>
                  <a:pt x="4478772" y="2981"/>
                  <a:pt x="4497689" y="8941"/>
                  <a:pt x="4508620" y="20453"/>
                </a:cubicBezTo>
                <a:cubicBezTo>
                  <a:pt x="4519551" y="31965"/>
                  <a:pt x="4524823" y="46572"/>
                  <a:pt x="4524435" y="64275"/>
                </a:cubicBezTo>
                <a:cubicBezTo>
                  <a:pt x="4524266" y="75674"/>
                  <a:pt x="4522162" y="85272"/>
                  <a:pt x="4518123" y="93067"/>
                </a:cubicBezTo>
                <a:cubicBezTo>
                  <a:pt x="4514084" y="100862"/>
                  <a:pt x="4509125" y="107069"/>
                  <a:pt x="4503246" y="111687"/>
                </a:cubicBezTo>
                <a:cubicBezTo>
                  <a:pt x="4497367" y="116305"/>
                  <a:pt x="4491583" y="119548"/>
                  <a:pt x="4485893" y="121415"/>
                </a:cubicBezTo>
                <a:lnTo>
                  <a:pt x="4548438" y="203132"/>
                </a:lnTo>
                <a:lnTo>
                  <a:pt x="4505879" y="203132"/>
                </a:lnTo>
                <a:lnTo>
                  <a:pt x="4450726" y="128266"/>
                </a:lnTo>
                <a:lnTo>
                  <a:pt x="4426137" y="128266"/>
                </a:lnTo>
                <a:lnTo>
                  <a:pt x="4426137" y="203132"/>
                </a:lnTo>
                <a:lnTo>
                  <a:pt x="4391026" y="203132"/>
                </a:lnTo>
                <a:lnTo>
                  <a:pt x="4391026" y="3142"/>
                </a:lnTo>
                <a:cubicBezTo>
                  <a:pt x="4395176" y="3135"/>
                  <a:pt x="4401659" y="3086"/>
                  <a:pt x="4410477" y="2994"/>
                </a:cubicBezTo>
                <a:cubicBezTo>
                  <a:pt x="4419295" y="2903"/>
                  <a:pt x="4427812" y="2811"/>
                  <a:pt x="4436028" y="2719"/>
                </a:cubicBezTo>
                <a:cubicBezTo>
                  <a:pt x="4444244" y="2628"/>
                  <a:pt x="4449524" y="2578"/>
                  <a:pt x="4451869" y="2571"/>
                </a:cubicBezTo>
                <a:close/>
                <a:moveTo>
                  <a:pt x="4249847" y="2571"/>
                </a:moveTo>
                <a:lnTo>
                  <a:pt x="4280708" y="2571"/>
                </a:lnTo>
                <a:lnTo>
                  <a:pt x="4365290" y="203132"/>
                </a:lnTo>
                <a:lnTo>
                  <a:pt x="4327857" y="203132"/>
                </a:lnTo>
                <a:lnTo>
                  <a:pt x="4306997" y="151983"/>
                </a:lnTo>
                <a:lnTo>
                  <a:pt x="4221558" y="151983"/>
                </a:lnTo>
                <a:lnTo>
                  <a:pt x="4200698" y="203132"/>
                </a:lnTo>
                <a:lnTo>
                  <a:pt x="4165265" y="203132"/>
                </a:lnTo>
                <a:close/>
                <a:moveTo>
                  <a:pt x="2916347" y="2571"/>
                </a:moveTo>
                <a:lnTo>
                  <a:pt x="2947208" y="2571"/>
                </a:lnTo>
                <a:lnTo>
                  <a:pt x="3031790" y="203132"/>
                </a:lnTo>
                <a:lnTo>
                  <a:pt x="2994357" y="203132"/>
                </a:lnTo>
                <a:lnTo>
                  <a:pt x="2973497" y="151983"/>
                </a:lnTo>
                <a:lnTo>
                  <a:pt x="2888058" y="151983"/>
                </a:lnTo>
                <a:lnTo>
                  <a:pt x="2867198" y="203132"/>
                </a:lnTo>
                <a:lnTo>
                  <a:pt x="2831765" y="203132"/>
                </a:lnTo>
                <a:close/>
                <a:moveTo>
                  <a:pt x="1060969" y="2571"/>
                </a:moveTo>
                <a:cubicBezTo>
                  <a:pt x="1087872" y="2981"/>
                  <a:pt x="1106789" y="8941"/>
                  <a:pt x="1117720" y="20453"/>
                </a:cubicBezTo>
                <a:cubicBezTo>
                  <a:pt x="1128651" y="31965"/>
                  <a:pt x="1133923" y="46572"/>
                  <a:pt x="1133535" y="64275"/>
                </a:cubicBezTo>
                <a:cubicBezTo>
                  <a:pt x="1133366" y="75674"/>
                  <a:pt x="1131262" y="85272"/>
                  <a:pt x="1127223" y="93067"/>
                </a:cubicBezTo>
                <a:cubicBezTo>
                  <a:pt x="1123184" y="100862"/>
                  <a:pt x="1118225" y="107069"/>
                  <a:pt x="1112346" y="111687"/>
                </a:cubicBezTo>
                <a:cubicBezTo>
                  <a:pt x="1106467" y="116305"/>
                  <a:pt x="1100682" y="119548"/>
                  <a:pt x="1094993" y="121415"/>
                </a:cubicBezTo>
                <a:lnTo>
                  <a:pt x="1157538" y="203132"/>
                </a:lnTo>
                <a:lnTo>
                  <a:pt x="1114979" y="203132"/>
                </a:lnTo>
                <a:lnTo>
                  <a:pt x="1059826" y="128266"/>
                </a:lnTo>
                <a:lnTo>
                  <a:pt x="1035237" y="128266"/>
                </a:lnTo>
                <a:lnTo>
                  <a:pt x="1035237" y="203132"/>
                </a:lnTo>
                <a:lnTo>
                  <a:pt x="1000125" y="203132"/>
                </a:lnTo>
                <a:lnTo>
                  <a:pt x="1000125" y="3142"/>
                </a:lnTo>
                <a:cubicBezTo>
                  <a:pt x="1004275" y="3135"/>
                  <a:pt x="1010759" y="3086"/>
                  <a:pt x="1019577" y="2994"/>
                </a:cubicBezTo>
                <a:cubicBezTo>
                  <a:pt x="1028395" y="2903"/>
                  <a:pt x="1036911" y="2811"/>
                  <a:pt x="1045128" y="2719"/>
                </a:cubicBezTo>
                <a:cubicBezTo>
                  <a:pt x="1053344" y="2628"/>
                  <a:pt x="1058624" y="2578"/>
                  <a:pt x="1060969" y="2571"/>
                </a:cubicBezTo>
                <a:close/>
                <a:moveTo>
                  <a:pt x="477947" y="2571"/>
                </a:moveTo>
                <a:lnTo>
                  <a:pt x="508808" y="2571"/>
                </a:lnTo>
                <a:lnTo>
                  <a:pt x="593390" y="203132"/>
                </a:lnTo>
                <a:lnTo>
                  <a:pt x="555957" y="203132"/>
                </a:lnTo>
                <a:lnTo>
                  <a:pt x="535097" y="151983"/>
                </a:lnTo>
                <a:lnTo>
                  <a:pt x="449658" y="151983"/>
                </a:lnTo>
                <a:lnTo>
                  <a:pt x="428798" y="203132"/>
                </a:lnTo>
                <a:lnTo>
                  <a:pt x="393365" y="203132"/>
                </a:lnTo>
                <a:close/>
                <a:moveTo>
                  <a:pt x="5509812" y="0"/>
                </a:moveTo>
                <a:cubicBezTo>
                  <a:pt x="5522202" y="71"/>
                  <a:pt x="5533302" y="1998"/>
                  <a:pt x="5543109" y="5780"/>
                </a:cubicBezTo>
                <a:cubicBezTo>
                  <a:pt x="5552916" y="9562"/>
                  <a:pt x="5560864" y="14771"/>
                  <a:pt x="5566954" y="21408"/>
                </a:cubicBezTo>
                <a:lnTo>
                  <a:pt x="5548112" y="47687"/>
                </a:lnTo>
                <a:cubicBezTo>
                  <a:pt x="5543390" y="42941"/>
                  <a:pt x="5538272" y="39285"/>
                  <a:pt x="5532758" y="36719"/>
                </a:cubicBezTo>
                <a:cubicBezTo>
                  <a:pt x="5527243" y="34153"/>
                  <a:pt x="5520548" y="32855"/>
                  <a:pt x="5512672" y="32825"/>
                </a:cubicBezTo>
                <a:cubicBezTo>
                  <a:pt x="5503874" y="32920"/>
                  <a:pt x="5497024" y="34945"/>
                  <a:pt x="5492120" y="38899"/>
                </a:cubicBezTo>
                <a:cubicBezTo>
                  <a:pt x="5487218" y="42852"/>
                  <a:pt x="5484728" y="48164"/>
                  <a:pt x="5484650" y="54833"/>
                </a:cubicBezTo>
                <a:cubicBezTo>
                  <a:pt x="5485122" y="64844"/>
                  <a:pt x="5489840" y="72493"/>
                  <a:pt x="5498804" y="77779"/>
                </a:cubicBezTo>
                <a:cubicBezTo>
                  <a:pt x="5507768" y="83065"/>
                  <a:pt x="5518147" y="88088"/>
                  <a:pt x="5529942" y="92847"/>
                </a:cubicBezTo>
                <a:cubicBezTo>
                  <a:pt x="5541736" y="97607"/>
                  <a:pt x="5552116" y="104202"/>
                  <a:pt x="5561080" y="112632"/>
                </a:cubicBezTo>
                <a:cubicBezTo>
                  <a:pt x="5570042" y="121062"/>
                  <a:pt x="5574761" y="133427"/>
                  <a:pt x="5575232" y="149726"/>
                </a:cubicBezTo>
                <a:cubicBezTo>
                  <a:pt x="5574788" y="166832"/>
                  <a:pt x="5568326" y="180471"/>
                  <a:pt x="5555850" y="190644"/>
                </a:cubicBezTo>
                <a:cubicBezTo>
                  <a:pt x="5543374" y="200816"/>
                  <a:pt x="5527551" y="206026"/>
                  <a:pt x="5508384" y="206275"/>
                </a:cubicBezTo>
                <a:cubicBezTo>
                  <a:pt x="5499654" y="206263"/>
                  <a:pt x="5490908" y="205051"/>
                  <a:pt x="5482144" y="202639"/>
                </a:cubicBezTo>
                <a:cubicBezTo>
                  <a:pt x="5473381" y="200227"/>
                  <a:pt x="5465508" y="196688"/>
                  <a:pt x="5458524" y="192025"/>
                </a:cubicBezTo>
                <a:cubicBezTo>
                  <a:pt x="5451540" y="187361"/>
                  <a:pt x="5446354" y="181645"/>
                  <a:pt x="5442966" y="174877"/>
                </a:cubicBezTo>
                <a:lnTo>
                  <a:pt x="5462954" y="150870"/>
                </a:lnTo>
                <a:cubicBezTo>
                  <a:pt x="5469026" y="158438"/>
                  <a:pt x="5476226" y="164095"/>
                  <a:pt x="5484554" y="167841"/>
                </a:cubicBezTo>
                <a:cubicBezTo>
                  <a:pt x="5492880" y="171586"/>
                  <a:pt x="5501014" y="173456"/>
                  <a:pt x="5508955" y="173450"/>
                </a:cubicBezTo>
                <a:cubicBezTo>
                  <a:pt x="5517426" y="173420"/>
                  <a:pt x="5524360" y="171407"/>
                  <a:pt x="5529758" y="167412"/>
                </a:cubicBezTo>
                <a:cubicBezTo>
                  <a:pt x="5535154" y="163416"/>
                  <a:pt x="5537942" y="157616"/>
                  <a:pt x="5538121" y="150012"/>
                </a:cubicBezTo>
                <a:cubicBezTo>
                  <a:pt x="5537650" y="140474"/>
                  <a:pt x="5532931" y="133040"/>
                  <a:pt x="5523968" y="127709"/>
                </a:cubicBezTo>
                <a:cubicBezTo>
                  <a:pt x="5515004" y="122378"/>
                  <a:pt x="5504624" y="117212"/>
                  <a:pt x="5492830" y="112212"/>
                </a:cubicBezTo>
                <a:cubicBezTo>
                  <a:pt x="5481036" y="107212"/>
                  <a:pt x="5470656" y="100438"/>
                  <a:pt x="5461692" y="91892"/>
                </a:cubicBezTo>
                <a:cubicBezTo>
                  <a:pt x="5452728" y="83345"/>
                  <a:pt x="5448010" y="71088"/>
                  <a:pt x="5447538" y="55119"/>
                </a:cubicBezTo>
                <a:cubicBezTo>
                  <a:pt x="5447704" y="39697"/>
                  <a:pt x="5453225" y="26760"/>
                  <a:pt x="5464101" y="16309"/>
                </a:cubicBezTo>
                <a:cubicBezTo>
                  <a:pt x="5474977" y="5858"/>
                  <a:pt x="5490214" y="421"/>
                  <a:pt x="5509812" y="0"/>
                </a:cubicBezTo>
                <a:close/>
                <a:moveTo>
                  <a:pt x="5157388" y="0"/>
                </a:moveTo>
                <a:cubicBezTo>
                  <a:pt x="5169778" y="71"/>
                  <a:pt x="5180876" y="1998"/>
                  <a:pt x="5190684" y="5780"/>
                </a:cubicBezTo>
                <a:cubicBezTo>
                  <a:pt x="5200492" y="9562"/>
                  <a:pt x="5208440" y="14771"/>
                  <a:pt x="5214529" y="21408"/>
                </a:cubicBezTo>
                <a:lnTo>
                  <a:pt x="5195688" y="47687"/>
                </a:lnTo>
                <a:cubicBezTo>
                  <a:pt x="5190966" y="42941"/>
                  <a:pt x="5185847" y="39285"/>
                  <a:pt x="5180332" y="36719"/>
                </a:cubicBezTo>
                <a:cubicBezTo>
                  <a:pt x="5174818" y="34153"/>
                  <a:pt x="5168122" y="32855"/>
                  <a:pt x="5160248" y="32825"/>
                </a:cubicBezTo>
                <a:cubicBezTo>
                  <a:pt x="5151448" y="32920"/>
                  <a:pt x="5144598" y="34945"/>
                  <a:pt x="5139695" y="38899"/>
                </a:cubicBezTo>
                <a:cubicBezTo>
                  <a:pt x="5134792" y="42852"/>
                  <a:pt x="5132302" y="48164"/>
                  <a:pt x="5132224" y="54833"/>
                </a:cubicBezTo>
                <a:cubicBezTo>
                  <a:pt x="5132696" y="64844"/>
                  <a:pt x="5137414" y="72493"/>
                  <a:pt x="5146378" y="77779"/>
                </a:cubicBezTo>
                <a:cubicBezTo>
                  <a:pt x="5155342" y="83065"/>
                  <a:pt x="5165722" y="88088"/>
                  <a:pt x="5177516" y="92847"/>
                </a:cubicBezTo>
                <a:cubicBezTo>
                  <a:pt x="5189312" y="97607"/>
                  <a:pt x="5199690" y="104202"/>
                  <a:pt x="5208654" y="112632"/>
                </a:cubicBezTo>
                <a:cubicBezTo>
                  <a:pt x="5217618" y="121062"/>
                  <a:pt x="5222336" y="133427"/>
                  <a:pt x="5222808" y="149726"/>
                </a:cubicBezTo>
                <a:cubicBezTo>
                  <a:pt x="5222363" y="166832"/>
                  <a:pt x="5215902" y="180471"/>
                  <a:pt x="5203425" y="190644"/>
                </a:cubicBezTo>
                <a:cubicBezTo>
                  <a:pt x="5190948" y="200816"/>
                  <a:pt x="5175126" y="206026"/>
                  <a:pt x="5155958" y="206275"/>
                </a:cubicBezTo>
                <a:cubicBezTo>
                  <a:pt x="5147230" y="206263"/>
                  <a:pt x="5138484" y="205051"/>
                  <a:pt x="5129720" y="202639"/>
                </a:cubicBezTo>
                <a:cubicBezTo>
                  <a:pt x="5120956" y="200227"/>
                  <a:pt x="5113082" y="196688"/>
                  <a:pt x="5106099" y="192025"/>
                </a:cubicBezTo>
                <a:cubicBezTo>
                  <a:pt x="5099115" y="187361"/>
                  <a:pt x="5093930" y="181645"/>
                  <a:pt x="5090541" y="174877"/>
                </a:cubicBezTo>
                <a:lnTo>
                  <a:pt x="5110529" y="150870"/>
                </a:lnTo>
                <a:cubicBezTo>
                  <a:pt x="5116601" y="158438"/>
                  <a:pt x="5123802" y="164095"/>
                  <a:pt x="5132128" y="167841"/>
                </a:cubicBezTo>
                <a:cubicBezTo>
                  <a:pt x="5140456" y="171586"/>
                  <a:pt x="5148590" y="173456"/>
                  <a:pt x="5156530" y="173450"/>
                </a:cubicBezTo>
                <a:cubicBezTo>
                  <a:pt x="5165001" y="173420"/>
                  <a:pt x="5171935" y="171407"/>
                  <a:pt x="5177332" y="167412"/>
                </a:cubicBezTo>
                <a:cubicBezTo>
                  <a:pt x="5182730" y="163416"/>
                  <a:pt x="5185518" y="157616"/>
                  <a:pt x="5185696" y="150012"/>
                </a:cubicBezTo>
                <a:cubicBezTo>
                  <a:pt x="5185224" y="140474"/>
                  <a:pt x="5180506" y="133040"/>
                  <a:pt x="5171542" y="127709"/>
                </a:cubicBezTo>
                <a:cubicBezTo>
                  <a:pt x="5162578" y="122378"/>
                  <a:pt x="5152200" y="117212"/>
                  <a:pt x="5140404" y="112212"/>
                </a:cubicBezTo>
                <a:cubicBezTo>
                  <a:pt x="5128610" y="107212"/>
                  <a:pt x="5118230" y="100438"/>
                  <a:pt x="5109267" y="91892"/>
                </a:cubicBezTo>
                <a:cubicBezTo>
                  <a:pt x="5100303" y="83345"/>
                  <a:pt x="5095585" y="71088"/>
                  <a:pt x="5095113" y="55119"/>
                </a:cubicBezTo>
                <a:cubicBezTo>
                  <a:pt x="5095278" y="39697"/>
                  <a:pt x="5100800" y="26760"/>
                  <a:pt x="5111676" y="16309"/>
                </a:cubicBezTo>
                <a:cubicBezTo>
                  <a:pt x="5122552" y="5858"/>
                  <a:pt x="5137790" y="421"/>
                  <a:pt x="5157388" y="0"/>
                </a:cubicBezTo>
                <a:close/>
                <a:moveTo>
                  <a:pt x="2732803" y="0"/>
                </a:moveTo>
                <a:cubicBezTo>
                  <a:pt x="2746970" y="41"/>
                  <a:pt x="2759224" y="1813"/>
                  <a:pt x="2769565" y="5316"/>
                </a:cubicBezTo>
                <a:cubicBezTo>
                  <a:pt x="2779906" y="8818"/>
                  <a:pt x="2789082" y="13802"/>
                  <a:pt x="2797093" y="20266"/>
                </a:cubicBezTo>
                <a:lnTo>
                  <a:pt x="2782250" y="48265"/>
                </a:lnTo>
                <a:cubicBezTo>
                  <a:pt x="2777082" y="43494"/>
                  <a:pt x="2770485" y="39741"/>
                  <a:pt x="2762458" y="37007"/>
                </a:cubicBezTo>
                <a:cubicBezTo>
                  <a:pt x="2754431" y="34273"/>
                  <a:pt x="2745975" y="32879"/>
                  <a:pt x="2737090" y="32825"/>
                </a:cubicBezTo>
                <a:cubicBezTo>
                  <a:pt x="2717421" y="32968"/>
                  <a:pt x="2701449" y="39115"/>
                  <a:pt x="2689176" y="51265"/>
                </a:cubicBezTo>
                <a:cubicBezTo>
                  <a:pt x="2676903" y="63415"/>
                  <a:pt x="2670578" y="80709"/>
                  <a:pt x="2670203" y="103147"/>
                </a:cubicBezTo>
                <a:cubicBezTo>
                  <a:pt x="2670489" y="124698"/>
                  <a:pt x="2676706" y="141735"/>
                  <a:pt x="2688854" y="154260"/>
                </a:cubicBezTo>
                <a:cubicBezTo>
                  <a:pt x="2701003" y="166784"/>
                  <a:pt x="2717367" y="173181"/>
                  <a:pt x="2737947" y="173450"/>
                </a:cubicBezTo>
                <a:cubicBezTo>
                  <a:pt x="2745963" y="173325"/>
                  <a:pt x="2753871" y="171931"/>
                  <a:pt x="2761672" y="169267"/>
                </a:cubicBezTo>
                <a:cubicBezTo>
                  <a:pt x="2769474" y="166604"/>
                  <a:pt x="2775381" y="163423"/>
                  <a:pt x="2779395" y="159723"/>
                </a:cubicBezTo>
                <a:lnTo>
                  <a:pt x="2779395" y="128266"/>
                </a:lnTo>
                <a:lnTo>
                  <a:pt x="2731088" y="128266"/>
                </a:lnTo>
                <a:lnTo>
                  <a:pt x="2731088" y="95440"/>
                </a:lnTo>
                <a:lnTo>
                  <a:pt x="2812221" y="95440"/>
                </a:lnTo>
                <a:lnTo>
                  <a:pt x="2812221" y="178302"/>
                </a:lnTo>
                <a:cubicBezTo>
                  <a:pt x="2802914" y="187210"/>
                  <a:pt x="2791336" y="194085"/>
                  <a:pt x="2777488" y="198925"/>
                </a:cubicBezTo>
                <a:cubicBezTo>
                  <a:pt x="2763639" y="203766"/>
                  <a:pt x="2750268" y="206216"/>
                  <a:pt x="2737376" y="206275"/>
                </a:cubicBezTo>
                <a:cubicBezTo>
                  <a:pt x="2704393" y="205872"/>
                  <a:pt x="2678830" y="196471"/>
                  <a:pt x="2660687" y="178072"/>
                </a:cubicBezTo>
                <a:cubicBezTo>
                  <a:pt x="2642544" y="159673"/>
                  <a:pt x="2633345" y="134698"/>
                  <a:pt x="2633092" y="103147"/>
                </a:cubicBezTo>
                <a:cubicBezTo>
                  <a:pt x="2633190" y="83786"/>
                  <a:pt x="2637276" y="66360"/>
                  <a:pt x="2645349" y="50869"/>
                </a:cubicBezTo>
                <a:cubicBezTo>
                  <a:pt x="2653423" y="35379"/>
                  <a:pt x="2664895" y="23080"/>
                  <a:pt x="2679765" y="13974"/>
                </a:cubicBezTo>
                <a:cubicBezTo>
                  <a:pt x="2694635" y="4867"/>
                  <a:pt x="2712314" y="209"/>
                  <a:pt x="2732803" y="0"/>
                </a:cubicBezTo>
                <a:close/>
                <a:moveTo>
                  <a:pt x="1822686" y="0"/>
                </a:moveTo>
                <a:cubicBezTo>
                  <a:pt x="1842690" y="119"/>
                  <a:pt x="1860509" y="4417"/>
                  <a:pt x="1876145" y="12892"/>
                </a:cubicBezTo>
                <a:cubicBezTo>
                  <a:pt x="1891780" y="21368"/>
                  <a:pt x="1904113" y="33306"/>
                  <a:pt x="1913143" y="48705"/>
                </a:cubicBezTo>
                <a:cubicBezTo>
                  <a:pt x="1922173" y="64104"/>
                  <a:pt x="1926781" y="82248"/>
                  <a:pt x="1926967" y="103137"/>
                </a:cubicBezTo>
                <a:cubicBezTo>
                  <a:pt x="1926781" y="123307"/>
                  <a:pt x="1922173" y="141112"/>
                  <a:pt x="1913143" y="156554"/>
                </a:cubicBezTo>
                <a:cubicBezTo>
                  <a:pt x="1904113" y="171995"/>
                  <a:pt x="1891780" y="184102"/>
                  <a:pt x="1876145" y="192874"/>
                </a:cubicBezTo>
                <a:cubicBezTo>
                  <a:pt x="1860509" y="201647"/>
                  <a:pt x="1842690" y="206114"/>
                  <a:pt x="1822686" y="206275"/>
                </a:cubicBezTo>
                <a:cubicBezTo>
                  <a:pt x="1802686" y="206156"/>
                  <a:pt x="1784891" y="201858"/>
                  <a:pt x="1769302" y="193382"/>
                </a:cubicBezTo>
                <a:cubicBezTo>
                  <a:pt x="1753712" y="184907"/>
                  <a:pt x="1741425" y="172969"/>
                  <a:pt x="1732442" y="157570"/>
                </a:cubicBezTo>
                <a:cubicBezTo>
                  <a:pt x="1723458" y="142171"/>
                  <a:pt x="1718874" y="124026"/>
                  <a:pt x="1718691" y="103137"/>
                </a:cubicBezTo>
                <a:cubicBezTo>
                  <a:pt x="1718837" y="83598"/>
                  <a:pt x="1723272" y="66089"/>
                  <a:pt x="1731997" y="50610"/>
                </a:cubicBezTo>
                <a:cubicBezTo>
                  <a:pt x="1740721" y="35132"/>
                  <a:pt x="1752860" y="22877"/>
                  <a:pt x="1768412" y="13845"/>
                </a:cubicBezTo>
                <a:cubicBezTo>
                  <a:pt x="1783965" y="4814"/>
                  <a:pt x="1802056" y="198"/>
                  <a:pt x="1822686" y="0"/>
                </a:cubicBezTo>
                <a:close/>
                <a:moveTo>
                  <a:pt x="1404538" y="0"/>
                </a:moveTo>
                <a:cubicBezTo>
                  <a:pt x="1416928" y="71"/>
                  <a:pt x="1428027" y="1998"/>
                  <a:pt x="1437834" y="5780"/>
                </a:cubicBezTo>
                <a:cubicBezTo>
                  <a:pt x="1447641" y="9562"/>
                  <a:pt x="1455590" y="14771"/>
                  <a:pt x="1461679" y="21408"/>
                </a:cubicBezTo>
                <a:lnTo>
                  <a:pt x="1442838" y="47687"/>
                </a:lnTo>
                <a:cubicBezTo>
                  <a:pt x="1438115" y="42941"/>
                  <a:pt x="1432997" y="39285"/>
                  <a:pt x="1427483" y="36719"/>
                </a:cubicBezTo>
                <a:cubicBezTo>
                  <a:pt x="1421968" y="34153"/>
                  <a:pt x="1415273" y="32855"/>
                  <a:pt x="1407397" y="32825"/>
                </a:cubicBezTo>
                <a:cubicBezTo>
                  <a:pt x="1398599" y="32920"/>
                  <a:pt x="1391748" y="34945"/>
                  <a:pt x="1386845" y="38899"/>
                </a:cubicBezTo>
                <a:cubicBezTo>
                  <a:pt x="1381943" y="42852"/>
                  <a:pt x="1379453" y="48164"/>
                  <a:pt x="1379375" y="54833"/>
                </a:cubicBezTo>
                <a:cubicBezTo>
                  <a:pt x="1379847" y="64844"/>
                  <a:pt x="1384565" y="72493"/>
                  <a:pt x="1393529" y="77779"/>
                </a:cubicBezTo>
                <a:cubicBezTo>
                  <a:pt x="1402492" y="83065"/>
                  <a:pt x="1412872" y="88088"/>
                  <a:pt x="1424667" y="92847"/>
                </a:cubicBezTo>
                <a:cubicBezTo>
                  <a:pt x="1436461" y="97607"/>
                  <a:pt x="1446840" y="104202"/>
                  <a:pt x="1455804" y="112632"/>
                </a:cubicBezTo>
                <a:cubicBezTo>
                  <a:pt x="1464768" y="121062"/>
                  <a:pt x="1469486" y="133427"/>
                  <a:pt x="1469958" y="149726"/>
                </a:cubicBezTo>
                <a:cubicBezTo>
                  <a:pt x="1469513" y="166832"/>
                  <a:pt x="1463052" y="180471"/>
                  <a:pt x="1450575" y="190644"/>
                </a:cubicBezTo>
                <a:cubicBezTo>
                  <a:pt x="1438099" y="200816"/>
                  <a:pt x="1422276" y="206026"/>
                  <a:pt x="1403108" y="206275"/>
                </a:cubicBezTo>
                <a:cubicBezTo>
                  <a:pt x="1394380" y="206263"/>
                  <a:pt x="1385634" y="205051"/>
                  <a:pt x="1376870" y="202639"/>
                </a:cubicBezTo>
                <a:cubicBezTo>
                  <a:pt x="1368106" y="200227"/>
                  <a:pt x="1360233" y="196688"/>
                  <a:pt x="1353249" y="192025"/>
                </a:cubicBezTo>
                <a:cubicBezTo>
                  <a:pt x="1346266" y="187361"/>
                  <a:pt x="1341080" y="181645"/>
                  <a:pt x="1337691" y="174877"/>
                </a:cubicBezTo>
                <a:lnTo>
                  <a:pt x="1357679" y="150870"/>
                </a:lnTo>
                <a:cubicBezTo>
                  <a:pt x="1363752" y="158438"/>
                  <a:pt x="1370951" y="164095"/>
                  <a:pt x="1379278" y="167841"/>
                </a:cubicBezTo>
                <a:cubicBezTo>
                  <a:pt x="1387606" y="171586"/>
                  <a:pt x="1395740" y="173456"/>
                  <a:pt x="1403680" y="173450"/>
                </a:cubicBezTo>
                <a:cubicBezTo>
                  <a:pt x="1412151" y="173420"/>
                  <a:pt x="1419085" y="171407"/>
                  <a:pt x="1424482" y="167412"/>
                </a:cubicBezTo>
                <a:cubicBezTo>
                  <a:pt x="1429879" y="163416"/>
                  <a:pt x="1432667" y="157616"/>
                  <a:pt x="1432846" y="150012"/>
                </a:cubicBezTo>
                <a:cubicBezTo>
                  <a:pt x="1432374" y="140474"/>
                  <a:pt x="1427656" y="133040"/>
                  <a:pt x="1418692" y="127709"/>
                </a:cubicBezTo>
                <a:cubicBezTo>
                  <a:pt x="1409729" y="122378"/>
                  <a:pt x="1399349" y="117212"/>
                  <a:pt x="1387555" y="112212"/>
                </a:cubicBezTo>
                <a:cubicBezTo>
                  <a:pt x="1375760" y="107212"/>
                  <a:pt x="1365381" y="100438"/>
                  <a:pt x="1356417" y="91892"/>
                </a:cubicBezTo>
                <a:cubicBezTo>
                  <a:pt x="1347453" y="83345"/>
                  <a:pt x="1342735" y="71088"/>
                  <a:pt x="1342263" y="55119"/>
                </a:cubicBezTo>
                <a:cubicBezTo>
                  <a:pt x="1342429" y="39697"/>
                  <a:pt x="1347950" y="26760"/>
                  <a:pt x="1358826" y="16309"/>
                </a:cubicBezTo>
                <a:cubicBezTo>
                  <a:pt x="1369702" y="5858"/>
                  <a:pt x="1384939" y="421"/>
                  <a:pt x="1404538" y="0"/>
                </a:cubicBezTo>
                <a:close/>
                <a:moveTo>
                  <a:pt x="671113" y="0"/>
                </a:moveTo>
                <a:cubicBezTo>
                  <a:pt x="683503" y="71"/>
                  <a:pt x="694602" y="1998"/>
                  <a:pt x="704409" y="5780"/>
                </a:cubicBezTo>
                <a:cubicBezTo>
                  <a:pt x="714216" y="9562"/>
                  <a:pt x="722165" y="14771"/>
                  <a:pt x="728254" y="21408"/>
                </a:cubicBezTo>
                <a:lnTo>
                  <a:pt x="709413" y="47687"/>
                </a:lnTo>
                <a:cubicBezTo>
                  <a:pt x="704690" y="42941"/>
                  <a:pt x="699572" y="39285"/>
                  <a:pt x="694058" y="36719"/>
                </a:cubicBezTo>
                <a:cubicBezTo>
                  <a:pt x="688543" y="34153"/>
                  <a:pt x="681848" y="32855"/>
                  <a:pt x="673972" y="32825"/>
                </a:cubicBezTo>
                <a:cubicBezTo>
                  <a:pt x="665174" y="32920"/>
                  <a:pt x="658323" y="34945"/>
                  <a:pt x="653420" y="38899"/>
                </a:cubicBezTo>
                <a:cubicBezTo>
                  <a:pt x="648518" y="42852"/>
                  <a:pt x="646028" y="48164"/>
                  <a:pt x="645950" y="54833"/>
                </a:cubicBezTo>
                <a:cubicBezTo>
                  <a:pt x="646422" y="64844"/>
                  <a:pt x="651140" y="72493"/>
                  <a:pt x="660104" y="77779"/>
                </a:cubicBezTo>
                <a:cubicBezTo>
                  <a:pt x="669068" y="83065"/>
                  <a:pt x="679447" y="88088"/>
                  <a:pt x="691242" y="92847"/>
                </a:cubicBezTo>
                <a:cubicBezTo>
                  <a:pt x="703036" y="97607"/>
                  <a:pt x="713415" y="104202"/>
                  <a:pt x="722379" y="112632"/>
                </a:cubicBezTo>
                <a:cubicBezTo>
                  <a:pt x="731343" y="121062"/>
                  <a:pt x="736061" y="133427"/>
                  <a:pt x="736533" y="149726"/>
                </a:cubicBezTo>
                <a:cubicBezTo>
                  <a:pt x="736088" y="166832"/>
                  <a:pt x="729627" y="180471"/>
                  <a:pt x="717150" y="190644"/>
                </a:cubicBezTo>
                <a:cubicBezTo>
                  <a:pt x="704673" y="200816"/>
                  <a:pt x="688851" y="206026"/>
                  <a:pt x="669683" y="206275"/>
                </a:cubicBezTo>
                <a:cubicBezTo>
                  <a:pt x="660955" y="206263"/>
                  <a:pt x="652209" y="205051"/>
                  <a:pt x="643445" y="202639"/>
                </a:cubicBezTo>
                <a:cubicBezTo>
                  <a:pt x="634681" y="200227"/>
                  <a:pt x="626808" y="196688"/>
                  <a:pt x="619824" y="192025"/>
                </a:cubicBezTo>
                <a:cubicBezTo>
                  <a:pt x="612840" y="187361"/>
                  <a:pt x="607654" y="181645"/>
                  <a:pt x="604266" y="174877"/>
                </a:cubicBezTo>
                <a:lnTo>
                  <a:pt x="624254" y="150870"/>
                </a:lnTo>
                <a:cubicBezTo>
                  <a:pt x="630326" y="158438"/>
                  <a:pt x="637526" y="164095"/>
                  <a:pt x="645853" y="167841"/>
                </a:cubicBezTo>
                <a:cubicBezTo>
                  <a:pt x="654181" y="171586"/>
                  <a:pt x="662315" y="173456"/>
                  <a:pt x="670255" y="173450"/>
                </a:cubicBezTo>
                <a:cubicBezTo>
                  <a:pt x="678726" y="173420"/>
                  <a:pt x="685660" y="171407"/>
                  <a:pt x="691057" y="167412"/>
                </a:cubicBezTo>
                <a:cubicBezTo>
                  <a:pt x="696455" y="163416"/>
                  <a:pt x="699242" y="157616"/>
                  <a:pt x="699421" y="150012"/>
                </a:cubicBezTo>
                <a:cubicBezTo>
                  <a:pt x="698949" y="140474"/>
                  <a:pt x="694231" y="133040"/>
                  <a:pt x="685268" y="127709"/>
                </a:cubicBezTo>
                <a:cubicBezTo>
                  <a:pt x="676304" y="122378"/>
                  <a:pt x="665924" y="117212"/>
                  <a:pt x="654130" y="112212"/>
                </a:cubicBezTo>
                <a:cubicBezTo>
                  <a:pt x="642335" y="107212"/>
                  <a:pt x="631956" y="100438"/>
                  <a:pt x="622992" y="91892"/>
                </a:cubicBezTo>
                <a:cubicBezTo>
                  <a:pt x="614028" y="83345"/>
                  <a:pt x="609310" y="71088"/>
                  <a:pt x="608838" y="55119"/>
                </a:cubicBezTo>
                <a:cubicBezTo>
                  <a:pt x="609004" y="39697"/>
                  <a:pt x="614525" y="26760"/>
                  <a:pt x="625401" y="16309"/>
                </a:cubicBezTo>
                <a:cubicBezTo>
                  <a:pt x="636277" y="5858"/>
                  <a:pt x="651515" y="421"/>
                  <a:pt x="671113" y="0"/>
                </a:cubicBez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38978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BA2DFA3-0F6D-C37E-F74C-FF0D7F1556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510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кутник 4">
            <a:extLst>
              <a:ext uri="{FF2B5EF4-FFF2-40B4-BE49-F238E27FC236}">
                <a16:creationId xmlns:a16="http://schemas.microsoft.com/office/drawing/2014/main" id="{75127346-B631-2DD4-1023-7D2FB74D00F1}"/>
              </a:ext>
            </a:extLst>
          </p:cNvPr>
          <p:cNvSpPr/>
          <p:nvPr/>
        </p:nvSpPr>
        <p:spPr>
          <a:xfrm>
            <a:off x="-9752" y="579"/>
            <a:ext cx="6096079" cy="68707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6" name="Групувати 5">
            <a:extLst>
              <a:ext uri="{FF2B5EF4-FFF2-40B4-BE49-F238E27FC236}">
                <a16:creationId xmlns:a16="http://schemas.microsoft.com/office/drawing/2014/main" id="{22CCE20C-7199-55E4-2D31-8836FC902EED}"/>
              </a:ext>
            </a:extLst>
          </p:cNvPr>
          <p:cNvGrpSpPr/>
          <p:nvPr/>
        </p:nvGrpSpPr>
        <p:grpSpPr>
          <a:xfrm>
            <a:off x="4161261" y="216192"/>
            <a:ext cx="3635938" cy="218572"/>
            <a:chOff x="4091970" y="212026"/>
            <a:chExt cx="3774519" cy="226903"/>
          </a:xfrm>
          <a:solidFill>
            <a:schemeClr val="tx2">
              <a:lumMod val="50000"/>
            </a:schemeClr>
          </a:solidFill>
        </p:grpSpPr>
        <p:sp>
          <p:nvSpPr>
            <p:cNvPr id="7" name="Полілінія: фігура 6">
              <a:extLst>
                <a:ext uri="{FF2B5EF4-FFF2-40B4-BE49-F238E27FC236}">
                  <a16:creationId xmlns:a16="http://schemas.microsoft.com/office/drawing/2014/main" id="{5B374D17-583A-62DC-19B2-2654077CDBA8}"/>
                </a:ext>
              </a:extLst>
            </p:cNvPr>
            <p:cNvSpPr/>
            <p:nvPr/>
          </p:nvSpPr>
          <p:spPr>
            <a:xfrm>
              <a:off x="4091970" y="212026"/>
              <a:ext cx="145494" cy="226903"/>
            </a:xfrm>
            <a:custGeom>
              <a:avLst/>
              <a:gdLst/>
              <a:ahLst/>
              <a:cxnLst/>
              <a:rect l="l" t="t" r="r" b="b"/>
              <a:pathLst>
                <a:path w="145494" h="226903">
                  <a:moveTo>
                    <a:pt x="73532" y="0"/>
                  </a:moveTo>
                  <a:cubicBezTo>
                    <a:pt x="87161" y="78"/>
                    <a:pt x="99369" y="2197"/>
                    <a:pt x="110157" y="6358"/>
                  </a:cubicBezTo>
                  <a:cubicBezTo>
                    <a:pt x="120945" y="10518"/>
                    <a:pt x="129689" y="16248"/>
                    <a:pt x="136387" y="23548"/>
                  </a:cubicBezTo>
                  <a:lnTo>
                    <a:pt x="115662" y="52456"/>
                  </a:lnTo>
                  <a:cubicBezTo>
                    <a:pt x="110467" y="47236"/>
                    <a:pt x="104837" y="43214"/>
                    <a:pt x="98771" y="40391"/>
                  </a:cubicBezTo>
                  <a:cubicBezTo>
                    <a:pt x="92705" y="37568"/>
                    <a:pt x="85340" y="36140"/>
                    <a:pt x="76677" y="36108"/>
                  </a:cubicBezTo>
                  <a:cubicBezTo>
                    <a:pt x="66999" y="36212"/>
                    <a:pt x="59463" y="38439"/>
                    <a:pt x="54070" y="42788"/>
                  </a:cubicBezTo>
                  <a:cubicBezTo>
                    <a:pt x="48677" y="47137"/>
                    <a:pt x="45938" y="52980"/>
                    <a:pt x="45853" y="60316"/>
                  </a:cubicBezTo>
                  <a:cubicBezTo>
                    <a:pt x="46372" y="71329"/>
                    <a:pt x="51561" y="79742"/>
                    <a:pt x="61421" y="85557"/>
                  </a:cubicBezTo>
                  <a:cubicBezTo>
                    <a:pt x="71282" y="91372"/>
                    <a:pt x="82699" y="96897"/>
                    <a:pt x="95673" y="102132"/>
                  </a:cubicBezTo>
                  <a:cubicBezTo>
                    <a:pt x="108647" y="107367"/>
                    <a:pt x="120064" y="114622"/>
                    <a:pt x="129925" y="123895"/>
                  </a:cubicBezTo>
                  <a:cubicBezTo>
                    <a:pt x="139785" y="133168"/>
                    <a:pt x="144975" y="146770"/>
                    <a:pt x="145494" y="164699"/>
                  </a:cubicBezTo>
                  <a:cubicBezTo>
                    <a:pt x="145004" y="183516"/>
                    <a:pt x="137897" y="198519"/>
                    <a:pt x="124173" y="209708"/>
                  </a:cubicBezTo>
                  <a:cubicBezTo>
                    <a:pt x="110448" y="220897"/>
                    <a:pt x="93044" y="226629"/>
                    <a:pt x="71959" y="226903"/>
                  </a:cubicBezTo>
                  <a:cubicBezTo>
                    <a:pt x="62358" y="226889"/>
                    <a:pt x="52737" y="225556"/>
                    <a:pt x="43097" y="222903"/>
                  </a:cubicBezTo>
                  <a:cubicBezTo>
                    <a:pt x="33457" y="220249"/>
                    <a:pt x="24796" y="216357"/>
                    <a:pt x="17114" y="211227"/>
                  </a:cubicBezTo>
                  <a:cubicBezTo>
                    <a:pt x="9432" y="206097"/>
                    <a:pt x="3727" y="199809"/>
                    <a:pt x="0" y="192365"/>
                  </a:cubicBezTo>
                  <a:lnTo>
                    <a:pt x="21987" y="165957"/>
                  </a:lnTo>
                  <a:cubicBezTo>
                    <a:pt x="28666" y="174282"/>
                    <a:pt x="36586" y="180505"/>
                    <a:pt x="45746" y="184625"/>
                  </a:cubicBezTo>
                  <a:cubicBezTo>
                    <a:pt x="54906" y="188745"/>
                    <a:pt x="63854" y="190801"/>
                    <a:pt x="72588" y="190795"/>
                  </a:cubicBezTo>
                  <a:cubicBezTo>
                    <a:pt x="81906" y="190762"/>
                    <a:pt x="89534" y="188548"/>
                    <a:pt x="95471" y="184153"/>
                  </a:cubicBezTo>
                  <a:cubicBezTo>
                    <a:pt x="101407" y="179758"/>
                    <a:pt x="104474" y="173378"/>
                    <a:pt x="104671" y="165014"/>
                  </a:cubicBezTo>
                  <a:cubicBezTo>
                    <a:pt x="104152" y="154522"/>
                    <a:pt x="98962" y="146344"/>
                    <a:pt x="89102" y="140480"/>
                  </a:cubicBezTo>
                  <a:cubicBezTo>
                    <a:pt x="79241" y="134616"/>
                    <a:pt x="67824" y="128934"/>
                    <a:pt x="54850" y="123433"/>
                  </a:cubicBezTo>
                  <a:cubicBezTo>
                    <a:pt x="41876" y="117933"/>
                    <a:pt x="30459" y="110482"/>
                    <a:pt x="20599" y="101081"/>
                  </a:cubicBezTo>
                  <a:cubicBezTo>
                    <a:pt x="10738" y="91680"/>
                    <a:pt x="5549" y="78196"/>
                    <a:pt x="5030" y="60631"/>
                  </a:cubicBezTo>
                  <a:cubicBezTo>
                    <a:pt x="5212" y="43667"/>
                    <a:pt x="11285" y="29436"/>
                    <a:pt x="23249" y="17940"/>
                  </a:cubicBezTo>
                  <a:cubicBezTo>
                    <a:pt x="35212" y="6443"/>
                    <a:pt x="51973" y="463"/>
                    <a:pt x="73532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8" name="Полілінія: фігура 7">
              <a:extLst>
                <a:ext uri="{FF2B5EF4-FFF2-40B4-BE49-F238E27FC236}">
                  <a16:creationId xmlns:a16="http://schemas.microsoft.com/office/drawing/2014/main" id="{B663C5D6-E505-8FCB-1AD3-F4CCD4E89A94}"/>
                </a:ext>
              </a:extLst>
            </p:cNvPr>
            <p:cNvSpPr/>
            <p:nvPr/>
          </p:nvSpPr>
          <p:spPr>
            <a:xfrm>
              <a:off x="4844447" y="212026"/>
              <a:ext cx="145493" cy="226903"/>
            </a:xfrm>
            <a:custGeom>
              <a:avLst/>
              <a:gdLst/>
              <a:ahLst/>
              <a:cxnLst/>
              <a:rect l="l" t="t" r="r" b="b"/>
              <a:pathLst>
                <a:path w="145493" h="226903">
                  <a:moveTo>
                    <a:pt x="73531" y="0"/>
                  </a:moveTo>
                  <a:cubicBezTo>
                    <a:pt x="87160" y="78"/>
                    <a:pt x="99368" y="2197"/>
                    <a:pt x="110156" y="6358"/>
                  </a:cubicBezTo>
                  <a:cubicBezTo>
                    <a:pt x="120944" y="10518"/>
                    <a:pt x="129687" y="16248"/>
                    <a:pt x="136386" y="23548"/>
                  </a:cubicBezTo>
                  <a:lnTo>
                    <a:pt x="115661" y="52456"/>
                  </a:lnTo>
                  <a:cubicBezTo>
                    <a:pt x="110466" y="47236"/>
                    <a:pt x="104836" y="43214"/>
                    <a:pt x="98770" y="40391"/>
                  </a:cubicBezTo>
                  <a:cubicBezTo>
                    <a:pt x="92704" y="37568"/>
                    <a:pt x="85339" y="36140"/>
                    <a:pt x="76676" y="36108"/>
                  </a:cubicBezTo>
                  <a:cubicBezTo>
                    <a:pt x="66998" y="36212"/>
                    <a:pt x="59462" y="38439"/>
                    <a:pt x="54069" y="42788"/>
                  </a:cubicBezTo>
                  <a:cubicBezTo>
                    <a:pt x="48676" y="47137"/>
                    <a:pt x="45937" y="52980"/>
                    <a:pt x="45852" y="60316"/>
                  </a:cubicBezTo>
                  <a:cubicBezTo>
                    <a:pt x="46371" y="71329"/>
                    <a:pt x="51560" y="79742"/>
                    <a:pt x="61421" y="85557"/>
                  </a:cubicBezTo>
                  <a:cubicBezTo>
                    <a:pt x="71281" y="91372"/>
                    <a:pt x="82698" y="96897"/>
                    <a:pt x="95672" y="102132"/>
                  </a:cubicBezTo>
                  <a:cubicBezTo>
                    <a:pt x="108646" y="107367"/>
                    <a:pt x="120063" y="114622"/>
                    <a:pt x="129924" y="123895"/>
                  </a:cubicBezTo>
                  <a:cubicBezTo>
                    <a:pt x="139784" y="133168"/>
                    <a:pt x="144974" y="146770"/>
                    <a:pt x="145493" y="164699"/>
                  </a:cubicBezTo>
                  <a:cubicBezTo>
                    <a:pt x="145003" y="183516"/>
                    <a:pt x="137896" y="198519"/>
                    <a:pt x="124172" y="209708"/>
                  </a:cubicBezTo>
                  <a:cubicBezTo>
                    <a:pt x="110447" y="220897"/>
                    <a:pt x="93043" y="226629"/>
                    <a:pt x="71958" y="226903"/>
                  </a:cubicBezTo>
                  <a:cubicBezTo>
                    <a:pt x="62357" y="226889"/>
                    <a:pt x="52736" y="225556"/>
                    <a:pt x="43096" y="222903"/>
                  </a:cubicBezTo>
                  <a:cubicBezTo>
                    <a:pt x="33456" y="220249"/>
                    <a:pt x="24795" y="216357"/>
                    <a:pt x="17113" y="211227"/>
                  </a:cubicBezTo>
                  <a:cubicBezTo>
                    <a:pt x="9431" y="206097"/>
                    <a:pt x="3726" y="199809"/>
                    <a:pt x="0" y="192365"/>
                  </a:cubicBezTo>
                  <a:lnTo>
                    <a:pt x="21986" y="165957"/>
                  </a:lnTo>
                  <a:cubicBezTo>
                    <a:pt x="28666" y="174282"/>
                    <a:pt x="36585" y="180505"/>
                    <a:pt x="45745" y="184625"/>
                  </a:cubicBezTo>
                  <a:cubicBezTo>
                    <a:pt x="54905" y="188745"/>
                    <a:pt x="63853" y="190801"/>
                    <a:pt x="72587" y="190795"/>
                  </a:cubicBezTo>
                  <a:cubicBezTo>
                    <a:pt x="81905" y="190762"/>
                    <a:pt x="89533" y="188548"/>
                    <a:pt x="95470" y="184153"/>
                  </a:cubicBezTo>
                  <a:cubicBezTo>
                    <a:pt x="101406" y="179758"/>
                    <a:pt x="104473" y="173378"/>
                    <a:pt x="104670" y="165014"/>
                  </a:cubicBezTo>
                  <a:cubicBezTo>
                    <a:pt x="104151" y="154522"/>
                    <a:pt x="98961" y="146344"/>
                    <a:pt x="89101" y="140480"/>
                  </a:cubicBezTo>
                  <a:cubicBezTo>
                    <a:pt x="79240" y="134616"/>
                    <a:pt x="67823" y="128934"/>
                    <a:pt x="54849" y="123433"/>
                  </a:cubicBezTo>
                  <a:cubicBezTo>
                    <a:pt x="41875" y="117933"/>
                    <a:pt x="30458" y="110482"/>
                    <a:pt x="20598" y="101081"/>
                  </a:cubicBezTo>
                  <a:cubicBezTo>
                    <a:pt x="10737" y="91680"/>
                    <a:pt x="5548" y="78196"/>
                    <a:pt x="5029" y="60631"/>
                  </a:cubicBezTo>
                  <a:cubicBezTo>
                    <a:pt x="5211" y="43667"/>
                    <a:pt x="11284" y="29436"/>
                    <a:pt x="23248" y="17940"/>
                  </a:cubicBezTo>
                  <a:cubicBezTo>
                    <a:pt x="35211" y="6443"/>
                    <a:pt x="51972" y="463"/>
                    <a:pt x="73531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9" name="Полілінія: фігура 8">
              <a:extLst>
                <a:ext uri="{FF2B5EF4-FFF2-40B4-BE49-F238E27FC236}">
                  <a16:creationId xmlns:a16="http://schemas.microsoft.com/office/drawing/2014/main" id="{F768406D-3264-87D2-C148-1091DFADCB57}"/>
                </a:ext>
              </a:extLst>
            </p:cNvPr>
            <p:cNvSpPr/>
            <p:nvPr/>
          </p:nvSpPr>
          <p:spPr>
            <a:xfrm>
              <a:off x="5015897" y="212026"/>
              <a:ext cx="145493" cy="226903"/>
            </a:xfrm>
            <a:custGeom>
              <a:avLst/>
              <a:gdLst/>
              <a:ahLst/>
              <a:cxnLst/>
              <a:rect l="l" t="t" r="r" b="b"/>
              <a:pathLst>
                <a:path w="145493" h="226903">
                  <a:moveTo>
                    <a:pt x="73531" y="0"/>
                  </a:moveTo>
                  <a:cubicBezTo>
                    <a:pt x="87160" y="78"/>
                    <a:pt x="99368" y="2197"/>
                    <a:pt x="110156" y="6358"/>
                  </a:cubicBezTo>
                  <a:cubicBezTo>
                    <a:pt x="120944" y="10518"/>
                    <a:pt x="129687" y="16248"/>
                    <a:pt x="136386" y="23548"/>
                  </a:cubicBezTo>
                  <a:lnTo>
                    <a:pt x="115660" y="52456"/>
                  </a:lnTo>
                  <a:cubicBezTo>
                    <a:pt x="110466" y="47236"/>
                    <a:pt x="104836" y="43214"/>
                    <a:pt x="98770" y="40391"/>
                  </a:cubicBezTo>
                  <a:cubicBezTo>
                    <a:pt x="92704" y="37568"/>
                    <a:pt x="85339" y="36140"/>
                    <a:pt x="76676" y="36108"/>
                  </a:cubicBezTo>
                  <a:cubicBezTo>
                    <a:pt x="66998" y="36212"/>
                    <a:pt x="59462" y="38439"/>
                    <a:pt x="54069" y="42788"/>
                  </a:cubicBezTo>
                  <a:cubicBezTo>
                    <a:pt x="48676" y="47137"/>
                    <a:pt x="45937" y="52980"/>
                    <a:pt x="45852" y="60316"/>
                  </a:cubicBezTo>
                  <a:cubicBezTo>
                    <a:pt x="46371" y="71329"/>
                    <a:pt x="51560" y="79742"/>
                    <a:pt x="61421" y="85557"/>
                  </a:cubicBezTo>
                  <a:cubicBezTo>
                    <a:pt x="71281" y="91372"/>
                    <a:pt x="82698" y="96897"/>
                    <a:pt x="95672" y="102132"/>
                  </a:cubicBezTo>
                  <a:cubicBezTo>
                    <a:pt x="108646" y="107367"/>
                    <a:pt x="120063" y="114622"/>
                    <a:pt x="129924" y="123895"/>
                  </a:cubicBezTo>
                  <a:cubicBezTo>
                    <a:pt x="139784" y="133168"/>
                    <a:pt x="144974" y="146770"/>
                    <a:pt x="145493" y="164699"/>
                  </a:cubicBezTo>
                  <a:cubicBezTo>
                    <a:pt x="145003" y="183516"/>
                    <a:pt x="137896" y="198519"/>
                    <a:pt x="124172" y="209708"/>
                  </a:cubicBezTo>
                  <a:cubicBezTo>
                    <a:pt x="110447" y="220897"/>
                    <a:pt x="93043" y="226629"/>
                    <a:pt x="71958" y="226903"/>
                  </a:cubicBezTo>
                  <a:cubicBezTo>
                    <a:pt x="62357" y="226889"/>
                    <a:pt x="52736" y="225556"/>
                    <a:pt x="43096" y="222903"/>
                  </a:cubicBezTo>
                  <a:cubicBezTo>
                    <a:pt x="33456" y="220249"/>
                    <a:pt x="24795" y="216357"/>
                    <a:pt x="17113" y="211227"/>
                  </a:cubicBezTo>
                  <a:cubicBezTo>
                    <a:pt x="9431" y="206097"/>
                    <a:pt x="3726" y="199809"/>
                    <a:pt x="0" y="192365"/>
                  </a:cubicBezTo>
                  <a:lnTo>
                    <a:pt x="21986" y="165957"/>
                  </a:lnTo>
                  <a:cubicBezTo>
                    <a:pt x="28666" y="174282"/>
                    <a:pt x="36585" y="180505"/>
                    <a:pt x="45745" y="184625"/>
                  </a:cubicBezTo>
                  <a:cubicBezTo>
                    <a:pt x="54905" y="188745"/>
                    <a:pt x="63853" y="190801"/>
                    <a:pt x="72587" y="190795"/>
                  </a:cubicBezTo>
                  <a:cubicBezTo>
                    <a:pt x="81905" y="190762"/>
                    <a:pt x="89533" y="188548"/>
                    <a:pt x="95470" y="184153"/>
                  </a:cubicBezTo>
                  <a:cubicBezTo>
                    <a:pt x="101407" y="179758"/>
                    <a:pt x="104473" y="173378"/>
                    <a:pt x="104670" y="165014"/>
                  </a:cubicBezTo>
                  <a:cubicBezTo>
                    <a:pt x="104151" y="154522"/>
                    <a:pt x="98961" y="146344"/>
                    <a:pt x="89101" y="140480"/>
                  </a:cubicBezTo>
                  <a:cubicBezTo>
                    <a:pt x="79240" y="134616"/>
                    <a:pt x="67823" y="128934"/>
                    <a:pt x="54849" y="123433"/>
                  </a:cubicBezTo>
                  <a:cubicBezTo>
                    <a:pt x="41875" y="117933"/>
                    <a:pt x="30458" y="110482"/>
                    <a:pt x="20598" y="101081"/>
                  </a:cubicBezTo>
                  <a:cubicBezTo>
                    <a:pt x="10737" y="91680"/>
                    <a:pt x="5548" y="78196"/>
                    <a:pt x="5029" y="60631"/>
                  </a:cubicBezTo>
                  <a:cubicBezTo>
                    <a:pt x="5211" y="43667"/>
                    <a:pt x="11284" y="29436"/>
                    <a:pt x="23248" y="17940"/>
                  </a:cubicBezTo>
                  <a:cubicBezTo>
                    <a:pt x="35211" y="6443"/>
                    <a:pt x="51972" y="463"/>
                    <a:pt x="73531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0" name="Полілінія: фігура 9">
              <a:extLst>
                <a:ext uri="{FF2B5EF4-FFF2-40B4-BE49-F238E27FC236}">
                  <a16:creationId xmlns:a16="http://schemas.microsoft.com/office/drawing/2014/main" id="{5B54F70D-06ED-895D-8F89-A8D074827235}"/>
                </a:ext>
              </a:extLst>
            </p:cNvPr>
            <p:cNvSpPr/>
            <p:nvPr/>
          </p:nvSpPr>
          <p:spPr>
            <a:xfrm>
              <a:off x="5663595" y="212026"/>
              <a:ext cx="145494" cy="226903"/>
            </a:xfrm>
            <a:custGeom>
              <a:avLst/>
              <a:gdLst/>
              <a:ahLst/>
              <a:cxnLst/>
              <a:rect l="l" t="t" r="r" b="b"/>
              <a:pathLst>
                <a:path w="145494" h="226903">
                  <a:moveTo>
                    <a:pt x="73532" y="0"/>
                  </a:moveTo>
                  <a:cubicBezTo>
                    <a:pt x="87161" y="78"/>
                    <a:pt x="99369" y="2197"/>
                    <a:pt x="110157" y="6358"/>
                  </a:cubicBezTo>
                  <a:cubicBezTo>
                    <a:pt x="120945" y="10518"/>
                    <a:pt x="129688" y="16248"/>
                    <a:pt x="136387" y="23548"/>
                  </a:cubicBezTo>
                  <a:lnTo>
                    <a:pt x="115662" y="52456"/>
                  </a:lnTo>
                  <a:cubicBezTo>
                    <a:pt x="110467" y="47236"/>
                    <a:pt x="104837" y="43214"/>
                    <a:pt x="98771" y="40391"/>
                  </a:cubicBezTo>
                  <a:cubicBezTo>
                    <a:pt x="92705" y="37568"/>
                    <a:pt x="85340" y="36140"/>
                    <a:pt x="76677" y="36108"/>
                  </a:cubicBezTo>
                  <a:cubicBezTo>
                    <a:pt x="66999" y="36212"/>
                    <a:pt x="59463" y="38439"/>
                    <a:pt x="54070" y="42788"/>
                  </a:cubicBezTo>
                  <a:cubicBezTo>
                    <a:pt x="48677" y="47137"/>
                    <a:pt x="45938" y="52980"/>
                    <a:pt x="45853" y="60316"/>
                  </a:cubicBezTo>
                  <a:cubicBezTo>
                    <a:pt x="46372" y="71329"/>
                    <a:pt x="51561" y="79742"/>
                    <a:pt x="61422" y="85557"/>
                  </a:cubicBezTo>
                  <a:cubicBezTo>
                    <a:pt x="71282" y="91372"/>
                    <a:pt x="82699" y="96897"/>
                    <a:pt x="95673" y="102132"/>
                  </a:cubicBezTo>
                  <a:cubicBezTo>
                    <a:pt x="108647" y="107367"/>
                    <a:pt x="120064" y="114622"/>
                    <a:pt x="129925" y="123895"/>
                  </a:cubicBezTo>
                  <a:cubicBezTo>
                    <a:pt x="139785" y="133168"/>
                    <a:pt x="144975" y="146770"/>
                    <a:pt x="145494" y="164699"/>
                  </a:cubicBezTo>
                  <a:cubicBezTo>
                    <a:pt x="145004" y="183516"/>
                    <a:pt x="137897" y="198519"/>
                    <a:pt x="124173" y="209708"/>
                  </a:cubicBezTo>
                  <a:cubicBezTo>
                    <a:pt x="110448" y="220897"/>
                    <a:pt x="93044" y="226629"/>
                    <a:pt x="71959" y="226903"/>
                  </a:cubicBezTo>
                  <a:cubicBezTo>
                    <a:pt x="62358" y="226889"/>
                    <a:pt x="52737" y="225556"/>
                    <a:pt x="43097" y="222903"/>
                  </a:cubicBezTo>
                  <a:cubicBezTo>
                    <a:pt x="33457" y="220249"/>
                    <a:pt x="24796" y="216357"/>
                    <a:pt x="17114" y="211227"/>
                  </a:cubicBezTo>
                  <a:cubicBezTo>
                    <a:pt x="9432" y="206097"/>
                    <a:pt x="3727" y="199809"/>
                    <a:pt x="0" y="192365"/>
                  </a:cubicBezTo>
                  <a:lnTo>
                    <a:pt x="21987" y="165957"/>
                  </a:lnTo>
                  <a:cubicBezTo>
                    <a:pt x="28667" y="174282"/>
                    <a:pt x="36586" y="180505"/>
                    <a:pt x="45746" y="184625"/>
                  </a:cubicBezTo>
                  <a:cubicBezTo>
                    <a:pt x="54906" y="188745"/>
                    <a:pt x="63854" y="190801"/>
                    <a:pt x="72588" y="190795"/>
                  </a:cubicBezTo>
                  <a:cubicBezTo>
                    <a:pt x="81906" y="190762"/>
                    <a:pt x="89534" y="188548"/>
                    <a:pt x="95471" y="184153"/>
                  </a:cubicBezTo>
                  <a:cubicBezTo>
                    <a:pt x="101407" y="179758"/>
                    <a:pt x="104474" y="173378"/>
                    <a:pt x="104671" y="165014"/>
                  </a:cubicBezTo>
                  <a:cubicBezTo>
                    <a:pt x="104152" y="154522"/>
                    <a:pt x="98962" y="146344"/>
                    <a:pt x="89102" y="140480"/>
                  </a:cubicBezTo>
                  <a:cubicBezTo>
                    <a:pt x="79242" y="134616"/>
                    <a:pt x="67824" y="128934"/>
                    <a:pt x="54850" y="123433"/>
                  </a:cubicBezTo>
                  <a:cubicBezTo>
                    <a:pt x="41876" y="117933"/>
                    <a:pt x="30459" y="110482"/>
                    <a:pt x="20599" y="101081"/>
                  </a:cubicBezTo>
                  <a:cubicBezTo>
                    <a:pt x="10738" y="91680"/>
                    <a:pt x="5549" y="78196"/>
                    <a:pt x="5030" y="60631"/>
                  </a:cubicBezTo>
                  <a:cubicBezTo>
                    <a:pt x="5212" y="43667"/>
                    <a:pt x="11285" y="29436"/>
                    <a:pt x="23249" y="17940"/>
                  </a:cubicBezTo>
                  <a:cubicBezTo>
                    <a:pt x="35212" y="6443"/>
                    <a:pt x="51973" y="463"/>
                    <a:pt x="73532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1" name="Полілінія: фігура 10">
              <a:extLst>
                <a:ext uri="{FF2B5EF4-FFF2-40B4-BE49-F238E27FC236}">
                  <a16:creationId xmlns:a16="http://schemas.microsoft.com/office/drawing/2014/main" id="{943DEB99-8F43-7CC4-AF00-3A6FEEB691DE}"/>
                </a:ext>
              </a:extLst>
            </p:cNvPr>
            <p:cNvSpPr/>
            <p:nvPr/>
          </p:nvSpPr>
          <p:spPr>
            <a:xfrm>
              <a:off x="6111270" y="212026"/>
              <a:ext cx="145494" cy="226903"/>
            </a:xfrm>
            <a:custGeom>
              <a:avLst/>
              <a:gdLst/>
              <a:ahLst/>
              <a:cxnLst/>
              <a:rect l="l" t="t" r="r" b="b"/>
              <a:pathLst>
                <a:path w="145494" h="226903">
                  <a:moveTo>
                    <a:pt x="73532" y="0"/>
                  </a:moveTo>
                  <a:cubicBezTo>
                    <a:pt x="87161" y="78"/>
                    <a:pt x="99369" y="2197"/>
                    <a:pt x="110157" y="6358"/>
                  </a:cubicBezTo>
                  <a:cubicBezTo>
                    <a:pt x="120945" y="10518"/>
                    <a:pt x="129689" y="16248"/>
                    <a:pt x="136387" y="23548"/>
                  </a:cubicBezTo>
                  <a:lnTo>
                    <a:pt x="115661" y="52456"/>
                  </a:lnTo>
                  <a:cubicBezTo>
                    <a:pt x="110467" y="47236"/>
                    <a:pt x="104837" y="43214"/>
                    <a:pt x="98771" y="40391"/>
                  </a:cubicBezTo>
                  <a:cubicBezTo>
                    <a:pt x="92705" y="37568"/>
                    <a:pt x="85340" y="36140"/>
                    <a:pt x="76677" y="36108"/>
                  </a:cubicBezTo>
                  <a:cubicBezTo>
                    <a:pt x="66999" y="36212"/>
                    <a:pt x="59463" y="38439"/>
                    <a:pt x="54070" y="42788"/>
                  </a:cubicBezTo>
                  <a:cubicBezTo>
                    <a:pt x="48677" y="47137"/>
                    <a:pt x="45938" y="52980"/>
                    <a:pt x="45853" y="60316"/>
                  </a:cubicBezTo>
                  <a:cubicBezTo>
                    <a:pt x="46372" y="71329"/>
                    <a:pt x="51561" y="79742"/>
                    <a:pt x="61422" y="85557"/>
                  </a:cubicBezTo>
                  <a:cubicBezTo>
                    <a:pt x="71282" y="91372"/>
                    <a:pt x="82699" y="96897"/>
                    <a:pt x="95673" y="102132"/>
                  </a:cubicBezTo>
                  <a:cubicBezTo>
                    <a:pt x="108647" y="107367"/>
                    <a:pt x="120064" y="114622"/>
                    <a:pt x="129925" y="123895"/>
                  </a:cubicBezTo>
                  <a:cubicBezTo>
                    <a:pt x="139785" y="133168"/>
                    <a:pt x="144975" y="146770"/>
                    <a:pt x="145494" y="164699"/>
                  </a:cubicBezTo>
                  <a:cubicBezTo>
                    <a:pt x="145004" y="183516"/>
                    <a:pt x="137897" y="198519"/>
                    <a:pt x="124173" y="209708"/>
                  </a:cubicBezTo>
                  <a:cubicBezTo>
                    <a:pt x="110448" y="220897"/>
                    <a:pt x="93044" y="226629"/>
                    <a:pt x="71959" y="226903"/>
                  </a:cubicBezTo>
                  <a:cubicBezTo>
                    <a:pt x="62358" y="226889"/>
                    <a:pt x="52737" y="225556"/>
                    <a:pt x="43097" y="222903"/>
                  </a:cubicBezTo>
                  <a:cubicBezTo>
                    <a:pt x="33457" y="220249"/>
                    <a:pt x="24796" y="216357"/>
                    <a:pt x="17114" y="211227"/>
                  </a:cubicBezTo>
                  <a:cubicBezTo>
                    <a:pt x="9432" y="206097"/>
                    <a:pt x="3728" y="199809"/>
                    <a:pt x="0" y="192365"/>
                  </a:cubicBezTo>
                  <a:lnTo>
                    <a:pt x="21987" y="165957"/>
                  </a:lnTo>
                  <a:cubicBezTo>
                    <a:pt x="28666" y="174282"/>
                    <a:pt x="36586" y="180505"/>
                    <a:pt x="45746" y="184625"/>
                  </a:cubicBezTo>
                  <a:cubicBezTo>
                    <a:pt x="54906" y="188745"/>
                    <a:pt x="63853" y="190801"/>
                    <a:pt x="72588" y="190795"/>
                  </a:cubicBezTo>
                  <a:cubicBezTo>
                    <a:pt x="81906" y="190762"/>
                    <a:pt x="89534" y="188548"/>
                    <a:pt x="95471" y="184153"/>
                  </a:cubicBezTo>
                  <a:cubicBezTo>
                    <a:pt x="101407" y="179758"/>
                    <a:pt x="104474" y="173378"/>
                    <a:pt x="104671" y="165014"/>
                  </a:cubicBezTo>
                  <a:cubicBezTo>
                    <a:pt x="104152" y="154522"/>
                    <a:pt x="98962" y="146344"/>
                    <a:pt x="89102" y="140480"/>
                  </a:cubicBezTo>
                  <a:cubicBezTo>
                    <a:pt x="79241" y="134616"/>
                    <a:pt x="67824" y="128934"/>
                    <a:pt x="54850" y="123433"/>
                  </a:cubicBezTo>
                  <a:cubicBezTo>
                    <a:pt x="41876" y="117933"/>
                    <a:pt x="30459" y="110482"/>
                    <a:pt x="20599" y="101081"/>
                  </a:cubicBezTo>
                  <a:cubicBezTo>
                    <a:pt x="10738" y="91680"/>
                    <a:pt x="5549" y="78196"/>
                    <a:pt x="5030" y="60631"/>
                  </a:cubicBezTo>
                  <a:cubicBezTo>
                    <a:pt x="5212" y="43667"/>
                    <a:pt x="11285" y="29436"/>
                    <a:pt x="23249" y="17940"/>
                  </a:cubicBezTo>
                  <a:cubicBezTo>
                    <a:pt x="35212" y="6443"/>
                    <a:pt x="51973" y="463"/>
                    <a:pt x="73532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2" name="Полілінія: фігура 11">
              <a:extLst>
                <a:ext uri="{FF2B5EF4-FFF2-40B4-BE49-F238E27FC236}">
                  <a16:creationId xmlns:a16="http://schemas.microsoft.com/office/drawing/2014/main" id="{F5979616-C860-55BF-BE3C-3A29F98AA14B}"/>
                </a:ext>
              </a:extLst>
            </p:cNvPr>
            <p:cNvSpPr/>
            <p:nvPr/>
          </p:nvSpPr>
          <p:spPr>
            <a:xfrm>
              <a:off x="6282721" y="212026"/>
              <a:ext cx="183841" cy="226903"/>
            </a:xfrm>
            <a:custGeom>
              <a:avLst/>
              <a:gdLst/>
              <a:ahLst/>
              <a:cxnLst/>
              <a:rect l="l" t="t" r="r" b="b"/>
              <a:pathLst>
                <a:path w="183841" h="226903">
                  <a:moveTo>
                    <a:pt x="112489" y="0"/>
                  </a:moveTo>
                  <a:cubicBezTo>
                    <a:pt x="126889" y="104"/>
                    <a:pt x="139816" y="2171"/>
                    <a:pt x="151269" y="6201"/>
                  </a:cubicBezTo>
                  <a:cubicBezTo>
                    <a:pt x="162723" y="10230"/>
                    <a:pt x="172113" y="15594"/>
                    <a:pt x="179441" y="22292"/>
                  </a:cubicBezTo>
                  <a:lnTo>
                    <a:pt x="162153" y="50884"/>
                  </a:lnTo>
                  <a:cubicBezTo>
                    <a:pt x="155683" y="46417"/>
                    <a:pt x="148506" y="42854"/>
                    <a:pt x="140621" y="40195"/>
                  </a:cubicBezTo>
                  <a:cubicBezTo>
                    <a:pt x="132737" y="37535"/>
                    <a:pt x="123360" y="36173"/>
                    <a:pt x="112489" y="36108"/>
                  </a:cubicBezTo>
                  <a:cubicBezTo>
                    <a:pt x="91626" y="36343"/>
                    <a:pt x="74574" y="43260"/>
                    <a:pt x="61333" y="56858"/>
                  </a:cubicBezTo>
                  <a:cubicBezTo>
                    <a:pt x="48092" y="70456"/>
                    <a:pt x="41256" y="89320"/>
                    <a:pt x="40823" y="113451"/>
                  </a:cubicBezTo>
                  <a:cubicBezTo>
                    <a:pt x="41183" y="136756"/>
                    <a:pt x="48243" y="155385"/>
                    <a:pt x="62001" y="169337"/>
                  </a:cubicBezTo>
                  <a:cubicBezTo>
                    <a:pt x="75759" y="183288"/>
                    <a:pt x="94056" y="190441"/>
                    <a:pt x="116890" y="190795"/>
                  </a:cubicBezTo>
                  <a:cubicBezTo>
                    <a:pt x="126235" y="190788"/>
                    <a:pt x="135363" y="189308"/>
                    <a:pt x="144276" y="186354"/>
                  </a:cubicBezTo>
                  <a:cubicBezTo>
                    <a:pt x="153188" y="183400"/>
                    <a:pt x="161452" y="179011"/>
                    <a:pt x="169068" y="173188"/>
                  </a:cubicBezTo>
                  <a:lnTo>
                    <a:pt x="183841" y="202098"/>
                  </a:lnTo>
                  <a:cubicBezTo>
                    <a:pt x="176645" y="209588"/>
                    <a:pt x="166756" y="215567"/>
                    <a:pt x="154177" y="220035"/>
                  </a:cubicBezTo>
                  <a:cubicBezTo>
                    <a:pt x="141597" y="224502"/>
                    <a:pt x="128016" y="226792"/>
                    <a:pt x="113432" y="226903"/>
                  </a:cubicBezTo>
                  <a:cubicBezTo>
                    <a:pt x="79278" y="226460"/>
                    <a:pt x="51964" y="216118"/>
                    <a:pt x="31492" y="195880"/>
                  </a:cubicBezTo>
                  <a:cubicBezTo>
                    <a:pt x="11020" y="175641"/>
                    <a:pt x="523" y="148165"/>
                    <a:pt x="0" y="113451"/>
                  </a:cubicBezTo>
                  <a:cubicBezTo>
                    <a:pt x="45" y="92155"/>
                    <a:pt x="4387" y="72989"/>
                    <a:pt x="13029" y="55951"/>
                  </a:cubicBezTo>
                  <a:cubicBezTo>
                    <a:pt x="21671" y="38913"/>
                    <a:pt x="34346" y="25386"/>
                    <a:pt x="51055" y="15369"/>
                  </a:cubicBezTo>
                  <a:cubicBezTo>
                    <a:pt x="67765" y="5353"/>
                    <a:pt x="88243" y="230"/>
                    <a:pt x="112489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3" name="Полілінія: фігура 12">
              <a:extLst>
                <a:ext uri="{FF2B5EF4-FFF2-40B4-BE49-F238E27FC236}">
                  <a16:creationId xmlns:a16="http://schemas.microsoft.com/office/drawing/2014/main" id="{F9355653-2DA0-1632-0A4E-BA5FF08E490B}"/>
                </a:ext>
              </a:extLst>
            </p:cNvPr>
            <p:cNvSpPr/>
            <p:nvPr/>
          </p:nvSpPr>
          <p:spPr>
            <a:xfrm>
              <a:off x="7463820" y="212026"/>
              <a:ext cx="229104" cy="226903"/>
            </a:xfrm>
            <a:custGeom>
              <a:avLst/>
              <a:gdLst/>
              <a:ahLst/>
              <a:cxnLst/>
              <a:rect l="l" t="t" r="r" b="b"/>
              <a:pathLst>
                <a:path w="229104" h="226903">
                  <a:moveTo>
                    <a:pt x="114395" y="0"/>
                  </a:moveTo>
                  <a:cubicBezTo>
                    <a:pt x="136398" y="131"/>
                    <a:pt x="156000" y="4858"/>
                    <a:pt x="173199" y="14182"/>
                  </a:cubicBezTo>
                  <a:cubicBezTo>
                    <a:pt x="190398" y="23505"/>
                    <a:pt x="203964" y="36636"/>
                    <a:pt x="213897" y="53575"/>
                  </a:cubicBezTo>
                  <a:cubicBezTo>
                    <a:pt x="223830" y="70514"/>
                    <a:pt x="228899" y="90473"/>
                    <a:pt x="229104" y="113451"/>
                  </a:cubicBezTo>
                  <a:cubicBezTo>
                    <a:pt x="228899" y="135637"/>
                    <a:pt x="223830" y="155223"/>
                    <a:pt x="213897" y="172209"/>
                  </a:cubicBezTo>
                  <a:cubicBezTo>
                    <a:pt x="203964" y="189195"/>
                    <a:pt x="190398" y="202512"/>
                    <a:pt x="173199" y="212162"/>
                  </a:cubicBezTo>
                  <a:cubicBezTo>
                    <a:pt x="156000" y="221811"/>
                    <a:pt x="136398" y="226725"/>
                    <a:pt x="114395" y="226903"/>
                  </a:cubicBezTo>
                  <a:cubicBezTo>
                    <a:pt x="92394" y="226772"/>
                    <a:pt x="72820" y="222044"/>
                    <a:pt x="55672" y="212721"/>
                  </a:cubicBezTo>
                  <a:cubicBezTo>
                    <a:pt x="38523" y="203397"/>
                    <a:pt x="25008" y="190266"/>
                    <a:pt x="15126" y="173327"/>
                  </a:cubicBezTo>
                  <a:cubicBezTo>
                    <a:pt x="5243" y="156388"/>
                    <a:pt x="202" y="136429"/>
                    <a:pt x="0" y="113451"/>
                  </a:cubicBezTo>
                  <a:cubicBezTo>
                    <a:pt x="161" y="91957"/>
                    <a:pt x="5040" y="72697"/>
                    <a:pt x="14636" y="55671"/>
                  </a:cubicBezTo>
                  <a:cubicBezTo>
                    <a:pt x="24233" y="38645"/>
                    <a:pt x="37586" y="25164"/>
                    <a:pt x="54694" y="15230"/>
                  </a:cubicBezTo>
                  <a:cubicBezTo>
                    <a:pt x="71801" y="5295"/>
                    <a:pt x="91701" y="218"/>
                    <a:pt x="114395" y="0"/>
                  </a:cubicBezTo>
                  <a:close/>
                  <a:moveTo>
                    <a:pt x="114395" y="36108"/>
                  </a:moveTo>
                  <a:cubicBezTo>
                    <a:pt x="92897" y="36481"/>
                    <a:pt x="75369" y="43673"/>
                    <a:pt x="61810" y="57683"/>
                  </a:cubicBezTo>
                  <a:cubicBezTo>
                    <a:pt x="48251" y="71694"/>
                    <a:pt x="41256" y="90283"/>
                    <a:pt x="40823" y="113451"/>
                  </a:cubicBezTo>
                  <a:cubicBezTo>
                    <a:pt x="41315" y="135931"/>
                    <a:pt x="48428" y="154324"/>
                    <a:pt x="62164" y="168629"/>
                  </a:cubicBezTo>
                  <a:cubicBezTo>
                    <a:pt x="75899" y="182935"/>
                    <a:pt x="93310" y="190323"/>
                    <a:pt x="114395" y="190795"/>
                  </a:cubicBezTo>
                  <a:cubicBezTo>
                    <a:pt x="137693" y="190284"/>
                    <a:pt x="155785" y="182817"/>
                    <a:pt x="168669" y="168393"/>
                  </a:cubicBezTo>
                  <a:cubicBezTo>
                    <a:pt x="181554" y="153970"/>
                    <a:pt x="188091" y="135656"/>
                    <a:pt x="188281" y="113451"/>
                  </a:cubicBezTo>
                  <a:cubicBezTo>
                    <a:pt x="187796" y="90283"/>
                    <a:pt x="180670" y="71694"/>
                    <a:pt x="166901" y="57683"/>
                  </a:cubicBezTo>
                  <a:cubicBezTo>
                    <a:pt x="153132" y="43673"/>
                    <a:pt x="135630" y="36481"/>
                    <a:pt x="114395" y="36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4" name="Полілінія: фігура 13">
              <a:extLst>
                <a:ext uri="{FF2B5EF4-FFF2-40B4-BE49-F238E27FC236}">
                  <a16:creationId xmlns:a16="http://schemas.microsoft.com/office/drawing/2014/main" id="{065B9CDD-C7F8-52A5-3356-886D14B0DAAD}"/>
                </a:ext>
              </a:extLst>
            </p:cNvPr>
            <p:cNvSpPr/>
            <p:nvPr/>
          </p:nvSpPr>
          <p:spPr>
            <a:xfrm>
              <a:off x="7720995" y="212026"/>
              <a:ext cx="145494" cy="226903"/>
            </a:xfrm>
            <a:custGeom>
              <a:avLst/>
              <a:gdLst/>
              <a:ahLst/>
              <a:cxnLst/>
              <a:rect l="l" t="t" r="r" b="b"/>
              <a:pathLst>
                <a:path w="145494" h="226903">
                  <a:moveTo>
                    <a:pt x="73532" y="0"/>
                  </a:moveTo>
                  <a:cubicBezTo>
                    <a:pt x="87161" y="78"/>
                    <a:pt x="99369" y="2197"/>
                    <a:pt x="110157" y="6358"/>
                  </a:cubicBezTo>
                  <a:cubicBezTo>
                    <a:pt x="120945" y="10518"/>
                    <a:pt x="129688" y="16248"/>
                    <a:pt x="136387" y="23548"/>
                  </a:cubicBezTo>
                  <a:lnTo>
                    <a:pt x="115661" y="52456"/>
                  </a:lnTo>
                  <a:cubicBezTo>
                    <a:pt x="110467" y="47236"/>
                    <a:pt x="104837" y="43214"/>
                    <a:pt x="98771" y="40391"/>
                  </a:cubicBezTo>
                  <a:cubicBezTo>
                    <a:pt x="92705" y="37568"/>
                    <a:pt x="85340" y="36140"/>
                    <a:pt x="76677" y="36108"/>
                  </a:cubicBezTo>
                  <a:cubicBezTo>
                    <a:pt x="66999" y="36212"/>
                    <a:pt x="59463" y="38439"/>
                    <a:pt x="54070" y="42788"/>
                  </a:cubicBezTo>
                  <a:cubicBezTo>
                    <a:pt x="48677" y="47137"/>
                    <a:pt x="45938" y="52980"/>
                    <a:pt x="45853" y="60316"/>
                  </a:cubicBezTo>
                  <a:cubicBezTo>
                    <a:pt x="46372" y="71329"/>
                    <a:pt x="51561" y="79742"/>
                    <a:pt x="61422" y="85557"/>
                  </a:cubicBezTo>
                  <a:cubicBezTo>
                    <a:pt x="71282" y="91372"/>
                    <a:pt x="82699" y="96897"/>
                    <a:pt x="95673" y="102132"/>
                  </a:cubicBezTo>
                  <a:cubicBezTo>
                    <a:pt x="108647" y="107367"/>
                    <a:pt x="120064" y="114622"/>
                    <a:pt x="129925" y="123895"/>
                  </a:cubicBezTo>
                  <a:cubicBezTo>
                    <a:pt x="139785" y="133168"/>
                    <a:pt x="144975" y="146770"/>
                    <a:pt x="145494" y="164699"/>
                  </a:cubicBezTo>
                  <a:cubicBezTo>
                    <a:pt x="145004" y="183516"/>
                    <a:pt x="137897" y="198519"/>
                    <a:pt x="124173" y="209708"/>
                  </a:cubicBezTo>
                  <a:cubicBezTo>
                    <a:pt x="110448" y="220897"/>
                    <a:pt x="93044" y="226629"/>
                    <a:pt x="71959" y="226903"/>
                  </a:cubicBezTo>
                  <a:cubicBezTo>
                    <a:pt x="62358" y="226889"/>
                    <a:pt x="52737" y="225556"/>
                    <a:pt x="43097" y="222903"/>
                  </a:cubicBezTo>
                  <a:cubicBezTo>
                    <a:pt x="33457" y="220249"/>
                    <a:pt x="24796" y="216357"/>
                    <a:pt x="17114" y="211227"/>
                  </a:cubicBezTo>
                  <a:cubicBezTo>
                    <a:pt x="9432" y="206097"/>
                    <a:pt x="3727" y="199809"/>
                    <a:pt x="0" y="192365"/>
                  </a:cubicBezTo>
                  <a:lnTo>
                    <a:pt x="21987" y="165957"/>
                  </a:lnTo>
                  <a:cubicBezTo>
                    <a:pt x="28667" y="174282"/>
                    <a:pt x="36586" y="180505"/>
                    <a:pt x="45746" y="184625"/>
                  </a:cubicBezTo>
                  <a:cubicBezTo>
                    <a:pt x="54906" y="188745"/>
                    <a:pt x="63853" y="190801"/>
                    <a:pt x="72588" y="190795"/>
                  </a:cubicBezTo>
                  <a:cubicBezTo>
                    <a:pt x="81906" y="190762"/>
                    <a:pt x="89534" y="188548"/>
                    <a:pt x="95470" y="184153"/>
                  </a:cubicBezTo>
                  <a:cubicBezTo>
                    <a:pt x="101408" y="179758"/>
                    <a:pt x="104474" y="173378"/>
                    <a:pt x="104671" y="165014"/>
                  </a:cubicBezTo>
                  <a:cubicBezTo>
                    <a:pt x="104152" y="154522"/>
                    <a:pt x="98962" y="146344"/>
                    <a:pt x="89102" y="140480"/>
                  </a:cubicBezTo>
                  <a:cubicBezTo>
                    <a:pt x="79241" y="134616"/>
                    <a:pt x="67824" y="128934"/>
                    <a:pt x="54850" y="123433"/>
                  </a:cubicBezTo>
                  <a:cubicBezTo>
                    <a:pt x="41876" y="117933"/>
                    <a:pt x="30459" y="110482"/>
                    <a:pt x="20599" y="101081"/>
                  </a:cubicBezTo>
                  <a:cubicBezTo>
                    <a:pt x="10738" y="91680"/>
                    <a:pt x="5549" y="78196"/>
                    <a:pt x="5030" y="60631"/>
                  </a:cubicBezTo>
                  <a:cubicBezTo>
                    <a:pt x="5212" y="43667"/>
                    <a:pt x="11285" y="29436"/>
                    <a:pt x="23249" y="17940"/>
                  </a:cubicBezTo>
                  <a:cubicBezTo>
                    <a:pt x="35212" y="6443"/>
                    <a:pt x="51973" y="463"/>
                    <a:pt x="73532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5" name="Полілінія: фігура 14">
              <a:extLst>
                <a:ext uri="{FF2B5EF4-FFF2-40B4-BE49-F238E27FC236}">
                  <a16:creationId xmlns:a16="http://schemas.microsoft.com/office/drawing/2014/main" id="{0BB702EE-4F4C-D78E-D103-20C1746C6C7C}"/>
                </a:ext>
              </a:extLst>
            </p:cNvPr>
            <p:cNvSpPr/>
            <p:nvPr/>
          </p:nvSpPr>
          <p:spPr>
            <a:xfrm>
              <a:off x="4470265" y="214854"/>
              <a:ext cx="173154" cy="220616"/>
            </a:xfrm>
            <a:custGeom>
              <a:avLst/>
              <a:gdLst/>
              <a:ahLst/>
              <a:cxnLst/>
              <a:rect l="l" t="t" r="r" b="b"/>
              <a:pathLst>
                <a:path w="173154" h="220616">
                  <a:moveTo>
                    <a:pt x="66929" y="0"/>
                  </a:moveTo>
                  <a:cubicBezTo>
                    <a:pt x="96522" y="450"/>
                    <a:pt x="117330" y="7006"/>
                    <a:pt x="129354" y="19669"/>
                  </a:cubicBezTo>
                  <a:cubicBezTo>
                    <a:pt x="141379" y="32332"/>
                    <a:pt x="147177" y="48400"/>
                    <a:pt x="146751" y="67873"/>
                  </a:cubicBezTo>
                  <a:cubicBezTo>
                    <a:pt x="146565" y="80413"/>
                    <a:pt x="144250" y="90970"/>
                    <a:pt x="139807" y="99545"/>
                  </a:cubicBezTo>
                  <a:cubicBezTo>
                    <a:pt x="135364" y="108120"/>
                    <a:pt x="129910" y="114947"/>
                    <a:pt x="123443" y="120027"/>
                  </a:cubicBezTo>
                  <a:cubicBezTo>
                    <a:pt x="116976" y="125107"/>
                    <a:pt x="110613" y="128673"/>
                    <a:pt x="104355" y="130728"/>
                  </a:cubicBezTo>
                  <a:lnTo>
                    <a:pt x="173154" y="220616"/>
                  </a:lnTo>
                  <a:lnTo>
                    <a:pt x="126339" y="220616"/>
                  </a:lnTo>
                  <a:lnTo>
                    <a:pt x="65671" y="138263"/>
                  </a:lnTo>
                  <a:lnTo>
                    <a:pt x="38623" y="138263"/>
                  </a:lnTo>
                  <a:lnTo>
                    <a:pt x="38623" y="220616"/>
                  </a:lnTo>
                  <a:lnTo>
                    <a:pt x="0" y="220616"/>
                  </a:lnTo>
                  <a:lnTo>
                    <a:pt x="0" y="627"/>
                  </a:lnTo>
                  <a:cubicBezTo>
                    <a:pt x="4565" y="620"/>
                    <a:pt x="11698" y="565"/>
                    <a:pt x="21397" y="465"/>
                  </a:cubicBezTo>
                  <a:cubicBezTo>
                    <a:pt x="31097" y="364"/>
                    <a:pt x="40465" y="263"/>
                    <a:pt x="49503" y="162"/>
                  </a:cubicBezTo>
                  <a:cubicBezTo>
                    <a:pt x="58540" y="62"/>
                    <a:pt x="64349" y="7"/>
                    <a:pt x="66929" y="0"/>
                  </a:cubicBezTo>
                  <a:close/>
                  <a:moveTo>
                    <a:pt x="65042" y="36108"/>
                  </a:moveTo>
                  <a:cubicBezTo>
                    <a:pt x="61425" y="36114"/>
                    <a:pt x="57415" y="36180"/>
                    <a:pt x="53012" y="36304"/>
                  </a:cubicBezTo>
                  <a:cubicBezTo>
                    <a:pt x="48609" y="36429"/>
                    <a:pt x="43812" y="36573"/>
                    <a:pt x="38623" y="36737"/>
                  </a:cubicBezTo>
                  <a:lnTo>
                    <a:pt x="38623" y="102155"/>
                  </a:lnTo>
                  <a:lnTo>
                    <a:pt x="63784" y="102155"/>
                  </a:lnTo>
                  <a:cubicBezTo>
                    <a:pt x="75309" y="102155"/>
                    <a:pt x="85124" y="99325"/>
                    <a:pt x="93230" y="93663"/>
                  </a:cubicBezTo>
                  <a:cubicBezTo>
                    <a:pt x="101335" y="88002"/>
                    <a:pt x="105568" y="79510"/>
                    <a:pt x="105928" y="68188"/>
                  </a:cubicBezTo>
                  <a:cubicBezTo>
                    <a:pt x="106190" y="59283"/>
                    <a:pt x="103307" y="51774"/>
                    <a:pt x="97279" y="45661"/>
                  </a:cubicBezTo>
                  <a:cubicBezTo>
                    <a:pt x="91251" y="39548"/>
                    <a:pt x="80505" y="36363"/>
                    <a:pt x="65042" y="36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6" name="Полілінія: фігура 15">
              <a:extLst>
                <a:ext uri="{FF2B5EF4-FFF2-40B4-BE49-F238E27FC236}">
                  <a16:creationId xmlns:a16="http://schemas.microsoft.com/office/drawing/2014/main" id="{2A3AB572-C0A7-96D5-ED66-985B174B2CB6}"/>
                </a:ext>
              </a:extLst>
            </p:cNvPr>
            <p:cNvSpPr/>
            <p:nvPr/>
          </p:nvSpPr>
          <p:spPr>
            <a:xfrm>
              <a:off x="6908933" y="214854"/>
              <a:ext cx="220027" cy="220616"/>
            </a:xfrm>
            <a:custGeom>
              <a:avLst/>
              <a:gdLst/>
              <a:ahLst/>
              <a:cxnLst/>
              <a:rect l="l" t="t" r="r" b="b"/>
              <a:pathLst>
                <a:path w="220027" h="220616">
                  <a:moveTo>
                    <a:pt x="93040" y="0"/>
                  </a:moveTo>
                  <a:lnTo>
                    <a:pt x="126987" y="0"/>
                  </a:lnTo>
                  <a:lnTo>
                    <a:pt x="220027" y="220616"/>
                  </a:lnTo>
                  <a:lnTo>
                    <a:pt x="178850" y="220616"/>
                  </a:lnTo>
                  <a:lnTo>
                    <a:pt x="155905" y="164352"/>
                  </a:lnTo>
                  <a:lnTo>
                    <a:pt x="61921" y="164352"/>
                  </a:lnTo>
                  <a:lnTo>
                    <a:pt x="38976" y="220616"/>
                  </a:lnTo>
                  <a:lnTo>
                    <a:pt x="0" y="220616"/>
                  </a:lnTo>
                  <a:lnTo>
                    <a:pt x="93040" y="0"/>
                  </a:lnTo>
                  <a:close/>
                  <a:moveTo>
                    <a:pt x="109070" y="49977"/>
                  </a:moveTo>
                  <a:lnTo>
                    <a:pt x="76695" y="128244"/>
                  </a:lnTo>
                  <a:lnTo>
                    <a:pt x="141131" y="128244"/>
                  </a:lnTo>
                  <a:lnTo>
                    <a:pt x="109070" y="4997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7" name="Полілінія: фігура 16">
              <a:extLst>
                <a:ext uri="{FF2B5EF4-FFF2-40B4-BE49-F238E27FC236}">
                  <a16:creationId xmlns:a16="http://schemas.microsoft.com/office/drawing/2014/main" id="{A2E0C58D-6384-2A11-C41D-00311F8E5456}"/>
                </a:ext>
              </a:extLst>
            </p:cNvPr>
            <p:cNvSpPr/>
            <p:nvPr/>
          </p:nvSpPr>
          <p:spPr>
            <a:xfrm>
              <a:off x="7165840" y="214854"/>
              <a:ext cx="173154" cy="220616"/>
            </a:xfrm>
            <a:custGeom>
              <a:avLst/>
              <a:gdLst/>
              <a:ahLst/>
              <a:cxnLst/>
              <a:rect l="l" t="t" r="r" b="b"/>
              <a:pathLst>
                <a:path w="173154" h="220616">
                  <a:moveTo>
                    <a:pt x="66929" y="0"/>
                  </a:moveTo>
                  <a:cubicBezTo>
                    <a:pt x="96521" y="450"/>
                    <a:pt x="117330" y="7006"/>
                    <a:pt x="129354" y="19669"/>
                  </a:cubicBezTo>
                  <a:cubicBezTo>
                    <a:pt x="141378" y="32332"/>
                    <a:pt x="147177" y="48400"/>
                    <a:pt x="146751" y="67873"/>
                  </a:cubicBezTo>
                  <a:cubicBezTo>
                    <a:pt x="146565" y="80413"/>
                    <a:pt x="144250" y="90970"/>
                    <a:pt x="139807" y="99545"/>
                  </a:cubicBezTo>
                  <a:cubicBezTo>
                    <a:pt x="135364" y="108120"/>
                    <a:pt x="129910" y="114947"/>
                    <a:pt x="123442" y="120027"/>
                  </a:cubicBezTo>
                  <a:cubicBezTo>
                    <a:pt x="116976" y="125107"/>
                    <a:pt x="110613" y="128673"/>
                    <a:pt x="104355" y="130728"/>
                  </a:cubicBezTo>
                  <a:lnTo>
                    <a:pt x="173154" y="220616"/>
                  </a:lnTo>
                  <a:lnTo>
                    <a:pt x="126339" y="220616"/>
                  </a:lnTo>
                  <a:lnTo>
                    <a:pt x="65671" y="138263"/>
                  </a:lnTo>
                  <a:lnTo>
                    <a:pt x="38623" y="138263"/>
                  </a:lnTo>
                  <a:lnTo>
                    <a:pt x="38623" y="220616"/>
                  </a:lnTo>
                  <a:lnTo>
                    <a:pt x="0" y="220616"/>
                  </a:lnTo>
                  <a:lnTo>
                    <a:pt x="0" y="627"/>
                  </a:lnTo>
                  <a:cubicBezTo>
                    <a:pt x="4565" y="620"/>
                    <a:pt x="11698" y="565"/>
                    <a:pt x="21397" y="465"/>
                  </a:cubicBezTo>
                  <a:cubicBezTo>
                    <a:pt x="31097" y="364"/>
                    <a:pt x="40465" y="263"/>
                    <a:pt x="49503" y="162"/>
                  </a:cubicBezTo>
                  <a:cubicBezTo>
                    <a:pt x="58540" y="62"/>
                    <a:pt x="64349" y="7"/>
                    <a:pt x="66929" y="0"/>
                  </a:cubicBezTo>
                  <a:close/>
                  <a:moveTo>
                    <a:pt x="65042" y="36108"/>
                  </a:moveTo>
                  <a:cubicBezTo>
                    <a:pt x="61425" y="36114"/>
                    <a:pt x="57415" y="36180"/>
                    <a:pt x="53012" y="36304"/>
                  </a:cubicBezTo>
                  <a:cubicBezTo>
                    <a:pt x="48608" y="36429"/>
                    <a:pt x="43812" y="36573"/>
                    <a:pt x="38623" y="36737"/>
                  </a:cubicBezTo>
                  <a:lnTo>
                    <a:pt x="38623" y="102155"/>
                  </a:lnTo>
                  <a:lnTo>
                    <a:pt x="63784" y="102155"/>
                  </a:lnTo>
                  <a:cubicBezTo>
                    <a:pt x="75309" y="102155"/>
                    <a:pt x="85124" y="99325"/>
                    <a:pt x="93230" y="93663"/>
                  </a:cubicBezTo>
                  <a:cubicBezTo>
                    <a:pt x="101335" y="88002"/>
                    <a:pt x="105567" y="79510"/>
                    <a:pt x="105928" y="68188"/>
                  </a:cubicBezTo>
                  <a:cubicBezTo>
                    <a:pt x="106190" y="59283"/>
                    <a:pt x="103307" y="51774"/>
                    <a:pt x="97279" y="45661"/>
                  </a:cubicBezTo>
                  <a:cubicBezTo>
                    <a:pt x="91251" y="39548"/>
                    <a:pt x="80505" y="36363"/>
                    <a:pt x="65042" y="36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8" name="Полілінія: фігура 17">
              <a:extLst>
                <a:ext uri="{FF2B5EF4-FFF2-40B4-BE49-F238E27FC236}">
                  <a16:creationId xmlns:a16="http://schemas.microsoft.com/office/drawing/2014/main" id="{4E95B681-0DF0-3257-DA01-E157EFCD2FC8}"/>
                </a:ext>
              </a:extLst>
            </p:cNvPr>
            <p:cNvSpPr/>
            <p:nvPr/>
          </p:nvSpPr>
          <p:spPr>
            <a:xfrm>
              <a:off x="4252419" y="215796"/>
              <a:ext cx="181326" cy="219674"/>
            </a:xfrm>
            <a:custGeom>
              <a:avLst/>
              <a:gdLst/>
              <a:ahLst/>
              <a:cxnLst/>
              <a:rect l="l" t="t" r="r" b="b"/>
              <a:pathLst>
                <a:path w="181326" h="219674">
                  <a:moveTo>
                    <a:pt x="0" y="0"/>
                  </a:moveTo>
                  <a:lnTo>
                    <a:pt x="181326" y="0"/>
                  </a:lnTo>
                  <a:lnTo>
                    <a:pt x="181326" y="36109"/>
                  </a:lnTo>
                  <a:lnTo>
                    <a:pt x="109975" y="36109"/>
                  </a:lnTo>
                  <a:lnTo>
                    <a:pt x="109975" y="219674"/>
                  </a:lnTo>
                  <a:lnTo>
                    <a:pt x="71352" y="219674"/>
                  </a:lnTo>
                  <a:lnTo>
                    <a:pt x="71352" y="36109"/>
                  </a:lnTo>
                  <a:lnTo>
                    <a:pt x="0" y="3610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9" name="Полілінія: фігура 18">
              <a:extLst>
                <a:ext uri="{FF2B5EF4-FFF2-40B4-BE49-F238E27FC236}">
                  <a16:creationId xmlns:a16="http://schemas.microsoft.com/office/drawing/2014/main" id="{28F6A3F6-244C-9AAB-AF55-BC9C1045F8FE}"/>
                </a:ext>
              </a:extLst>
            </p:cNvPr>
            <p:cNvSpPr/>
            <p:nvPr/>
          </p:nvSpPr>
          <p:spPr>
            <a:xfrm>
              <a:off x="4679815" y="215796"/>
              <a:ext cx="130406" cy="219674"/>
            </a:xfrm>
            <a:custGeom>
              <a:avLst/>
              <a:gdLst/>
              <a:ahLst/>
              <a:cxnLst/>
              <a:rect l="l" t="t" r="r" b="b"/>
              <a:pathLst>
                <a:path w="130406" h="219674">
                  <a:moveTo>
                    <a:pt x="0" y="0"/>
                  </a:moveTo>
                  <a:lnTo>
                    <a:pt x="127263" y="0"/>
                  </a:lnTo>
                  <a:lnTo>
                    <a:pt x="127263" y="36109"/>
                  </a:lnTo>
                  <a:lnTo>
                    <a:pt x="38623" y="36109"/>
                  </a:lnTo>
                  <a:lnTo>
                    <a:pt x="38623" y="90526"/>
                  </a:lnTo>
                  <a:lnTo>
                    <a:pt x="117833" y="90526"/>
                  </a:lnTo>
                  <a:lnTo>
                    <a:pt x="117833" y="126634"/>
                  </a:lnTo>
                  <a:lnTo>
                    <a:pt x="38623" y="126634"/>
                  </a:lnTo>
                  <a:lnTo>
                    <a:pt x="38623" y="183566"/>
                  </a:lnTo>
                  <a:lnTo>
                    <a:pt x="130406" y="183566"/>
                  </a:lnTo>
                  <a:lnTo>
                    <a:pt x="130406" y="219674"/>
                  </a:lnTo>
                  <a:lnTo>
                    <a:pt x="0" y="21967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0" name="Полілінія: фігура 19">
              <a:extLst>
                <a:ext uri="{FF2B5EF4-FFF2-40B4-BE49-F238E27FC236}">
                  <a16:creationId xmlns:a16="http://schemas.microsoft.com/office/drawing/2014/main" id="{B6F3D9C2-015B-7A0C-2968-E75DDB01387B}"/>
                </a:ext>
              </a:extLst>
            </p:cNvPr>
            <p:cNvSpPr/>
            <p:nvPr/>
          </p:nvSpPr>
          <p:spPr>
            <a:xfrm>
              <a:off x="5281119" y="215796"/>
              <a:ext cx="181326" cy="219674"/>
            </a:xfrm>
            <a:custGeom>
              <a:avLst/>
              <a:gdLst/>
              <a:ahLst/>
              <a:cxnLst/>
              <a:rect l="l" t="t" r="r" b="b"/>
              <a:pathLst>
                <a:path w="181326" h="219674">
                  <a:moveTo>
                    <a:pt x="0" y="0"/>
                  </a:moveTo>
                  <a:lnTo>
                    <a:pt x="181326" y="0"/>
                  </a:lnTo>
                  <a:lnTo>
                    <a:pt x="181326" y="36109"/>
                  </a:lnTo>
                  <a:lnTo>
                    <a:pt x="109975" y="36109"/>
                  </a:lnTo>
                  <a:lnTo>
                    <a:pt x="109975" y="219674"/>
                  </a:lnTo>
                  <a:lnTo>
                    <a:pt x="71352" y="219674"/>
                  </a:lnTo>
                  <a:lnTo>
                    <a:pt x="71352" y="36109"/>
                  </a:lnTo>
                  <a:lnTo>
                    <a:pt x="0" y="3610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1" name="Полілінія: фігура 20">
              <a:extLst>
                <a:ext uri="{FF2B5EF4-FFF2-40B4-BE49-F238E27FC236}">
                  <a16:creationId xmlns:a16="http://schemas.microsoft.com/office/drawing/2014/main" id="{AC05281A-0530-E3FE-23CF-6F486B3650D9}"/>
                </a:ext>
              </a:extLst>
            </p:cNvPr>
            <p:cNvSpPr/>
            <p:nvPr/>
          </p:nvSpPr>
          <p:spPr>
            <a:xfrm>
              <a:off x="5498965" y="215796"/>
              <a:ext cx="130406" cy="219674"/>
            </a:xfrm>
            <a:custGeom>
              <a:avLst/>
              <a:gdLst/>
              <a:ahLst/>
              <a:cxnLst/>
              <a:rect l="l" t="t" r="r" b="b"/>
              <a:pathLst>
                <a:path w="130406" h="219674">
                  <a:moveTo>
                    <a:pt x="0" y="0"/>
                  </a:moveTo>
                  <a:lnTo>
                    <a:pt x="127263" y="0"/>
                  </a:lnTo>
                  <a:lnTo>
                    <a:pt x="127263" y="36109"/>
                  </a:lnTo>
                  <a:lnTo>
                    <a:pt x="38623" y="36109"/>
                  </a:lnTo>
                  <a:lnTo>
                    <a:pt x="38623" y="90526"/>
                  </a:lnTo>
                  <a:lnTo>
                    <a:pt x="117833" y="90526"/>
                  </a:lnTo>
                  <a:lnTo>
                    <a:pt x="117833" y="126634"/>
                  </a:lnTo>
                  <a:lnTo>
                    <a:pt x="38623" y="126634"/>
                  </a:lnTo>
                  <a:lnTo>
                    <a:pt x="38623" y="183566"/>
                  </a:lnTo>
                  <a:lnTo>
                    <a:pt x="130406" y="183566"/>
                  </a:lnTo>
                  <a:lnTo>
                    <a:pt x="130406" y="219674"/>
                  </a:lnTo>
                  <a:lnTo>
                    <a:pt x="0" y="21967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2" name="Полілінія: фігура 21">
              <a:extLst>
                <a:ext uri="{FF2B5EF4-FFF2-40B4-BE49-F238E27FC236}">
                  <a16:creationId xmlns:a16="http://schemas.microsoft.com/office/drawing/2014/main" id="{0D03080D-C822-0F9B-C7F4-1D5614F07EC5}"/>
                </a:ext>
              </a:extLst>
            </p:cNvPr>
            <p:cNvSpPr/>
            <p:nvPr/>
          </p:nvSpPr>
          <p:spPr>
            <a:xfrm>
              <a:off x="5824044" y="215796"/>
              <a:ext cx="181326" cy="219674"/>
            </a:xfrm>
            <a:custGeom>
              <a:avLst/>
              <a:gdLst/>
              <a:ahLst/>
              <a:cxnLst/>
              <a:rect l="l" t="t" r="r" b="b"/>
              <a:pathLst>
                <a:path w="181326" h="219674">
                  <a:moveTo>
                    <a:pt x="0" y="0"/>
                  </a:moveTo>
                  <a:lnTo>
                    <a:pt x="181326" y="0"/>
                  </a:lnTo>
                  <a:lnTo>
                    <a:pt x="181326" y="36109"/>
                  </a:lnTo>
                  <a:lnTo>
                    <a:pt x="109975" y="36109"/>
                  </a:lnTo>
                  <a:lnTo>
                    <a:pt x="109975" y="219674"/>
                  </a:lnTo>
                  <a:lnTo>
                    <a:pt x="71352" y="219674"/>
                  </a:lnTo>
                  <a:lnTo>
                    <a:pt x="71352" y="36109"/>
                  </a:lnTo>
                  <a:lnTo>
                    <a:pt x="0" y="3610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3" name="Полілінія: фігура 22">
              <a:extLst>
                <a:ext uri="{FF2B5EF4-FFF2-40B4-BE49-F238E27FC236}">
                  <a16:creationId xmlns:a16="http://schemas.microsoft.com/office/drawing/2014/main" id="{A1A91F05-0958-B746-CF0C-624800CDD58E}"/>
                </a:ext>
              </a:extLst>
            </p:cNvPr>
            <p:cNvSpPr/>
            <p:nvPr/>
          </p:nvSpPr>
          <p:spPr>
            <a:xfrm>
              <a:off x="6508615" y="215796"/>
              <a:ext cx="130406" cy="219674"/>
            </a:xfrm>
            <a:custGeom>
              <a:avLst/>
              <a:gdLst/>
              <a:ahLst/>
              <a:cxnLst/>
              <a:rect l="l" t="t" r="r" b="b"/>
              <a:pathLst>
                <a:path w="130406" h="219674">
                  <a:moveTo>
                    <a:pt x="0" y="0"/>
                  </a:moveTo>
                  <a:lnTo>
                    <a:pt x="127263" y="0"/>
                  </a:lnTo>
                  <a:lnTo>
                    <a:pt x="127263" y="36109"/>
                  </a:lnTo>
                  <a:lnTo>
                    <a:pt x="38623" y="36109"/>
                  </a:lnTo>
                  <a:lnTo>
                    <a:pt x="38623" y="90526"/>
                  </a:lnTo>
                  <a:lnTo>
                    <a:pt x="117833" y="90526"/>
                  </a:lnTo>
                  <a:lnTo>
                    <a:pt x="117833" y="126634"/>
                  </a:lnTo>
                  <a:lnTo>
                    <a:pt x="38623" y="126634"/>
                  </a:lnTo>
                  <a:lnTo>
                    <a:pt x="38623" y="183566"/>
                  </a:lnTo>
                  <a:lnTo>
                    <a:pt x="130406" y="183566"/>
                  </a:lnTo>
                  <a:lnTo>
                    <a:pt x="130406" y="219674"/>
                  </a:lnTo>
                  <a:lnTo>
                    <a:pt x="0" y="21967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4" name="Полілінія: фігура 23">
              <a:extLst>
                <a:ext uri="{FF2B5EF4-FFF2-40B4-BE49-F238E27FC236}">
                  <a16:creationId xmlns:a16="http://schemas.microsoft.com/office/drawing/2014/main" id="{DEB351D7-CD76-ADDA-F0FB-BB6699DB4FD2}"/>
                </a:ext>
              </a:extLst>
            </p:cNvPr>
            <p:cNvSpPr/>
            <p:nvPr/>
          </p:nvSpPr>
          <p:spPr>
            <a:xfrm>
              <a:off x="6689591" y="215796"/>
              <a:ext cx="187927" cy="219674"/>
            </a:xfrm>
            <a:custGeom>
              <a:avLst/>
              <a:gdLst/>
              <a:ahLst/>
              <a:cxnLst/>
              <a:rect l="l" t="t" r="r" b="b"/>
              <a:pathLst>
                <a:path w="187927" h="219674">
                  <a:moveTo>
                    <a:pt x="0" y="0"/>
                  </a:moveTo>
                  <a:lnTo>
                    <a:pt x="30771" y="0"/>
                  </a:lnTo>
                  <a:lnTo>
                    <a:pt x="151819" y="152830"/>
                  </a:lnTo>
                  <a:lnTo>
                    <a:pt x="151819" y="0"/>
                  </a:lnTo>
                  <a:lnTo>
                    <a:pt x="187927" y="0"/>
                  </a:lnTo>
                  <a:lnTo>
                    <a:pt x="187927" y="219674"/>
                  </a:lnTo>
                  <a:lnTo>
                    <a:pt x="157157" y="219674"/>
                  </a:lnTo>
                  <a:lnTo>
                    <a:pt x="36109" y="67471"/>
                  </a:lnTo>
                  <a:lnTo>
                    <a:pt x="36109" y="219674"/>
                  </a:lnTo>
                  <a:lnTo>
                    <a:pt x="0" y="21967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5" name="Полілінія: фігура 24">
              <a:extLst>
                <a:ext uri="{FF2B5EF4-FFF2-40B4-BE49-F238E27FC236}">
                  <a16:creationId xmlns:a16="http://schemas.microsoft.com/office/drawing/2014/main" id="{990CF90C-96B0-3CEC-7E00-4BD0D253F7B1}"/>
                </a:ext>
              </a:extLst>
            </p:cNvPr>
            <p:cNvSpPr/>
            <p:nvPr/>
          </p:nvSpPr>
          <p:spPr>
            <a:xfrm>
              <a:off x="7380106" y="215796"/>
              <a:ext cx="38623" cy="219674"/>
            </a:xfrm>
            <a:custGeom>
              <a:avLst/>
              <a:gdLst/>
              <a:ahLst/>
              <a:cxnLst/>
              <a:rect l="l" t="t" r="r" b="b"/>
              <a:pathLst>
                <a:path w="38623" h="219674">
                  <a:moveTo>
                    <a:pt x="0" y="0"/>
                  </a:moveTo>
                  <a:lnTo>
                    <a:pt x="38623" y="0"/>
                  </a:lnTo>
                  <a:lnTo>
                    <a:pt x="38623" y="219674"/>
                  </a:lnTo>
                  <a:lnTo>
                    <a:pt x="0" y="21967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6" name="Полілінія: фігура 25">
              <a:extLst>
                <a:ext uri="{FF2B5EF4-FFF2-40B4-BE49-F238E27FC236}">
                  <a16:creationId xmlns:a16="http://schemas.microsoft.com/office/drawing/2014/main" id="{738A2022-013F-0AD9-D498-AA2091049491}"/>
                </a:ext>
              </a:extLst>
            </p:cNvPr>
            <p:cNvSpPr/>
            <p:nvPr/>
          </p:nvSpPr>
          <p:spPr>
            <a:xfrm>
              <a:off x="5192669" y="332725"/>
              <a:ext cx="79210" cy="33594"/>
            </a:xfrm>
            <a:custGeom>
              <a:avLst/>
              <a:gdLst/>
              <a:ahLst/>
              <a:cxnLst/>
              <a:rect l="l" t="t" r="r" b="b"/>
              <a:pathLst>
                <a:path w="79210" h="33594">
                  <a:moveTo>
                    <a:pt x="0" y="0"/>
                  </a:moveTo>
                  <a:lnTo>
                    <a:pt x="79210" y="0"/>
                  </a:lnTo>
                  <a:lnTo>
                    <a:pt x="79210" y="33594"/>
                  </a:lnTo>
                  <a:lnTo>
                    <a:pt x="0" y="3359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sp>
        <p:nvSpPr>
          <p:cNvPr id="27" name="Полілінія: фігура 26">
            <a:extLst>
              <a:ext uri="{FF2B5EF4-FFF2-40B4-BE49-F238E27FC236}">
                <a16:creationId xmlns:a16="http://schemas.microsoft.com/office/drawing/2014/main" id="{D8052EAD-82A2-42EB-0775-BDF8A5799168}"/>
              </a:ext>
            </a:extLst>
          </p:cNvPr>
          <p:cNvSpPr/>
          <p:nvPr/>
        </p:nvSpPr>
        <p:spPr>
          <a:xfrm>
            <a:off x="-612124" y="-926802"/>
            <a:ext cx="1457307" cy="908466"/>
          </a:xfrm>
          <a:custGeom>
            <a:avLst/>
            <a:gdLst>
              <a:gd name="connsiteX0" fmla="*/ 7472 w 1457307"/>
              <a:gd name="connsiteY0" fmla="*/ 0 h 908466"/>
              <a:gd name="connsiteX1" fmla="*/ 1457307 w 1457307"/>
              <a:gd name="connsiteY1" fmla="*/ 908466 h 908466"/>
              <a:gd name="connsiteX2" fmla="*/ 1442640 w 1457307"/>
              <a:gd name="connsiteY2" fmla="*/ 908466 h 908466"/>
              <a:gd name="connsiteX3" fmla="*/ 0 w 1457307"/>
              <a:gd name="connsiteY3" fmla="*/ 4507 h 908466"/>
              <a:gd name="connsiteX4" fmla="*/ 7472 w 1457307"/>
              <a:gd name="connsiteY4" fmla="*/ 0 h 908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7307" h="908466">
                <a:moveTo>
                  <a:pt x="7472" y="0"/>
                </a:moveTo>
                <a:lnTo>
                  <a:pt x="1457307" y="908466"/>
                </a:lnTo>
                <a:lnTo>
                  <a:pt x="1442640" y="908466"/>
                </a:lnTo>
                <a:lnTo>
                  <a:pt x="0" y="4507"/>
                </a:lnTo>
                <a:lnTo>
                  <a:pt x="7472" y="0"/>
                </a:lnTo>
                <a:close/>
              </a:path>
            </a:pathLst>
          </a:custGeom>
          <a:solidFill>
            <a:srgbClr val="757C88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uk-UA"/>
          </a:p>
        </p:txBody>
      </p:sp>
      <p:grpSp>
        <p:nvGrpSpPr>
          <p:cNvPr id="28" name="Групувати 27">
            <a:extLst>
              <a:ext uri="{FF2B5EF4-FFF2-40B4-BE49-F238E27FC236}">
                <a16:creationId xmlns:a16="http://schemas.microsoft.com/office/drawing/2014/main" id="{1E3EDE29-2661-8585-6D90-5A1BA055B8BA}"/>
              </a:ext>
            </a:extLst>
          </p:cNvPr>
          <p:cNvGrpSpPr/>
          <p:nvPr/>
        </p:nvGrpSpPr>
        <p:grpSpPr>
          <a:xfrm>
            <a:off x="6882312" y="2929216"/>
            <a:ext cx="4779348" cy="485712"/>
            <a:chOff x="6975891" y="3187405"/>
            <a:chExt cx="3994158" cy="405916"/>
          </a:xfrm>
        </p:grpSpPr>
        <p:grpSp>
          <p:nvGrpSpPr>
            <p:cNvPr id="29" name="Групувати 28">
              <a:extLst>
                <a:ext uri="{FF2B5EF4-FFF2-40B4-BE49-F238E27FC236}">
                  <a16:creationId xmlns:a16="http://schemas.microsoft.com/office/drawing/2014/main" id="{74D87125-DAAD-8862-28F1-DB3E8DD71502}"/>
                </a:ext>
              </a:extLst>
            </p:cNvPr>
            <p:cNvGrpSpPr/>
            <p:nvPr/>
          </p:nvGrpSpPr>
          <p:grpSpPr>
            <a:xfrm>
              <a:off x="6975891" y="3211965"/>
              <a:ext cx="1613962" cy="381356"/>
              <a:chOff x="2456971" y="6023893"/>
              <a:chExt cx="3054828" cy="721814"/>
            </a:xfrm>
          </p:grpSpPr>
          <p:grpSp>
            <p:nvGrpSpPr>
              <p:cNvPr id="31" name="Групувати 30">
                <a:extLst>
                  <a:ext uri="{FF2B5EF4-FFF2-40B4-BE49-F238E27FC236}">
                    <a16:creationId xmlns:a16="http://schemas.microsoft.com/office/drawing/2014/main" id="{108BA1D7-5CC0-7CA5-DB23-E7A20EF40FB9}"/>
                  </a:ext>
                </a:extLst>
              </p:cNvPr>
              <p:cNvGrpSpPr/>
              <p:nvPr/>
            </p:nvGrpSpPr>
            <p:grpSpPr>
              <a:xfrm>
                <a:off x="4934425" y="6097188"/>
                <a:ext cx="577374" cy="575225"/>
                <a:chOff x="4934425" y="6105244"/>
                <a:chExt cx="577374" cy="575225"/>
              </a:xfrm>
            </p:grpSpPr>
            <p:sp>
              <p:nvSpPr>
                <p:cNvPr id="33" name="Полілінія: фігура 32">
                  <a:extLst>
                    <a:ext uri="{FF2B5EF4-FFF2-40B4-BE49-F238E27FC236}">
                      <a16:creationId xmlns:a16="http://schemas.microsoft.com/office/drawing/2014/main" id="{8B20ECA9-60CE-53DB-F4B5-29B2EC2D7862}"/>
                    </a:ext>
                  </a:extLst>
                </p:cNvPr>
                <p:cNvSpPr/>
                <p:nvPr/>
              </p:nvSpPr>
              <p:spPr>
                <a:xfrm>
                  <a:off x="4943350" y="6105244"/>
                  <a:ext cx="63624" cy="1143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624" h="114346">
                      <a:moveTo>
                        <a:pt x="5656" y="0"/>
                      </a:moveTo>
                      <a:lnTo>
                        <a:pt x="59913" y="0"/>
                      </a:lnTo>
                      <a:cubicBezTo>
                        <a:pt x="60384" y="0"/>
                        <a:pt x="60811" y="118"/>
                        <a:pt x="61194" y="353"/>
                      </a:cubicBezTo>
                      <a:cubicBezTo>
                        <a:pt x="61577" y="589"/>
                        <a:pt x="61886" y="972"/>
                        <a:pt x="62122" y="1502"/>
                      </a:cubicBezTo>
                      <a:cubicBezTo>
                        <a:pt x="62358" y="2032"/>
                        <a:pt x="62549" y="2695"/>
                        <a:pt x="62696" y="3490"/>
                      </a:cubicBezTo>
                      <a:cubicBezTo>
                        <a:pt x="62844" y="4286"/>
                        <a:pt x="62917" y="5272"/>
                        <a:pt x="62917" y="6451"/>
                      </a:cubicBezTo>
                      <a:cubicBezTo>
                        <a:pt x="62917" y="7511"/>
                        <a:pt x="62844" y="8439"/>
                        <a:pt x="62696" y="9234"/>
                      </a:cubicBezTo>
                      <a:cubicBezTo>
                        <a:pt x="62549" y="10029"/>
                        <a:pt x="62358" y="10677"/>
                        <a:pt x="62122" y="11178"/>
                      </a:cubicBezTo>
                      <a:cubicBezTo>
                        <a:pt x="61886" y="11679"/>
                        <a:pt x="61577" y="12047"/>
                        <a:pt x="61194" y="12283"/>
                      </a:cubicBezTo>
                      <a:cubicBezTo>
                        <a:pt x="60811" y="12518"/>
                        <a:pt x="60384" y="12636"/>
                        <a:pt x="59913" y="12636"/>
                      </a:cubicBezTo>
                      <a:lnTo>
                        <a:pt x="15199" y="12636"/>
                      </a:lnTo>
                      <a:lnTo>
                        <a:pt x="15199" y="48513"/>
                      </a:lnTo>
                      <a:lnTo>
                        <a:pt x="53551" y="48513"/>
                      </a:lnTo>
                      <a:cubicBezTo>
                        <a:pt x="54022" y="48513"/>
                        <a:pt x="54449" y="48646"/>
                        <a:pt x="54832" y="48911"/>
                      </a:cubicBezTo>
                      <a:cubicBezTo>
                        <a:pt x="55215" y="49176"/>
                        <a:pt x="55539" y="49544"/>
                        <a:pt x="55804" y="50015"/>
                      </a:cubicBezTo>
                      <a:cubicBezTo>
                        <a:pt x="56069" y="50487"/>
                        <a:pt x="56260" y="51135"/>
                        <a:pt x="56378" y="51959"/>
                      </a:cubicBezTo>
                      <a:cubicBezTo>
                        <a:pt x="56496" y="52784"/>
                        <a:pt x="56555" y="53756"/>
                        <a:pt x="56555" y="54875"/>
                      </a:cubicBezTo>
                      <a:cubicBezTo>
                        <a:pt x="56555" y="55936"/>
                        <a:pt x="56496" y="56849"/>
                        <a:pt x="56378" y="57615"/>
                      </a:cubicBezTo>
                      <a:cubicBezTo>
                        <a:pt x="56260" y="58381"/>
                        <a:pt x="56069" y="58999"/>
                        <a:pt x="55804" y="59471"/>
                      </a:cubicBezTo>
                      <a:cubicBezTo>
                        <a:pt x="55539" y="59942"/>
                        <a:pt x="55215" y="60281"/>
                        <a:pt x="54832" y="60487"/>
                      </a:cubicBezTo>
                      <a:cubicBezTo>
                        <a:pt x="54449" y="60693"/>
                        <a:pt x="54022" y="60796"/>
                        <a:pt x="53551" y="60796"/>
                      </a:cubicBezTo>
                      <a:lnTo>
                        <a:pt x="15199" y="60796"/>
                      </a:lnTo>
                      <a:lnTo>
                        <a:pt x="15199" y="101710"/>
                      </a:lnTo>
                      <a:lnTo>
                        <a:pt x="60532" y="101710"/>
                      </a:lnTo>
                      <a:cubicBezTo>
                        <a:pt x="61003" y="101710"/>
                        <a:pt x="61430" y="101828"/>
                        <a:pt x="61813" y="102063"/>
                      </a:cubicBezTo>
                      <a:cubicBezTo>
                        <a:pt x="62196" y="102299"/>
                        <a:pt x="62534" y="102667"/>
                        <a:pt x="62829" y="103168"/>
                      </a:cubicBezTo>
                      <a:cubicBezTo>
                        <a:pt x="63124" y="103669"/>
                        <a:pt x="63330" y="104317"/>
                        <a:pt x="63448" y="105112"/>
                      </a:cubicBezTo>
                      <a:cubicBezTo>
                        <a:pt x="63565" y="105907"/>
                        <a:pt x="63624" y="106894"/>
                        <a:pt x="63624" y="108072"/>
                      </a:cubicBezTo>
                      <a:cubicBezTo>
                        <a:pt x="63624" y="109133"/>
                        <a:pt x="63565" y="110060"/>
                        <a:pt x="63448" y="110856"/>
                      </a:cubicBezTo>
                      <a:cubicBezTo>
                        <a:pt x="63330" y="111651"/>
                        <a:pt x="63124" y="112314"/>
                        <a:pt x="62829" y="112844"/>
                      </a:cubicBezTo>
                      <a:cubicBezTo>
                        <a:pt x="62534" y="113374"/>
                        <a:pt x="62196" y="113757"/>
                        <a:pt x="61813" y="113993"/>
                      </a:cubicBezTo>
                      <a:cubicBezTo>
                        <a:pt x="61430" y="114228"/>
                        <a:pt x="61003" y="114346"/>
                        <a:pt x="60532" y="114346"/>
                      </a:cubicBezTo>
                      <a:lnTo>
                        <a:pt x="5656" y="114346"/>
                      </a:lnTo>
                      <a:cubicBezTo>
                        <a:pt x="4301" y="114346"/>
                        <a:pt x="3020" y="113890"/>
                        <a:pt x="1812" y="112977"/>
                      </a:cubicBezTo>
                      <a:cubicBezTo>
                        <a:pt x="604" y="112063"/>
                        <a:pt x="0" y="110458"/>
                        <a:pt x="0" y="108161"/>
                      </a:cubicBezTo>
                      <a:lnTo>
                        <a:pt x="0" y="6185"/>
                      </a:lnTo>
                      <a:cubicBezTo>
                        <a:pt x="0" y="3888"/>
                        <a:pt x="604" y="2283"/>
                        <a:pt x="1812" y="1369"/>
                      </a:cubicBezTo>
                      <a:cubicBezTo>
                        <a:pt x="3020" y="456"/>
                        <a:pt x="4301" y="0"/>
                        <a:pt x="5656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4" name="Полілінія: фігура 33">
                  <a:extLst>
                    <a:ext uri="{FF2B5EF4-FFF2-40B4-BE49-F238E27FC236}">
                      <a16:creationId xmlns:a16="http://schemas.microsoft.com/office/drawing/2014/main" id="{4CA1D9C9-3521-12E7-5111-02B9B222BB10}"/>
                    </a:ext>
                  </a:extLst>
                </p:cNvPr>
                <p:cNvSpPr/>
                <p:nvPr/>
              </p:nvSpPr>
              <p:spPr>
                <a:xfrm>
                  <a:off x="5027397" y="6133876"/>
                  <a:ext cx="68485" cy="86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485" h="86245">
                      <a:moveTo>
                        <a:pt x="40030" y="0"/>
                      </a:moveTo>
                      <a:cubicBezTo>
                        <a:pt x="45332" y="0"/>
                        <a:pt x="49795" y="898"/>
                        <a:pt x="53418" y="2695"/>
                      </a:cubicBezTo>
                      <a:cubicBezTo>
                        <a:pt x="57041" y="4492"/>
                        <a:pt x="59972" y="6892"/>
                        <a:pt x="62211" y="9897"/>
                      </a:cubicBezTo>
                      <a:cubicBezTo>
                        <a:pt x="64449" y="12901"/>
                        <a:pt x="66054" y="16421"/>
                        <a:pt x="67026" y="20456"/>
                      </a:cubicBezTo>
                      <a:cubicBezTo>
                        <a:pt x="67999" y="24492"/>
                        <a:pt x="68485" y="29337"/>
                        <a:pt x="68485" y="34993"/>
                      </a:cubicBezTo>
                      <a:lnTo>
                        <a:pt x="68485" y="83506"/>
                      </a:lnTo>
                      <a:cubicBezTo>
                        <a:pt x="68485" y="83977"/>
                        <a:pt x="68367" y="84375"/>
                        <a:pt x="68131" y="84699"/>
                      </a:cubicBezTo>
                      <a:cubicBezTo>
                        <a:pt x="67895" y="85023"/>
                        <a:pt x="67513" y="85303"/>
                        <a:pt x="66982" y="85539"/>
                      </a:cubicBezTo>
                      <a:cubicBezTo>
                        <a:pt x="66452" y="85774"/>
                        <a:pt x="65716" y="85951"/>
                        <a:pt x="64773" y="86069"/>
                      </a:cubicBezTo>
                      <a:cubicBezTo>
                        <a:pt x="63831" y="86187"/>
                        <a:pt x="62652" y="86245"/>
                        <a:pt x="61238" y="86245"/>
                      </a:cubicBezTo>
                      <a:cubicBezTo>
                        <a:pt x="59766" y="86245"/>
                        <a:pt x="58558" y="86187"/>
                        <a:pt x="57615" y="86069"/>
                      </a:cubicBezTo>
                      <a:cubicBezTo>
                        <a:pt x="56673" y="85951"/>
                        <a:pt x="55936" y="85774"/>
                        <a:pt x="55406" y="85539"/>
                      </a:cubicBezTo>
                      <a:cubicBezTo>
                        <a:pt x="54876" y="85303"/>
                        <a:pt x="54493" y="85023"/>
                        <a:pt x="54258" y="84699"/>
                      </a:cubicBezTo>
                      <a:cubicBezTo>
                        <a:pt x="54022" y="84375"/>
                        <a:pt x="53904" y="83977"/>
                        <a:pt x="53904" y="83506"/>
                      </a:cubicBezTo>
                      <a:lnTo>
                        <a:pt x="53904" y="36937"/>
                      </a:lnTo>
                      <a:cubicBezTo>
                        <a:pt x="53904" y="32401"/>
                        <a:pt x="53551" y="28748"/>
                        <a:pt x="52844" y="25979"/>
                      </a:cubicBezTo>
                      <a:cubicBezTo>
                        <a:pt x="52137" y="23211"/>
                        <a:pt x="51106" y="20825"/>
                        <a:pt x="49751" y="18822"/>
                      </a:cubicBezTo>
                      <a:cubicBezTo>
                        <a:pt x="48396" y="16819"/>
                        <a:pt x="46643" y="15287"/>
                        <a:pt x="44493" y="14227"/>
                      </a:cubicBezTo>
                      <a:cubicBezTo>
                        <a:pt x="42343" y="13166"/>
                        <a:pt x="39854" y="12636"/>
                        <a:pt x="37026" y="12636"/>
                      </a:cubicBezTo>
                      <a:cubicBezTo>
                        <a:pt x="33374" y="12636"/>
                        <a:pt x="29721" y="13932"/>
                        <a:pt x="26069" y="16524"/>
                      </a:cubicBezTo>
                      <a:cubicBezTo>
                        <a:pt x="22416" y="19116"/>
                        <a:pt x="18587" y="22916"/>
                        <a:pt x="14581" y="27923"/>
                      </a:cubicBezTo>
                      <a:lnTo>
                        <a:pt x="14581" y="83506"/>
                      </a:lnTo>
                      <a:cubicBezTo>
                        <a:pt x="14581" y="83977"/>
                        <a:pt x="14463" y="84375"/>
                        <a:pt x="14227" y="84699"/>
                      </a:cubicBezTo>
                      <a:cubicBezTo>
                        <a:pt x="13992" y="85023"/>
                        <a:pt x="13609" y="85303"/>
                        <a:pt x="13079" y="85539"/>
                      </a:cubicBezTo>
                      <a:cubicBezTo>
                        <a:pt x="12548" y="85774"/>
                        <a:pt x="11812" y="85951"/>
                        <a:pt x="10869" y="86069"/>
                      </a:cubicBezTo>
                      <a:cubicBezTo>
                        <a:pt x="9927" y="86187"/>
                        <a:pt x="8719" y="86245"/>
                        <a:pt x="7246" y="86245"/>
                      </a:cubicBezTo>
                      <a:cubicBezTo>
                        <a:pt x="5833" y="86245"/>
                        <a:pt x="4654" y="86187"/>
                        <a:pt x="3712" y="86069"/>
                      </a:cubicBezTo>
                      <a:cubicBezTo>
                        <a:pt x="2769" y="85951"/>
                        <a:pt x="2018" y="85774"/>
                        <a:pt x="1458" y="85539"/>
                      </a:cubicBezTo>
                      <a:cubicBezTo>
                        <a:pt x="899" y="85303"/>
                        <a:pt x="516" y="85023"/>
                        <a:pt x="310" y="84699"/>
                      </a:cubicBezTo>
                      <a:cubicBezTo>
                        <a:pt x="103" y="84375"/>
                        <a:pt x="0" y="83977"/>
                        <a:pt x="0" y="83506"/>
                      </a:cubicBezTo>
                      <a:lnTo>
                        <a:pt x="0" y="3976"/>
                      </a:lnTo>
                      <a:cubicBezTo>
                        <a:pt x="0" y="3505"/>
                        <a:pt x="89" y="3107"/>
                        <a:pt x="265" y="2783"/>
                      </a:cubicBezTo>
                      <a:cubicBezTo>
                        <a:pt x="442" y="2459"/>
                        <a:pt x="796" y="2165"/>
                        <a:pt x="1326" y="1899"/>
                      </a:cubicBezTo>
                      <a:cubicBezTo>
                        <a:pt x="1856" y="1634"/>
                        <a:pt x="2534" y="1458"/>
                        <a:pt x="3358" y="1369"/>
                      </a:cubicBezTo>
                      <a:cubicBezTo>
                        <a:pt x="4183" y="1281"/>
                        <a:pt x="5273" y="1237"/>
                        <a:pt x="6628" y="1237"/>
                      </a:cubicBezTo>
                      <a:cubicBezTo>
                        <a:pt x="7924" y="1237"/>
                        <a:pt x="8999" y="1281"/>
                        <a:pt x="9853" y="1369"/>
                      </a:cubicBezTo>
                      <a:cubicBezTo>
                        <a:pt x="10707" y="1458"/>
                        <a:pt x="11370" y="1634"/>
                        <a:pt x="11841" y="1899"/>
                      </a:cubicBezTo>
                      <a:cubicBezTo>
                        <a:pt x="12313" y="2165"/>
                        <a:pt x="12652" y="2459"/>
                        <a:pt x="12858" y="2783"/>
                      </a:cubicBezTo>
                      <a:cubicBezTo>
                        <a:pt x="13064" y="3107"/>
                        <a:pt x="13167" y="3505"/>
                        <a:pt x="13167" y="3976"/>
                      </a:cubicBezTo>
                      <a:lnTo>
                        <a:pt x="13167" y="14492"/>
                      </a:lnTo>
                      <a:cubicBezTo>
                        <a:pt x="17644" y="9484"/>
                        <a:pt x="22107" y="5817"/>
                        <a:pt x="26555" y="3490"/>
                      </a:cubicBezTo>
                      <a:cubicBezTo>
                        <a:pt x="31002" y="1163"/>
                        <a:pt x="35494" y="0"/>
                        <a:pt x="40030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5" name="Полілінія: фігура 34">
                  <a:extLst>
                    <a:ext uri="{FF2B5EF4-FFF2-40B4-BE49-F238E27FC236}">
                      <a16:creationId xmlns:a16="http://schemas.microsoft.com/office/drawing/2014/main" id="{68C38314-7E4B-1D43-9251-B0609F965A5B}"/>
                    </a:ext>
                  </a:extLst>
                </p:cNvPr>
                <p:cNvSpPr/>
                <p:nvPr/>
              </p:nvSpPr>
              <p:spPr>
                <a:xfrm>
                  <a:off x="5117344" y="6133875"/>
                  <a:ext cx="73168" cy="873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168" h="87394">
                      <a:moveTo>
                        <a:pt x="38175" y="0"/>
                      </a:moveTo>
                      <a:cubicBezTo>
                        <a:pt x="44419" y="0"/>
                        <a:pt x="49736" y="1001"/>
                        <a:pt x="54125" y="3004"/>
                      </a:cubicBezTo>
                      <a:cubicBezTo>
                        <a:pt x="58514" y="5007"/>
                        <a:pt x="62122" y="7702"/>
                        <a:pt x="64950" y="11090"/>
                      </a:cubicBezTo>
                      <a:cubicBezTo>
                        <a:pt x="67778" y="14477"/>
                        <a:pt x="69854" y="18453"/>
                        <a:pt x="71180" y="23019"/>
                      </a:cubicBezTo>
                      <a:cubicBezTo>
                        <a:pt x="72505" y="27585"/>
                        <a:pt x="73168" y="32460"/>
                        <a:pt x="73168" y="37644"/>
                      </a:cubicBezTo>
                      <a:lnTo>
                        <a:pt x="73168" y="40295"/>
                      </a:lnTo>
                      <a:cubicBezTo>
                        <a:pt x="73168" y="42592"/>
                        <a:pt x="72591" y="44227"/>
                        <a:pt x="71437" y="45199"/>
                      </a:cubicBezTo>
                      <a:cubicBezTo>
                        <a:pt x="70283" y="46171"/>
                        <a:pt x="68966" y="46657"/>
                        <a:pt x="67486" y="46657"/>
                      </a:cubicBezTo>
                      <a:lnTo>
                        <a:pt x="15111" y="46657"/>
                      </a:lnTo>
                      <a:cubicBezTo>
                        <a:pt x="15111" y="51075"/>
                        <a:pt x="15555" y="55052"/>
                        <a:pt x="16443" y="58587"/>
                      </a:cubicBezTo>
                      <a:cubicBezTo>
                        <a:pt x="17331" y="62121"/>
                        <a:pt x="18810" y="65155"/>
                        <a:pt x="20883" y="67688"/>
                      </a:cubicBezTo>
                      <a:cubicBezTo>
                        <a:pt x="22955" y="70222"/>
                        <a:pt x="25648" y="72166"/>
                        <a:pt x="28963" y="73521"/>
                      </a:cubicBezTo>
                      <a:cubicBezTo>
                        <a:pt x="32278" y="74876"/>
                        <a:pt x="36333" y="75553"/>
                        <a:pt x="41128" y="75553"/>
                      </a:cubicBezTo>
                      <a:cubicBezTo>
                        <a:pt x="44917" y="75553"/>
                        <a:pt x="48291" y="75244"/>
                        <a:pt x="51251" y="74625"/>
                      </a:cubicBezTo>
                      <a:cubicBezTo>
                        <a:pt x="54211" y="74007"/>
                        <a:pt x="56771" y="73314"/>
                        <a:pt x="58932" y="72549"/>
                      </a:cubicBezTo>
                      <a:cubicBezTo>
                        <a:pt x="61093" y="71783"/>
                        <a:pt x="62869" y="71091"/>
                        <a:pt x="64260" y="70472"/>
                      </a:cubicBezTo>
                      <a:cubicBezTo>
                        <a:pt x="65652" y="69853"/>
                        <a:pt x="66702" y="69544"/>
                        <a:pt x="67413" y="69544"/>
                      </a:cubicBezTo>
                      <a:cubicBezTo>
                        <a:pt x="67827" y="69544"/>
                        <a:pt x="68197" y="69647"/>
                        <a:pt x="68522" y="69853"/>
                      </a:cubicBezTo>
                      <a:cubicBezTo>
                        <a:pt x="68848" y="70060"/>
                        <a:pt x="69099" y="70369"/>
                        <a:pt x="69277" y="70781"/>
                      </a:cubicBezTo>
                      <a:cubicBezTo>
                        <a:pt x="69455" y="71194"/>
                        <a:pt x="69588" y="71768"/>
                        <a:pt x="69677" y="72504"/>
                      </a:cubicBezTo>
                      <a:cubicBezTo>
                        <a:pt x="69766" y="73241"/>
                        <a:pt x="69810" y="74139"/>
                        <a:pt x="69810" y="75200"/>
                      </a:cubicBezTo>
                      <a:cubicBezTo>
                        <a:pt x="69810" y="75965"/>
                        <a:pt x="69781" y="76628"/>
                        <a:pt x="69722" y="77188"/>
                      </a:cubicBezTo>
                      <a:cubicBezTo>
                        <a:pt x="69663" y="77748"/>
                        <a:pt x="69589" y="78248"/>
                        <a:pt x="69501" y="78690"/>
                      </a:cubicBezTo>
                      <a:cubicBezTo>
                        <a:pt x="69412" y="79132"/>
                        <a:pt x="69265" y="79530"/>
                        <a:pt x="69059" y="79883"/>
                      </a:cubicBezTo>
                      <a:cubicBezTo>
                        <a:pt x="68853" y="80236"/>
                        <a:pt x="68588" y="80575"/>
                        <a:pt x="68264" y="80899"/>
                      </a:cubicBezTo>
                      <a:cubicBezTo>
                        <a:pt x="67940" y="81223"/>
                        <a:pt x="66982" y="81753"/>
                        <a:pt x="65392" y="82490"/>
                      </a:cubicBezTo>
                      <a:cubicBezTo>
                        <a:pt x="63801" y="83226"/>
                        <a:pt x="61739" y="83948"/>
                        <a:pt x="59206" y="84655"/>
                      </a:cubicBezTo>
                      <a:cubicBezTo>
                        <a:pt x="56673" y="85362"/>
                        <a:pt x="53742" y="85995"/>
                        <a:pt x="50414" y="86555"/>
                      </a:cubicBezTo>
                      <a:cubicBezTo>
                        <a:pt x="47085" y="87114"/>
                        <a:pt x="43536" y="87394"/>
                        <a:pt x="39765" y="87394"/>
                      </a:cubicBezTo>
                      <a:cubicBezTo>
                        <a:pt x="33226" y="87394"/>
                        <a:pt x="27497" y="86481"/>
                        <a:pt x="22578" y="84655"/>
                      </a:cubicBezTo>
                      <a:cubicBezTo>
                        <a:pt x="17659" y="82829"/>
                        <a:pt x="13520" y="80119"/>
                        <a:pt x="10163" y="76525"/>
                      </a:cubicBezTo>
                      <a:cubicBezTo>
                        <a:pt x="6805" y="72932"/>
                        <a:pt x="4271" y="68425"/>
                        <a:pt x="2563" y="63005"/>
                      </a:cubicBezTo>
                      <a:cubicBezTo>
                        <a:pt x="855" y="57585"/>
                        <a:pt x="0" y="51282"/>
                        <a:pt x="0" y="44095"/>
                      </a:cubicBezTo>
                      <a:cubicBezTo>
                        <a:pt x="0" y="37261"/>
                        <a:pt x="884" y="31119"/>
                        <a:pt x="2651" y="25670"/>
                      </a:cubicBezTo>
                      <a:cubicBezTo>
                        <a:pt x="4419" y="20221"/>
                        <a:pt x="6967" y="15596"/>
                        <a:pt x="10295" y="11797"/>
                      </a:cubicBezTo>
                      <a:cubicBezTo>
                        <a:pt x="13624" y="7997"/>
                        <a:pt x="17644" y="5081"/>
                        <a:pt x="22357" y="3048"/>
                      </a:cubicBezTo>
                      <a:cubicBezTo>
                        <a:pt x="27070" y="1016"/>
                        <a:pt x="32343" y="0"/>
                        <a:pt x="38175" y="0"/>
                      </a:cubicBezTo>
                      <a:close/>
                      <a:moveTo>
                        <a:pt x="37428" y="11399"/>
                      </a:moveTo>
                      <a:cubicBezTo>
                        <a:pt x="33812" y="11399"/>
                        <a:pt x="30641" y="12076"/>
                        <a:pt x="27915" y="13431"/>
                      </a:cubicBezTo>
                      <a:cubicBezTo>
                        <a:pt x="25188" y="14786"/>
                        <a:pt x="22906" y="16583"/>
                        <a:pt x="21068" y="18822"/>
                      </a:cubicBezTo>
                      <a:cubicBezTo>
                        <a:pt x="19230" y="21060"/>
                        <a:pt x="17808" y="23667"/>
                        <a:pt x="16800" y="26642"/>
                      </a:cubicBezTo>
                      <a:cubicBezTo>
                        <a:pt x="15793" y="29617"/>
                        <a:pt x="15230" y="32725"/>
                        <a:pt x="15111" y="35965"/>
                      </a:cubicBezTo>
                      <a:lnTo>
                        <a:pt x="58499" y="35965"/>
                      </a:lnTo>
                      <a:cubicBezTo>
                        <a:pt x="58676" y="28306"/>
                        <a:pt x="56972" y="22297"/>
                        <a:pt x="53386" y="17938"/>
                      </a:cubicBezTo>
                      <a:cubicBezTo>
                        <a:pt x="49801" y="13579"/>
                        <a:pt x="44481" y="11399"/>
                        <a:pt x="37428" y="11399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6" name="Полілінія: фігура 35">
                  <a:extLst>
                    <a:ext uri="{FF2B5EF4-FFF2-40B4-BE49-F238E27FC236}">
                      <a16:creationId xmlns:a16="http://schemas.microsoft.com/office/drawing/2014/main" id="{6AB0DBFF-D986-F660-6F0A-3B86B87D0DDA}"/>
                    </a:ext>
                  </a:extLst>
                </p:cNvPr>
                <p:cNvSpPr/>
                <p:nvPr/>
              </p:nvSpPr>
              <p:spPr>
                <a:xfrm>
                  <a:off x="5208372" y="6133876"/>
                  <a:ext cx="46481" cy="86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81" h="86245">
                      <a:moveTo>
                        <a:pt x="34905" y="0"/>
                      </a:moveTo>
                      <a:cubicBezTo>
                        <a:pt x="35671" y="0"/>
                        <a:pt x="36540" y="44"/>
                        <a:pt x="37512" y="132"/>
                      </a:cubicBezTo>
                      <a:cubicBezTo>
                        <a:pt x="38484" y="220"/>
                        <a:pt x="39500" y="382"/>
                        <a:pt x="40561" y="618"/>
                      </a:cubicBezTo>
                      <a:cubicBezTo>
                        <a:pt x="41621" y="854"/>
                        <a:pt x="42578" y="1119"/>
                        <a:pt x="43433" y="1413"/>
                      </a:cubicBezTo>
                      <a:cubicBezTo>
                        <a:pt x="44287" y="1708"/>
                        <a:pt x="44891" y="2003"/>
                        <a:pt x="45244" y="2297"/>
                      </a:cubicBezTo>
                      <a:cubicBezTo>
                        <a:pt x="45598" y="2592"/>
                        <a:pt x="45833" y="2871"/>
                        <a:pt x="45951" y="3137"/>
                      </a:cubicBezTo>
                      <a:cubicBezTo>
                        <a:pt x="46069" y="3402"/>
                        <a:pt x="46172" y="3740"/>
                        <a:pt x="46260" y="4153"/>
                      </a:cubicBezTo>
                      <a:cubicBezTo>
                        <a:pt x="46349" y="4565"/>
                        <a:pt x="46408" y="5169"/>
                        <a:pt x="46437" y="5964"/>
                      </a:cubicBezTo>
                      <a:cubicBezTo>
                        <a:pt x="46466" y="6760"/>
                        <a:pt x="46481" y="7835"/>
                        <a:pt x="46481" y="9190"/>
                      </a:cubicBezTo>
                      <a:cubicBezTo>
                        <a:pt x="46481" y="10486"/>
                        <a:pt x="46452" y="11576"/>
                        <a:pt x="46393" y="12459"/>
                      </a:cubicBezTo>
                      <a:cubicBezTo>
                        <a:pt x="46334" y="13343"/>
                        <a:pt x="46216" y="14035"/>
                        <a:pt x="46039" y="14536"/>
                      </a:cubicBezTo>
                      <a:cubicBezTo>
                        <a:pt x="45863" y="15037"/>
                        <a:pt x="45642" y="15420"/>
                        <a:pt x="45377" y="15685"/>
                      </a:cubicBezTo>
                      <a:cubicBezTo>
                        <a:pt x="45112" y="15950"/>
                        <a:pt x="44743" y="16082"/>
                        <a:pt x="44272" y="16082"/>
                      </a:cubicBezTo>
                      <a:cubicBezTo>
                        <a:pt x="43801" y="16082"/>
                        <a:pt x="43226" y="15950"/>
                        <a:pt x="42549" y="15685"/>
                      </a:cubicBezTo>
                      <a:cubicBezTo>
                        <a:pt x="41871" y="15420"/>
                        <a:pt x="41106" y="15154"/>
                        <a:pt x="40251" y="14889"/>
                      </a:cubicBezTo>
                      <a:cubicBezTo>
                        <a:pt x="39397" y="14624"/>
                        <a:pt x="38440" y="14374"/>
                        <a:pt x="37379" y="14138"/>
                      </a:cubicBezTo>
                      <a:cubicBezTo>
                        <a:pt x="36319" y="13903"/>
                        <a:pt x="35170" y="13785"/>
                        <a:pt x="33933" y="13785"/>
                      </a:cubicBezTo>
                      <a:cubicBezTo>
                        <a:pt x="32460" y="13785"/>
                        <a:pt x="31017" y="14079"/>
                        <a:pt x="29603" y="14668"/>
                      </a:cubicBezTo>
                      <a:cubicBezTo>
                        <a:pt x="28189" y="15258"/>
                        <a:pt x="26702" y="16230"/>
                        <a:pt x="25141" y="17585"/>
                      </a:cubicBezTo>
                      <a:cubicBezTo>
                        <a:pt x="23580" y="18939"/>
                        <a:pt x="21945" y="20736"/>
                        <a:pt x="20236" y="22975"/>
                      </a:cubicBezTo>
                      <a:cubicBezTo>
                        <a:pt x="18528" y="25214"/>
                        <a:pt x="16643" y="27953"/>
                        <a:pt x="14581" y="31193"/>
                      </a:cubicBezTo>
                      <a:lnTo>
                        <a:pt x="14581" y="83506"/>
                      </a:lnTo>
                      <a:cubicBezTo>
                        <a:pt x="14581" y="83977"/>
                        <a:pt x="14463" y="84375"/>
                        <a:pt x="14227" y="84699"/>
                      </a:cubicBezTo>
                      <a:cubicBezTo>
                        <a:pt x="13992" y="85023"/>
                        <a:pt x="13609" y="85303"/>
                        <a:pt x="13079" y="85539"/>
                      </a:cubicBezTo>
                      <a:cubicBezTo>
                        <a:pt x="12548" y="85774"/>
                        <a:pt x="11812" y="85951"/>
                        <a:pt x="10869" y="86069"/>
                      </a:cubicBezTo>
                      <a:cubicBezTo>
                        <a:pt x="9927" y="86187"/>
                        <a:pt x="8719" y="86245"/>
                        <a:pt x="7246" y="86245"/>
                      </a:cubicBezTo>
                      <a:cubicBezTo>
                        <a:pt x="5833" y="86245"/>
                        <a:pt x="4654" y="86187"/>
                        <a:pt x="3712" y="86069"/>
                      </a:cubicBezTo>
                      <a:cubicBezTo>
                        <a:pt x="2769" y="85951"/>
                        <a:pt x="2018" y="85774"/>
                        <a:pt x="1458" y="85539"/>
                      </a:cubicBezTo>
                      <a:cubicBezTo>
                        <a:pt x="899" y="85303"/>
                        <a:pt x="516" y="85023"/>
                        <a:pt x="310" y="84699"/>
                      </a:cubicBezTo>
                      <a:cubicBezTo>
                        <a:pt x="103" y="84375"/>
                        <a:pt x="0" y="83977"/>
                        <a:pt x="0" y="83506"/>
                      </a:cubicBezTo>
                      <a:lnTo>
                        <a:pt x="0" y="3976"/>
                      </a:lnTo>
                      <a:cubicBezTo>
                        <a:pt x="0" y="3505"/>
                        <a:pt x="89" y="3107"/>
                        <a:pt x="265" y="2783"/>
                      </a:cubicBezTo>
                      <a:cubicBezTo>
                        <a:pt x="442" y="2459"/>
                        <a:pt x="796" y="2165"/>
                        <a:pt x="1326" y="1899"/>
                      </a:cubicBezTo>
                      <a:cubicBezTo>
                        <a:pt x="1856" y="1634"/>
                        <a:pt x="2534" y="1458"/>
                        <a:pt x="3358" y="1369"/>
                      </a:cubicBezTo>
                      <a:cubicBezTo>
                        <a:pt x="4183" y="1281"/>
                        <a:pt x="5273" y="1237"/>
                        <a:pt x="6628" y="1237"/>
                      </a:cubicBezTo>
                      <a:cubicBezTo>
                        <a:pt x="7924" y="1237"/>
                        <a:pt x="8999" y="1281"/>
                        <a:pt x="9853" y="1369"/>
                      </a:cubicBezTo>
                      <a:cubicBezTo>
                        <a:pt x="10707" y="1458"/>
                        <a:pt x="11370" y="1634"/>
                        <a:pt x="11841" y="1899"/>
                      </a:cubicBezTo>
                      <a:cubicBezTo>
                        <a:pt x="12313" y="2165"/>
                        <a:pt x="12652" y="2459"/>
                        <a:pt x="12858" y="2783"/>
                      </a:cubicBezTo>
                      <a:cubicBezTo>
                        <a:pt x="13064" y="3107"/>
                        <a:pt x="13167" y="3505"/>
                        <a:pt x="13167" y="3976"/>
                      </a:cubicBezTo>
                      <a:lnTo>
                        <a:pt x="13167" y="15552"/>
                      </a:lnTo>
                      <a:cubicBezTo>
                        <a:pt x="15347" y="12371"/>
                        <a:pt x="17394" y="9779"/>
                        <a:pt x="19308" y="7776"/>
                      </a:cubicBezTo>
                      <a:cubicBezTo>
                        <a:pt x="21223" y="5773"/>
                        <a:pt x="23035" y="4197"/>
                        <a:pt x="24743" y="3048"/>
                      </a:cubicBezTo>
                      <a:cubicBezTo>
                        <a:pt x="26451" y="1899"/>
                        <a:pt x="28145" y="1104"/>
                        <a:pt x="29824" y="662"/>
                      </a:cubicBezTo>
                      <a:cubicBezTo>
                        <a:pt x="31503" y="220"/>
                        <a:pt x="33197" y="0"/>
                        <a:pt x="34905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7" name="Полілінія: фігура 36">
                  <a:extLst>
                    <a:ext uri="{FF2B5EF4-FFF2-40B4-BE49-F238E27FC236}">
                      <a16:creationId xmlns:a16="http://schemas.microsoft.com/office/drawing/2014/main" id="{16E1A5BC-ED62-B668-C743-9F28E98233D8}"/>
                    </a:ext>
                  </a:extLst>
                </p:cNvPr>
                <p:cNvSpPr/>
                <p:nvPr/>
              </p:nvSpPr>
              <p:spPr>
                <a:xfrm>
                  <a:off x="5266210" y="6134052"/>
                  <a:ext cx="75288" cy="117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288" h="117793">
                      <a:moveTo>
                        <a:pt x="35611" y="0"/>
                      </a:moveTo>
                      <a:cubicBezTo>
                        <a:pt x="38027" y="0"/>
                        <a:pt x="40280" y="133"/>
                        <a:pt x="42371" y="398"/>
                      </a:cubicBezTo>
                      <a:cubicBezTo>
                        <a:pt x="44463" y="663"/>
                        <a:pt x="46422" y="1031"/>
                        <a:pt x="48248" y="1503"/>
                      </a:cubicBezTo>
                      <a:lnTo>
                        <a:pt x="72284" y="1503"/>
                      </a:lnTo>
                      <a:cubicBezTo>
                        <a:pt x="73285" y="1503"/>
                        <a:pt x="74036" y="1989"/>
                        <a:pt x="74537" y="2961"/>
                      </a:cubicBezTo>
                      <a:cubicBezTo>
                        <a:pt x="75038" y="3933"/>
                        <a:pt x="75288" y="5420"/>
                        <a:pt x="75288" y="7423"/>
                      </a:cubicBezTo>
                      <a:cubicBezTo>
                        <a:pt x="75288" y="9485"/>
                        <a:pt x="75008" y="10972"/>
                        <a:pt x="74449" y="11886"/>
                      </a:cubicBezTo>
                      <a:cubicBezTo>
                        <a:pt x="73889" y="12799"/>
                        <a:pt x="73167" y="13255"/>
                        <a:pt x="72284" y="13255"/>
                      </a:cubicBezTo>
                      <a:lnTo>
                        <a:pt x="60884" y="13255"/>
                      </a:lnTo>
                      <a:cubicBezTo>
                        <a:pt x="62946" y="15376"/>
                        <a:pt x="64390" y="17718"/>
                        <a:pt x="65214" y="20280"/>
                      </a:cubicBezTo>
                      <a:cubicBezTo>
                        <a:pt x="66039" y="22843"/>
                        <a:pt x="66451" y="25509"/>
                        <a:pt x="66451" y="28278"/>
                      </a:cubicBezTo>
                      <a:cubicBezTo>
                        <a:pt x="66451" y="32873"/>
                        <a:pt x="65715" y="36938"/>
                        <a:pt x="64242" y="40472"/>
                      </a:cubicBezTo>
                      <a:cubicBezTo>
                        <a:pt x="62769" y="44007"/>
                        <a:pt x="60663" y="46997"/>
                        <a:pt x="57924" y="49441"/>
                      </a:cubicBezTo>
                      <a:cubicBezTo>
                        <a:pt x="55185" y="51886"/>
                        <a:pt x="51930" y="53757"/>
                        <a:pt x="48159" y="55053"/>
                      </a:cubicBezTo>
                      <a:cubicBezTo>
                        <a:pt x="44389" y="56349"/>
                        <a:pt x="40206" y="56997"/>
                        <a:pt x="35611" y="56997"/>
                      </a:cubicBezTo>
                      <a:cubicBezTo>
                        <a:pt x="32371" y="56997"/>
                        <a:pt x="29293" y="56570"/>
                        <a:pt x="26377" y="55715"/>
                      </a:cubicBezTo>
                      <a:cubicBezTo>
                        <a:pt x="23461" y="54861"/>
                        <a:pt x="21208" y="53786"/>
                        <a:pt x="19617" y="52490"/>
                      </a:cubicBezTo>
                      <a:cubicBezTo>
                        <a:pt x="18557" y="53550"/>
                        <a:pt x="17688" y="54758"/>
                        <a:pt x="17010" y="56113"/>
                      </a:cubicBezTo>
                      <a:cubicBezTo>
                        <a:pt x="16333" y="57468"/>
                        <a:pt x="15994" y="59029"/>
                        <a:pt x="15994" y="60797"/>
                      </a:cubicBezTo>
                      <a:cubicBezTo>
                        <a:pt x="15994" y="62858"/>
                        <a:pt x="16951" y="64567"/>
                        <a:pt x="18866" y="65922"/>
                      </a:cubicBezTo>
                      <a:cubicBezTo>
                        <a:pt x="20781" y="67277"/>
                        <a:pt x="23328" y="68013"/>
                        <a:pt x="26510" y="68131"/>
                      </a:cubicBezTo>
                      <a:lnTo>
                        <a:pt x="47276" y="69015"/>
                      </a:lnTo>
                      <a:cubicBezTo>
                        <a:pt x="51223" y="69132"/>
                        <a:pt x="54846" y="69677"/>
                        <a:pt x="58145" y="70649"/>
                      </a:cubicBezTo>
                      <a:cubicBezTo>
                        <a:pt x="61444" y="71621"/>
                        <a:pt x="64301" y="73006"/>
                        <a:pt x="66716" y="74803"/>
                      </a:cubicBezTo>
                      <a:cubicBezTo>
                        <a:pt x="69132" y="76599"/>
                        <a:pt x="71017" y="78809"/>
                        <a:pt x="72372" y="81430"/>
                      </a:cubicBezTo>
                      <a:cubicBezTo>
                        <a:pt x="73727" y="84052"/>
                        <a:pt x="74404" y="87100"/>
                        <a:pt x="74404" y="90576"/>
                      </a:cubicBezTo>
                      <a:cubicBezTo>
                        <a:pt x="74404" y="94229"/>
                        <a:pt x="73639" y="97704"/>
                        <a:pt x="72107" y="101003"/>
                      </a:cubicBezTo>
                      <a:cubicBezTo>
                        <a:pt x="70575" y="104302"/>
                        <a:pt x="68233" y="107204"/>
                        <a:pt x="65082" y="109708"/>
                      </a:cubicBezTo>
                      <a:cubicBezTo>
                        <a:pt x="61930" y="112211"/>
                        <a:pt x="57909" y="114185"/>
                        <a:pt x="53020" y="115628"/>
                      </a:cubicBezTo>
                      <a:cubicBezTo>
                        <a:pt x="48130" y="117071"/>
                        <a:pt x="42357" y="117793"/>
                        <a:pt x="35700" y="117793"/>
                      </a:cubicBezTo>
                      <a:cubicBezTo>
                        <a:pt x="29278" y="117793"/>
                        <a:pt x="23814" y="117248"/>
                        <a:pt x="19308" y="116158"/>
                      </a:cubicBezTo>
                      <a:cubicBezTo>
                        <a:pt x="14801" y="115068"/>
                        <a:pt x="11104" y="113581"/>
                        <a:pt x="8218" y="111696"/>
                      </a:cubicBezTo>
                      <a:cubicBezTo>
                        <a:pt x="5331" y="109811"/>
                        <a:pt x="3240" y="107557"/>
                        <a:pt x="1944" y="104936"/>
                      </a:cubicBezTo>
                      <a:cubicBezTo>
                        <a:pt x="648" y="102314"/>
                        <a:pt x="0" y="99472"/>
                        <a:pt x="0" y="96408"/>
                      </a:cubicBezTo>
                      <a:cubicBezTo>
                        <a:pt x="0" y="94464"/>
                        <a:pt x="235" y="92579"/>
                        <a:pt x="707" y="90753"/>
                      </a:cubicBezTo>
                      <a:cubicBezTo>
                        <a:pt x="1178" y="88927"/>
                        <a:pt x="1900" y="87189"/>
                        <a:pt x="2872" y="85539"/>
                      </a:cubicBezTo>
                      <a:cubicBezTo>
                        <a:pt x="3844" y="83890"/>
                        <a:pt x="5051" y="82314"/>
                        <a:pt x="6495" y="80812"/>
                      </a:cubicBezTo>
                      <a:cubicBezTo>
                        <a:pt x="7938" y="79309"/>
                        <a:pt x="9602" y="77822"/>
                        <a:pt x="11487" y="76349"/>
                      </a:cubicBezTo>
                      <a:cubicBezTo>
                        <a:pt x="8601" y="74876"/>
                        <a:pt x="6465" y="73021"/>
                        <a:pt x="5081" y="70782"/>
                      </a:cubicBezTo>
                      <a:cubicBezTo>
                        <a:pt x="3696" y="68543"/>
                        <a:pt x="3004" y="66128"/>
                        <a:pt x="3004" y="63536"/>
                      </a:cubicBezTo>
                      <a:cubicBezTo>
                        <a:pt x="3004" y="59942"/>
                        <a:pt x="3740" y="56732"/>
                        <a:pt x="5213" y="53904"/>
                      </a:cubicBezTo>
                      <a:cubicBezTo>
                        <a:pt x="6686" y="51076"/>
                        <a:pt x="8512" y="48543"/>
                        <a:pt x="10692" y="46304"/>
                      </a:cubicBezTo>
                      <a:cubicBezTo>
                        <a:pt x="8866" y="44125"/>
                        <a:pt x="7422" y="41665"/>
                        <a:pt x="6362" y="38926"/>
                      </a:cubicBezTo>
                      <a:cubicBezTo>
                        <a:pt x="5302" y="36186"/>
                        <a:pt x="4771" y="32873"/>
                        <a:pt x="4771" y="28985"/>
                      </a:cubicBezTo>
                      <a:cubicBezTo>
                        <a:pt x="4771" y="24448"/>
                        <a:pt x="5537" y="20384"/>
                        <a:pt x="7069" y="16790"/>
                      </a:cubicBezTo>
                      <a:cubicBezTo>
                        <a:pt x="8601" y="13196"/>
                        <a:pt x="10721" y="10162"/>
                        <a:pt x="13431" y="7688"/>
                      </a:cubicBezTo>
                      <a:cubicBezTo>
                        <a:pt x="16141" y="5214"/>
                        <a:pt x="19396" y="3314"/>
                        <a:pt x="23196" y="1989"/>
                      </a:cubicBezTo>
                      <a:cubicBezTo>
                        <a:pt x="26996" y="663"/>
                        <a:pt x="31134" y="0"/>
                        <a:pt x="35611" y="0"/>
                      </a:cubicBezTo>
                      <a:close/>
                      <a:moveTo>
                        <a:pt x="35346" y="11134"/>
                      </a:moveTo>
                      <a:cubicBezTo>
                        <a:pt x="32519" y="11134"/>
                        <a:pt x="30059" y="11606"/>
                        <a:pt x="27968" y="12548"/>
                      </a:cubicBezTo>
                      <a:cubicBezTo>
                        <a:pt x="25876" y="13491"/>
                        <a:pt x="24139" y="14787"/>
                        <a:pt x="22754" y="16436"/>
                      </a:cubicBezTo>
                      <a:cubicBezTo>
                        <a:pt x="21370" y="18086"/>
                        <a:pt x="20339" y="19986"/>
                        <a:pt x="19661" y="22136"/>
                      </a:cubicBezTo>
                      <a:cubicBezTo>
                        <a:pt x="18984" y="24286"/>
                        <a:pt x="18645" y="26540"/>
                        <a:pt x="18645" y="28896"/>
                      </a:cubicBezTo>
                      <a:cubicBezTo>
                        <a:pt x="18645" y="34139"/>
                        <a:pt x="20133" y="38263"/>
                        <a:pt x="23108" y="41268"/>
                      </a:cubicBezTo>
                      <a:cubicBezTo>
                        <a:pt x="26083" y="44272"/>
                        <a:pt x="30250" y="45774"/>
                        <a:pt x="35611" y="45774"/>
                      </a:cubicBezTo>
                      <a:cubicBezTo>
                        <a:pt x="38498" y="45774"/>
                        <a:pt x="41002" y="45318"/>
                        <a:pt x="43123" y="44405"/>
                      </a:cubicBezTo>
                      <a:cubicBezTo>
                        <a:pt x="45243" y="43491"/>
                        <a:pt x="46996" y="42225"/>
                        <a:pt x="48380" y="40605"/>
                      </a:cubicBezTo>
                      <a:cubicBezTo>
                        <a:pt x="49765" y="38985"/>
                        <a:pt x="50796" y="37114"/>
                        <a:pt x="51473" y="34993"/>
                      </a:cubicBezTo>
                      <a:cubicBezTo>
                        <a:pt x="52151" y="32873"/>
                        <a:pt x="52489" y="30664"/>
                        <a:pt x="52489" y="28366"/>
                      </a:cubicBezTo>
                      <a:cubicBezTo>
                        <a:pt x="52489" y="22946"/>
                        <a:pt x="51002" y="18719"/>
                        <a:pt x="48027" y="15685"/>
                      </a:cubicBezTo>
                      <a:cubicBezTo>
                        <a:pt x="45052" y="12651"/>
                        <a:pt x="40825" y="11134"/>
                        <a:pt x="35346" y="11134"/>
                      </a:cubicBezTo>
                      <a:close/>
                      <a:moveTo>
                        <a:pt x="23682" y="79795"/>
                      </a:moveTo>
                      <a:cubicBezTo>
                        <a:pt x="21797" y="81268"/>
                        <a:pt x="20250" y="82667"/>
                        <a:pt x="19043" y="83993"/>
                      </a:cubicBezTo>
                      <a:cubicBezTo>
                        <a:pt x="17835" y="85318"/>
                        <a:pt x="16878" y="86585"/>
                        <a:pt x="16171" y="87793"/>
                      </a:cubicBezTo>
                      <a:cubicBezTo>
                        <a:pt x="15464" y="89000"/>
                        <a:pt x="14978" y="90193"/>
                        <a:pt x="14713" y="91371"/>
                      </a:cubicBezTo>
                      <a:cubicBezTo>
                        <a:pt x="14448" y="92550"/>
                        <a:pt x="14315" y="93757"/>
                        <a:pt x="14315" y="94994"/>
                      </a:cubicBezTo>
                      <a:cubicBezTo>
                        <a:pt x="14315" y="98824"/>
                        <a:pt x="16259" y="101725"/>
                        <a:pt x="20147" y="103699"/>
                      </a:cubicBezTo>
                      <a:cubicBezTo>
                        <a:pt x="24035" y="105672"/>
                        <a:pt x="29455" y="106659"/>
                        <a:pt x="36407" y="106659"/>
                      </a:cubicBezTo>
                      <a:cubicBezTo>
                        <a:pt x="40825" y="106659"/>
                        <a:pt x="44522" y="106232"/>
                        <a:pt x="47497" y="105378"/>
                      </a:cubicBezTo>
                      <a:cubicBezTo>
                        <a:pt x="50472" y="104523"/>
                        <a:pt x="52872" y="103389"/>
                        <a:pt x="54699" y="101975"/>
                      </a:cubicBezTo>
                      <a:cubicBezTo>
                        <a:pt x="56525" y="100562"/>
                        <a:pt x="57836" y="98942"/>
                        <a:pt x="58631" y="97115"/>
                      </a:cubicBezTo>
                      <a:cubicBezTo>
                        <a:pt x="59426" y="95289"/>
                        <a:pt x="59824" y="93374"/>
                        <a:pt x="59824" y="91371"/>
                      </a:cubicBezTo>
                      <a:cubicBezTo>
                        <a:pt x="59824" y="87955"/>
                        <a:pt x="58425" y="85318"/>
                        <a:pt x="55626" y="83463"/>
                      </a:cubicBezTo>
                      <a:cubicBezTo>
                        <a:pt x="52828" y="81607"/>
                        <a:pt x="49043" y="80620"/>
                        <a:pt x="44271" y="80502"/>
                      </a:cubicBezTo>
                      <a:lnTo>
                        <a:pt x="23682" y="79795"/>
                      </a:ln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8" name="Полілінія: фігура 37">
                  <a:extLst>
                    <a:ext uri="{FF2B5EF4-FFF2-40B4-BE49-F238E27FC236}">
                      <a16:creationId xmlns:a16="http://schemas.microsoft.com/office/drawing/2014/main" id="{439C02AF-4806-CF7E-5770-DBBBEC5236E8}"/>
                    </a:ext>
                  </a:extLst>
                </p:cNvPr>
                <p:cNvSpPr/>
                <p:nvPr/>
              </p:nvSpPr>
              <p:spPr>
                <a:xfrm>
                  <a:off x="5350256" y="6135112"/>
                  <a:ext cx="75818" cy="1166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18" h="116644">
                      <a:moveTo>
                        <a:pt x="7246" y="0"/>
                      </a:moveTo>
                      <a:cubicBezTo>
                        <a:pt x="9013" y="0"/>
                        <a:pt x="10397" y="44"/>
                        <a:pt x="11399" y="132"/>
                      </a:cubicBezTo>
                      <a:cubicBezTo>
                        <a:pt x="12400" y="221"/>
                        <a:pt x="13196" y="383"/>
                        <a:pt x="13785" y="618"/>
                      </a:cubicBezTo>
                      <a:cubicBezTo>
                        <a:pt x="14374" y="854"/>
                        <a:pt x="14801" y="1193"/>
                        <a:pt x="15066" y="1634"/>
                      </a:cubicBezTo>
                      <a:cubicBezTo>
                        <a:pt x="15331" y="2076"/>
                        <a:pt x="15611" y="2680"/>
                        <a:pt x="15906" y="3446"/>
                      </a:cubicBezTo>
                      <a:lnTo>
                        <a:pt x="38616" y="67247"/>
                      </a:lnTo>
                      <a:lnTo>
                        <a:pt x="38881" y="67247"/>
                      </a:lnTo>
                      <a:lnTo>
                        <a:pt x="60796" y="3093"/>
                      </a:lnTo>
                      <a:cubicBezTo>
                        <a:pt x="61149" y="1973"/>
                        <a:pt x="61577" y="1252"/>
                        <a:pt x="62077" y="928"/>
                      </a:cubicBezTo>
                      <a:cubicBezTo>
                        <a:pt x="62578" y="604"/>
                        <a:pt x="63329" y="368"/>
                        <a:pt x="64331" y="221"/>
                      </a:cubicBezTo>
                      <a:cubicBezTo>
                        <a:pt x="65332" y="73"/>
                        <a:pt x="66775" y="0"/>
                        <a:pt x="68661" y="0"/>
                      </a:cubicBezTo>
                      <a:cubicBezTo>
                        <a:pt x="70310" y="0"/>
                        <a:pt x="71665" y="73"/>
                        <a:pt x="72725" y="221"/>
                      </a:cubicBezTo>
                      <a:cubicBezTo>
                        <a:pt x="73786" y="368"/>
                        <a:pt x="74566" y="648"/>
                        <a:pt x="75067" y="1060"/>
                      </a:cubicBezTo>
                      <a:cubicBezTo>
                        <a:pt x="75568" y="1472"/>
                        <a:pt x="75818" y="2032"/>
                        <a:pt x="75818" y="2739"/>
                      </a:cubicBezTo>
                      <a:cubicBezTo>
                        <a:pt x="75818" y="3446"/>
                        <a:pt x="75642" y="4330"/>
                        <a:pt x="75288" y="5390"/>
                      </a:cubicBezTo>
                      <a:lnTo>
                        <a:pt x="46746" y="84478"/>
                      </a:lnTo>
                      <a:lnTo>
                        <a:pt x="36142" y="113728"/>
                      </a:lnTo>
                      <a:cubicBezTo>
                        <a:pt x="35788" y="114670"/>
                        <a:pt x="34890" y="115392"/>
                        <a:pt x="33446" y="115893"/>
                      </a:cubicBezTo>
                      <a:cubicBezTo>
                        <a:pt x="32003" y="116393"/>
                        <a:pt x="29809" y="116644"/>
                        <a:pt x="26863" y="116644"/>
                      </a:cubicBezTo>
                      <a:cubicBezTo>
                        <a:pt x="25331" y="116644"/>
                        <a:pt x="24094" y="116570"/>
                        <a:pt x="23152" y="116423"/>
                      </a:cubicBezTo>
                      <a:cubicBezTo>
                        <a:pt x="22209" y="116276"/>
                        <a:pt x="21487" y="116025"/>
                        <a:pt x="20987" y="115672"/>
                      </a:cubicBezTo>
                      <a:cubicBezTo>
                        <a:pt x="20486" y="115318"/>
                        <a:pt x="20206" y="114847"/>
                        <a:pt x="20147" y="114258"/>
                      </a:cubicBezTo>
                      <a:cubicBezTo>
                        <a:pt x="20088" y="113669"/>
                        <a:pt x="20236" y="112962"/>
                        <a:pt x="20589" y="112137"/>
                      </a:cubicBezTo>
                      <a:lnTo>
                        <a:pt x="31547" y="84478"/>
                      </a:lnTo>
                      <a:cubicBezTo>
                        <a:pt x="31016" y="84243"/>
                        <a:pt x="30516" y="83860"/>
                        <a:pt x="30044" y="83329"/>
                      </a:cubicBezTo>
                      <a:cubicBezTo>
                        <a:pt x="29573" y="82799"/>
                        <a:pt x="29249" y="82240"/>
                        <a:pt x="29072" y="81651"/>
                      </a:cubicBezTo>
                      <a:lnTo>
                        <a:pt x="707" y="5655"/>
                      </a:lnTo>
                      <a:cubicBezTo>
                        <a:pt x="235" y="4418"/>
                        <a:pt x="0" y="3446"/>
                        <a:pt x="0" y="2739"/>
                      </a:cubicBezTo>
                      <a:cubicBezTo>
                        <a:pt x="0" y="2032"/>
                        <a:pt x="235" y="1472"/>
                        <a:pt x="707" y="1060"/>
                      </a:cubicBezTo>
                      <a:cubicBezTo>
                        <a:pt x="1178" y="648"/>
                        <a:pt x="1944" y="368"/>
                        <a:pt x="3004" y="221"/>
                      </a:cubicBezTo>
                      <a:cubicBezTo>
                        <a:pt x="4065" y="73"/>
                        <a:pt x="5478" y="0"/>
                        <a:pt x="7246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9" name="Полілінія: фігура 38">
                  <a:extLst>
                    <a:ext uri="{FF2B5EF4-FFF2-40B4-BE49-F238E27FC236}">
                      <a16:creationId xmlns:a16="http://schemas.microsoft.com/office/drawing/2014/main" id="{55DFD0EA-25A4-A9A4-D795-84A6E146DA43}"/>
                    </a:ext>
                  </a:extLst>
                </p:cNvPr>
                <p:cNvSpPr/>
                <p:nvPr/>
              </p:nvSpPr>
              <p:spPr>
                <a:xfrm>
                  <a:off x="5349480" y="6321403"/>
                  <a:ext cx="18027" cy="174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027" h="17496">
                      <a:moveTo>
                        <a:pt x="9102" y="0"/>
                      </a:moveTo>
                      <a:cubicBezTo>
                        <a:pt x="12519" y="0"/>
                        <a:pt x="14860" y="603"/>
                        <a:pt x="16127" y="1811"/>
                      </a:cubicBezTo>
                      <a:cubicBezTo>
                        <a:pt x="17393" y="3019"/>
                        <a:pt x="18027" y="5302"/>
                        <a:pt x="18027" y="8660"/>
                      </a:cubicBezTo>
                      <a:cubicBezTo>
                        <a:pt x="18027" y="12076"/>
                        <a:pt x="17379" y="14403"/>
                        <a:pt x="16083" y="15641"/>
                      </a:cubicBezTo>
                      <a:cubicBezTo>
                        <a:pt x="14787" y="16878"/>
                        <a:pt x="12401" y="17496"/>
                        <a:pt x="8925" y="17496"/>
                      </a:cubicBezTo>
                      <a:cubicBezTo>
                        <a:pt x="5508" y="17496"/>
                        <a:pt x="3166" y="16892"/>
                        <a:pt x="1900" y="15685"/>
                      </a:cubicBezTo>
                      <a:cubicBezTo>
                        <a:pt x="633" y="14477"/>
                        <a:pt x="0" y="12194"/>
                        <a:pt x="0" y="8836"/>
                      </a:cubicBezTo>
                      <a:cubicBezTo>
                        <a:pt x="0" y="5419"/>
                        <a:pt x="648" y="3092"/>
                        <a:pt x="1944" y="1855"/>
                      </a:cubicBezTo>
                      <a:cubicBezTo>
                        <a:pt x="3240" y="618"/>
                        <a:pt x="5626" y="0"/>
                        <a:pt x="9102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0" name="Полілінія: фігура 39">
                  <a:extLst>
                    <a:ext uri="{FF2B5EF4-FFF2-40B4-BE49-F238E27FC236}">
                      <a16:creationId xmlns:a16="http://schemas.microsoft.com/office/drawing/2014/main" id="{FD321C7D-FF7E-EB0D-5F8C-A68D9BB125FF}"/>
                    </a:ext>
                  </a:extLst>
                </p:cNvPr>
                <p:cNvSpPr/>
                <p:nvPr/>
              </p:nvSpPr>
              <p:spPr>
                <a:xfrm>
                  <a:off x="4934425" y="6322640"/>
                  <a:ext cx="70340" cy="1177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340" h="117704">
                      <a:moveTo>
                        <a:pt x="37556" y="0"/>
                      </a:moveTo>
                      <a:cubicBezTo>
                        <a:pt x="40089" y="0"/>
                        <a:pt x="42637" y="221"/>
                        <a:pt x="45200" y="663"/>
                      </a:cubicBezTo>
                      <a:cubicBezTo>
                        <a:pt x="47762" y="1104"/>
                        <a:pt x="50178" y="1693"/>
                        <a:pt x="52446" y="2430"/>
                      </a:cubicBezTo>
                      <a:cubicBezTo>
                        <a:pt x="54714" y="3166"/>
                        <a:pt x="56732" y="3991"/>
                        <a:pt x="58499" y="4904"/>
                      </a:cubicBezTo>
                      <a:cubicBezTo>
                        <a:pt x="60266" y="5817"/>
                        <a:pt x="61430" y="6554"/>
                        <a:pt x="61990" y="7113"/>
                      </a:cubicBezTo>
                      <a:cubicBezTo>
                        <a:pt x="62549" y="7673"/>
                        <a:pt x="62917" y="8115"/>
                        <a:pt x="63094" y="8439"/>
                      </a:cubicBezTo>
                      <a:cubicBezTo>
                        <a:pt x="63271" y="8763"/>
                        <a:pt x="63418" y="9175"/>
                        <a:pt x="63536" y="9676"/>
                      </a:cubicBezTo>
                      <a:cubicBezTo>
                        <a:pt x="63654" y="10177"/>
                        <a:pt x="63742" y="10780"/>
                        <a:pt x="63801" y="11487"/>
                      </a:cubicBezTo>
                      <a:cubicBezTo>
                        <a:pt x="63860" y="12194"/>
                        <a:pt x="63889" y="13107"/>
                        <a:pt x="63889" y="14227"/>
                      </a:cubicBezTo>
                      <a:cubicBezTo>
                        <a:pt x="63889" y="15287"/>
                        <a:pt x="63845" y="16230"/>
                        <a:pt x="63757" y="17055"/>
                      </a:cubicBezTo>
                      <a:cubicBezTo>
                        <a:pt x="63668" y="17879"/>
                        <a:pt x="63536" y="18571"/>
                        <a:pt x="63359" y="19131"/>
                      </a:cubicBezTo>
                      <a:cubicBezTo>
                        <a:pt x="63182" y="19691"/>
                        <a:pt x="62932" y="20103"/>
                        <a:pt x="62608" y="20368"/>
                      </a:cubicBezTo>
                      <a:cubicBezTo>
                        <a:pt x="62284" y="20633"/>
                        <a:pt x="61916" y="20766"/>
                        <a:pt x="61504" y="20766"/>
                      </a:cubicBezTo>
                      <a:cubicBezTo>
                        <a:pt x="60855" y="20766"/>
                        <a:pt x="59839" y="20354"/>
                        <a:pt x="58455" y="19529"/>
                      </a:cubicBezTo>
                      <a:cubicBezTo>
                        <a:pt x="57070" y="18704"/>
                        <a:pt x="55377" y="17776"/>
                        <a:pt x="53374" y="16745"/>
                      </a:cubicBezTo>
                      <a:cubicBezTo>
                        <a:pt x="51371" y="15714"/>
                        <a:pt x="49000" y="14772"/>
                        <a:pt x="46260" y="13918"/>
                      </a:cubicBezTo>
                      <a:cubicBezTo>
                        <a:pt x="43521" y="13063"/>
                        <a:pt x="40443" y="12636"/>
                        <a:pt x="37026" y="12636"/>
                      </a:cubicBezTo>
                      <a:cubicBezTo>
                        <a:pt x="33845" y="12636"/>
                        <a:pt x="31076" y="13063"/>
                        <a:pt x="28719" y="13918"/>
                      </a:cubicBezTo>
                      <a:cubicBezTo>
                        <a:pt x="26363" y="14772"/>
                        <a:pt x="24419" y="15906"/>
                        <a:pt x="22887" y="17320"/>
                      </a:cubicBezTo>
                      <a:cubicBezTo>
                        <a:pt x="21356" y="18733"/>
                        <a:pt x="20207" y="20412"/>
                        <a:pt x="19441" y="22357"/>
                      </a:cubicBezTo>
                      <a:cubicBezTo>
                        <a:pt x="18675" y="24301"/>
                        <a:pt x="18292" y="26362"/>
                        <a:pt x="18292" y="28542"/>
                      </a:cubicBezTo>
                      <a:cubicBezTo>
                        <a:pt x="18292" y="31723"/>
                        <a:pt x="19029" y="34463"/>
                        <a:pt x="20501" y="36760"/>
                      </a:cubicBezTo>
                      <a:cubicBezTo>
                        <a:pt x="21974" y="39058"/>
                        <a:pt x="23933" y="41090"/>
                        <a:pt x="26378" y="42858"/>
                      </a:cubicBezTo>
                      <a:cubicBezTo>
                        <a:pt x="28823" y="44625"/>
                        <a:pt x="31606" y="46245"/>
                        <a:pt x="34728" y="47718"/>
                      </a:cubicBezTo>
                      <a:cubicBezTo>
                        <a:pt x="37851" y="49191"/>
                        <a:pt x="41032" y="50678"/>
                        <a:pt x="44272" y="52180"/>
                      </a:cubicBezTo>
                      <a:cubicBezTo>
                        <a:pt x="47512" y="53683"/>
                        <a:pt x="50693" y="55332"/>
                        <a:pt x="53816" y="57129"/>
                      </a:cubicBezTo>
                      <a:cubicBezTo>
                        <a:pt x="56938" y="58926"/>
                        <a:pt x="59721" y="61046"/>
                        <a:pt x="62166" y="63491"/>
                      </a:cubicBezTo>
                      <a:cubicBezTo>
                        <a:pt x="64611" y="65936"/>
                        <a:pt x="66585" y="68823"/>
                        <a:pt x="68087" y="72151"/>
                      </a:cubicBezTo>
                      <a:cubicBezTo>
                        <a:pt x="69589" y="75480"/>
                        <a:pt x="70340" y="79412"/>
                        <a:pt x="70340" y="83948"/>
                      </a:cubicBezTo>
                      <a:cubicBezTo>
                        <a:pt x="70340" y="89309"/>
                        <a:pt x="69353" y="94081"/>
                        <a:pt x="67380" y="98264"/>
                      </a:cubicBezTo>
                      <a:cubicBezTo>
                        <a:pt x="65406" y="102446"/>
                        <a:pt x="62667" y="105996"/>
                        <a:pt x="59162" y="108912"/>
                      </a:cubicBezTo>
                      <a:cubicBezTo>
                        <a:pt x="55657" y="111828"/>
                        <a:pt x="51533" y="114022"/>
                        <a:pt x="46790" y="115495"/>
                      </a:cubicBezTo>
                      <a:cubicBezTo>
                        <a:pt x="42048" y="116968"/>
                        <a:pt x="36938" y="117704"/>
                        <a:pt x="31459" y="117704"/>
                      </a:cubicBezTo>
                      <a:cubicBezTo>
                        <a:pt x="27630" y="117704"/>
                        <a:pt x="24080" y="117380"/>
                        <a:pt x="20811" y="116732"/>
                      </a:cubicBezTo>
                      <a:cubicBezTo>
                        <a:pt x="17541" y="116084"/>
                        <a:pt x="14625" y="115289"/>
                        <a:pt x="12062" y="114346"/>
                      </a:cubicBezTo>
                      <a:cubicBezTo>
                        <a:pt x="9500" y="113404"/>
                        <a:pt x="7349" y="112432"/>
                        <a:pt x="5612" y="111430"/>
                      </a:cubicBezTo>
                      <a:cubicBezTo>
                        <a:pt x="3874" y="110429"/>
                        <a:pt x="2666" y="109574"/>
                        <a:pt x="1989" y="108868"/>
                      </a:cubicBezTo>
                      <a:cubicBezTo>
                        <a:pt x="1311" y="108161"/>
                        <a:pt x="810" y="107262"/>
                        <a:pt x="486" y="106172"/>
                      </a:cubicBezTo>
                      <a:cubicBezTo>
                        <a:pt x="162" y="105083"/>
                        <a:pt x="0" y="103624"/>
                        <a:pt x="0" y="101798"/>
                      </a:cubicBezTo>
                      <a:cubicBezTo>
                        <a:pt x="0" y="100502"/>
                        <a:pt x="59" y="99427"/>
                        <a:pt x="177" y="98573"/>
                      </a:cubicBezTo>
                      <a:cubicBezTo>
                        <a:pt x="295" y="97719"/>
                        <a:pt x="472" y="97026"/>
                        <a:pt x="707" y="96496"/>
                      </a:cubicBezTo>
                      <a:cubicBezTo>
                        <a:pt x="943" y="95966"/>
                        <a:pt x="1237" y="95598"/>
                        <a:pt x="1591" y="95392"/>
                      </a:cubicBezTo>
                      <a:cubicBezTo>
                        <a:pt x="1944" y="95185"/>
                        <a:pt x="2357" y="95082"/>
                        <a:pt x="2828" y="95082"/>
                      </a:cubicBezTo>
                      <a:cubicBezTo>
                        <a:pt x="3653" y="95082"/>
                        <a:pt x="4816" y="95583"/>
                        <a:pt x="6319" y="96585"/>
                      </a:cubicBezTo>
                      <a:cubicBezTo>
                        <a:pt x="7821" y="97586"/>
                        <a:pt x="9750" y="98676"/>
                        <a:pt x="12107" y="99854"/>
                      </a:cubicBezTo>
                      <a:cubicBezTo>
                        <a:pt x="14463" y="101032"/>
                        <a:pt x="17305" y="102137"/>
                        <a:pt x="20634" y="103168"/>
                      </a:cubicBezTo>
                      <a:cubicBezTo>
                        <a:pt x="23962" y="104199"/>
                        <a:pt x="27806" y="104714"/>
                        <a:pt x="32166" y="104714"/>
                      </a:cubicBezTo>
                      <a:cubicBezTo>
                        <a:pt x="35465" y="104714"/>
                        <a:pt x="38484" y="104272"/>
                        <a:pt x="41223" y="103389"/>
                      </a:cubicBezTo>
                      <a:cubicBezTo>
                        <a:pt x="43963" y="102505"/>
                        <a:pt x="46319" y="101253"/>
                        <a:pt x="48293" y="99633"/>
                      </a:cubicBezTo>
                      <a:cubicBezTo>
                        <a:pt x="50266" y="98013"/>
                        <a:pt x="51783" y="96025"/>
                        <a:pt x="52844" y="93668"/>
                      </a:cubicBezTo>
                      <a:cubicBezTo>
                        <a:pt x="53904" y="91312"/>
                        <a:pt x="54434" y="88632"/>
                        <a:pt x="54434" y="85627"/>
                      </a:cubicBezTo>
                      <a:cubicBezTo>
                        <a:pt x="54434" y="82387"/>
                        <a:pt x="53698" y="79618"/>
                        <a:pt x="52225" y="77321"/>
                      </a:cubicBezTo>
                      <a:cubicBezTo>
                        <a:pt x="50752" y="75023"/>
                        <a:pt x="48808" y="73005"/>
                        <a:pt x="46393" y="71267"/>
                      </a:cubicBezTo>
                      <a:cubicBezTo>
                        <a:pt x="43977" y="69530"/>
                        <a:pt x="41223" y="67939"/>
                        <a:pt x="38131" y="66496"/>
                      </a:cubicBezTo>
                      <a:cubicBezTo>
                        <a:pt x="35038" y="65052"/>
                        <a:pt x="31871" y="63580"/>
                        <a:pt x="28631" y="62077"/>
                      </a:cubicBezTo>
                      <a:cubicBezTo>
                        <a:pt x="25391" y="60575"/>
                        <a:pt x="22239" y="58911"/>
                        <a:pt x="19176" y="57085"/>
                      </a:cubicBezTo>
                      <a:cubicBezTo>
                        <a:pt x="16112" y="55258"/>
                        <a:pt x="13373" y="53108"/>
                        <a:pt x="10958" y="50634"/>
                      </a:cubicBezTo>
                      <a:cubicBezTo>
                        <a:pt x="8542" y="48160"/>
                        <a:pt x="6584" y="45258"/>
                        <a:pt x="5081" y="41930"/>
                      </a:cubicBezTo>
                      <a:cubicBezTo>
                        <a:pt x="3579" y="38601"/>
                        <a:pt x="2828" y="34610"/>
                        <a:pt x="2828" y="29956"/>
                      </a:cubicBezTo>
                      <a:cubicBezTo>
                        <a:pt x="2828" y="25184"/>
                        <a:pt x="3697" y="20928"/>
                        <a:pt x="5435" y="17187"/>
                      </a:cubicBezTo>
                      <a:cubicBezTo>
                        <a:pt x="7173" y="13446"/>
                        <a:pt x="9588" y="10309"/>
                        <a:pt x="12681" y="7776"/>
                      </a:cubicBezTo>
                      <a:cubicBezTo>
                        <a:pt x="15774" y="5243"/>
                        <a:pt x="19456" y="3314"/>
                        <a:pt x="23727" y="1988"/>
                      </a:cubicBezTo>
                      <a:cubicBezTo>
                        <a:pt x="27998" y="663"/>
                        <a:pt x="32608" y="0"/>
                        <a:pt x="37556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1" name="Полілінія: фігура 40">
                  <a:extLst>
                    <a:ext uri="{FF2B5EF4-FFF2-40B4-BE49-F238E27FC236}">
                      <a16:creationId xmlns:a16="http://schemas.microsoft.com/office/drawing/2014/main" id="{86E49213-FE73-7BB7-A06A-E515CEA434A5}"/>
                    </a:ext>
                  </a:extLst>
                </p:cNvPr>
                <p:cNvSpPr/>
                <p:nvPr/>
              </p:nvSpPr>
              <p:spPr>
                <a:xfrm>
                  <a:off x="5378742" y="6332891"/>
                  <a:ext cx="51960" cy="1072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960" h="107277">
                      <a:moveTo>
                        <a:pt x="21297" y="0"/>
                      </a:moveTo>
                      <a:cubicBezTo>
                        <a:pt x="22769" y="0"/>
                        <a:pt x="23977" y="59"/>
                        <a:pt x="24920" y="177"/>
                      </a:cubicBezTo>
                      <a:cubicBezTo>
                        <a:pt x="25862" y="295"/>
                        <a:pt x="26599" y="486"/>
                        <a:pt x="27129" y="751"/>
                      </a:cubicBezTo>
                      <a:cubicBezTo>
                        <a:pt x="27659" y="1017"/>
                        <a:pt x="28042" y="1326"/>
                        <a:pt x="28278" y="1679"/>
                      </a:cubicBezTo>
                      <a:cubicBezTo>
                        <a:pt x="28513" y="2033"/>
                        <a:pt x="28631" y="2416"/>
                        <a:pt x="28631" y="2828"/>
                      </a:cubicBezTo>
                      <a:lnTo>
                        <a:pt x="28631" y="21738"/>
                      </a:lnTo>
                      <a:lnTo>
                        <a:pt x="49044" y="21738"/>
                      </a:lnTo>
                      <a:cubicBezTo>
                        <a:pt x="49515" y="21738"/>
                        <a:pt x="49927" y="21842"/>
                        <a:pt x="50281" y="22048"/>
                      </a:cubicBezTo>
                      <a:cubicBezTo>
                        <a:pt x="50634" y="22254"/>
                        <a:pt x="50944" y="22607"/>
                        <a:pt x="51209" y="23108"/>
                      </a:cubicBezTo>
                      <a:cubicBezTo>
                        <a:pt x="51474" y="23609"/>
                        <a:pt x="51665" y="24242"/>
                        <a:pt x="51783" y="25008"/>
                      </a:cubicBezTo>
                      <a:cubicBezTo>
                        <a:pt x="51901" y="25774"/>
                        <a:pt x="51960" y="26716"/>
                        <a:pt x="51960" y="27836"/>
                      </a:cubicBezTo>
                      <a:cubicBezTo>
                        <a:pt x="51960" y="29957"/>
                        <a:pt x="51695" y="31488"/>
                        <a:pt x="51165" y="32431"/>
                      </a:cubicBezTo>
                      <a:cubicBezTo>
                        <a:pt x="50634" y="33373"/>
                        <a:pt x="49927" y="33845"/>
                        <a:pt x="49044" y="33845"/>
                      </a:cubicBezTo>
                      <a:lnTo>
                        <a:pt x="28631" y="33845"/>
                      </a:lnTo>
                      <a:lnTo>
                        <a:pt x="28631" y="78205"/>
                      </a:lnTo>
                      <a:cubicBezTo>
                        <a:pt x="28631" y="83684"/>
                        <a:pt x="29441" y="87822"/>
                        <a:pt x="31061" y="90620"/>
                      </a:cubicBezTo>
                      <a:cubicBezTo>
                        <a:pt x="32681" y="93419"/>
                        <a:pt x="35583" y="94818"/>
                        <a:pt x="39765" y="94818"/>
                      </a:cubicBezTo>
                      <a:cubicBezTo>
                        <a:pt x="41120" y="94818"/>
                        <a:pt x="42328" y="94685"/>
                        <a:pt x="43388" y="94420"/>
                      </a:cubicBezTo>
                      <a:cubicBezTo>
                        <a:pt x="44449" y="94155"/>
                        <a:pt x="45391" y="93875"/>
                        <a:pt x="46216" y="93581"/>
                      </a:cubicBezTo>
                      <a:cubicBezTo>
                        <a:pt x="47041" y="93286"/>
                        <a:pt x="47748" y="93006"/>
                        <a:pt x="48337" y="92741"/>
                      </a:cubicBezTo>
                      <a:cubicBezTo>
                        <a:pt x="48926" y="92476"/>
                        <a:pt x="49456" y="92343"/>
                        <a:pt x="49927" y="92343"/>
                      </a:cubicBezTo>
                      <a:cubicBezTo>
                        <a:pt x="50222" y="92343"/>
                        <a:pt x="50502" y="92417"/>
                        <a:pt x="50767" y="92564"/>
                      </a:cubicBezTo>
                      <a:cubicBezTo>
                        <a:pt x="51032" y="92712"/>
                        <a:pt x="51238" y="92992"/>
                        <a:pt x="51386" y="93404"/>
                      </a:cubicBezTo>
                      <a:cubicBezTo>
                        <a:pt x="51533" y="93816"/>
                        <a:pt x="51665" y="94376"/>
                        <a:pt x="51783" y="95083"/>
                      </a:cubicBezTo>
                      <a:cubicBezTo>
                        <a:pt x="51901" y="95790"/>
                        <a:pt x="51960" y="96673"/>
                        <a:pt x="51960" y="97734"/>
                      </a:cubicBezTo>
                      <a:cubicBezTo>
                        <a:pt x="51960" y="99442"/>
                        <a:pt x="51842" y="100797"/>
                        <a:pt x="51606" y="101799"/>
                      </a:cubicBezTo>
                      <a:cubicBezTo>
                        <a:pt x="51371" y="102800"/>
                        <a:pt x="51017" y="103537"/>
                        <a:pt x="50546" y="104008"/>
                      </a:cubicBezTo>
                      <a:cubicBezTo>
                        <a:pt x="50075" y="104479"/>
                        <a:pt x="49368" y="104921"/>
                        <a:pt x="48425" y="105333"/>
                      </a:cubicBezTo>
                      <a:cubicBezTo>
                        <a:pt x="47483" y="105746"/>
                        <a:pt x="46408" y="106085"/>
                        <a:pt x="45200" y="106350"/>
                      </a:cubicBezTo>
                      <a:cubicBezTo>
                        <a:pt x="43992" y="106615"/>
                        <a:pt x="42711" y="106836"/>
                        <a:pt x="41356" y="107012"/>
                      </a:cubicBezTo>
                      <a:cubicBezTo>
                        <a:pt x="40001" y="107189"/>
                        <a:pt x="38646" y="107277"/>
                        <a:pt x="37291" y="107277"/>
                      </a:cubicBezTo>
                      <a:cubicBezTo>
                        <a:pt x="33167" y="107277"/>
                        <a:pt x="29633" y="106733"/>
                        <a:pt x="26687" y="105643"/>
                      </a:cubicBezTo>
                      <a:cubicBezTo>
                        <a:pt x="23741" y="104553"/>
                        <a:pt x="21326" y="102903"/>
                        <a:pt x="19441" y="100694"/>
                      </a:cubicBezTo>
                      <a:cubicBezTo>
                        <a:pt x="17556" y="98485"/>
                        <a:pt x="16186" y="95687"/>
                        <a:pt x="15332" y="92299"/>
                      </a:cubicBezTo>
                      <a:cubicBezTo>
                        <a:pt x="14478" y="88912"/>
                        <a:pt x="14051" y="84921"/>
                        <a:pt x="14051" y="80326"/>
                      </a:cubicBezTo>
                      <a:lnTo>
                        <a:pt x="14051" y="33845"/>
                      </a:lnTo>
                      <a:lnTo>
                        <a:pt x="2916" y="33845"/>
                      </a:lnTo>
                      <a:cubicBezTo>
                        <a:pt x="2033" y="33845"/>
                        <a:pt x="1326" y="33373"/>
                        <a:pt x="796" y="32431"/>
                      </a:cubicBezTo>
                      <a:cubicBezTo>
                        <a:pt x="265" y="31488"/>
                        <a:pt x="0" y="29957"/>
                        <a:pt x="0" y="27836"/>
                      </a:cubicBezTo>
                      <a:cubicBezTo>
                        <a:pt x="0" y="26716"/>
                        <a:pt x="74" y="25774"/>
                        <a:pt x="221" y="25008"/>
                      </a:cubicBezTo>
                      <a:cubicBezTo>
                        <a:pt x="368" y="24242"/>
                        <a:pt x="560" y="23609"/>
                        <a:pt x="796" y="23108"/>
                      </a:cubicBezTo>
                      <a:cubicBezTo>
                        <a:pt x="1031" y="22607"/>
                        <a:pt x="1341" y="22254"/>
                        <a:pt x="1723" y="22048"/>
                      </a:cubicBezTo>
                      <a:cubicBezTo>
                        <a:pt x="2106" y="21842"/>
                        <a:pt x="2533" y="21738"/>
                        <a:pt x="3005" y="21738"/>
                      </a:cubicBezTo>
                      <a:lnTo>
                        <a:pt x="14051" y="21738"/>
                      </a:lnTo>
                      <a:lnTo>
                        <a:pt x="14051" y="2828"/>
                      </a:lnTo>
                      <a:cubicBezTo>
                        <a:pt x="14051" y="2416"/>
                        <a:pt x="14154" y="2033"/>
                        <a:pt x="14360" y="1679"/>
                      </a:cubicBezTo>
                      <a:cubicBezTo>
                        <a:pt x="14566" y="1326"/>
                        <a:pt x="14949" y="1017"/>
                        <a:pt x="15509" y="751"/>
                      </a:cubicBezTo>
                      <a:cubicBezTo>
                        <a:pt x="16068" y="486"/>
                        <a:pt x="16819" y="295"/>
                        <a:pt x="17762" y="177"/>
                      </a:cubicBezTo>
                      <a:cubicBezTo>
                        <a:pt x="18705" y="59"/>
                        <a:pt x="19883" y="0"/>
                        <a:pt x="21297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2" name="Полілінія: фігура 41">
                  <a:extLst>
                    <a:ext uri="{FF2B5EF4-FFF2-40B4-BE49-F238E27FC236}">
                      <a16:creationId xmlns:a16="http://schemas.microsoft.com/office/drawing/2014/main" id="{0C4B736B-3B4A-B097-C559-6CDAA3D58CD1}"/>
                    </a:ext>
                  </a:extLst>
                </p:cNvPr>
                <p:cNvSpPr/>
                <p:nvPr/>
              </p:nvSpPr>
              <p:spPr>
                <a:xfrm>
                  <a:off x="5022094" y="6352950"/>
                  <a:ext cx="73168" cy="873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168" h="87394">
                      <a:moveTo>
                        <a:pt x="38175" y="0"/>
                      </a:moveTo>
                      <a:cubicBezTo>
                        <a:pt x="44419" y="0"/>
                        <a:pt x="49736" y="1001"/>
                        <a:pt x="54125" y="3004"/>
                      </a:cubicBezTo>
                      <a:cubicBezTo>
                        <a:pt x="58514" y="5007"/>
                        <a:pt x="62122" y="7702"/>
                        <a:pt x="64950" y="11090"/>
                      </a:cubicBezTo>
                      <a:cubicBezTo>
                        <a:pt x="67778" y="14477"/>
                        <a:pt x="69854" y="18453"/>
                        <a:pt x="71180" y="23019"/>
                      </a:cubicBezTo>
                      <a:cubicBezTo>
                        <a:pt x="72505" y="27585"/>
                        <a:pt x="73168" y="32460"/>
                        <a:pt x="73168" y="37644"/>
                      </a:cubicBezTo>
                      <a:lnTo>
                        <a:pt x="73168" y="40295"/>
                      </a:lnTo>
                      <a:cubicBezTo>
                        <a:pt x="73168" y="42592"/>
                        <a:pt x="72591" y="44227"/>
                        <a:pt x="71437" y="45199"/>
                      </a:cubicBezTo>
                      <a:cubicBezTo>
                        <a:pt x="70283" y="46171"/>
                        <a:pt x="68966" y="46657"/>
                        <a:pt x="67486" y="46657"/>
                      </a:cubicBezTo>
                      <a:lnTo>
                        <a:pt x="15111" y="46657"/>
                      </a:lnTo>
                      <a:cubicBezTo>
                        <a:pt x="15111" y="51075"/>
                        <a:pt x="15555" y="55052"/>
                        <a:pt x="16443" y="58587"/>
                      </a:cubicBezTo>
                      <a:cubicBezTo>
                        <a:pt x="17331" y="62121"/>
                        <a:pt x="18811" y="65155"/>
                        <a:pt x="20883" y="67688"/>
                      </a:cubicBezTo>
                      <a:cubicBezTo>
                        <a:pt x="22955" y="70222"/>
                        <a:pt x="25648" y="72166"/>
                        <a:pt x="28963" y="73521"/>
                      </a:cubicBezTo>
                      <a:cubicBezTo>
                        <a:pt x="32278" y="74876"/>
                        <a:pt x="36333" y="75553"/>
                        <a:pt x="41128" y="75553"/>
                      </a:cubicBezTo>
                      <a:cubicBezTo>
                        <a:pt x="44917" y="75553"/>
                        <a:pt x="48291" y="75244"/>
                        <a:pt x="51251" y="74625"/>
                      </a:cubicBezTo>
                      <a:cubicBezTo>
                        <a:pt x="54211" y="74007"/>
                        <a:pt x="56771" y="73314"/>
                        <a:pt x="58932" y="72549"/>
                      </a:cubicBezTo>
                      <a:cubicBezTo>
                        <a:pt x="61093" y="71783"/>
                        <a:pt x="62869" y="71091"/>
                        <a:pt x="64260" y="70472"/>
                      </a:cubicBezTo>
                      <a:cubicBezTo>
                        <a:pt x="65652" y="69853"/>
                        <a:pt x="66702" y="69544"/>
                        <a:pt x="67413" y="69544"/>
                      </a:cubicBezTo>
                      <a:cubicBezTo>
                        <a:pt x="67827" y="69544"/>
                        <a:pt x="68197" y="69647"/>
                        <a:pt x="68523" y="69853"/>
                      </a:cubicBezTo>
                      <a:cubicBezTo>
                        <a:pt x="68848" y="70060"/>
                        <a:pt x="69099" y="70369"/>
                        <a:pt x="69277" y="70781"/>
                      </a:cubicBezTo>
                      <a:cubicBezTo>
                        <a:pt x="69455" y="71194"/>
                        <a:pt x="69588" y="71768"/>
                        <a:pt x="69677" y="72504"/>
                      </a:cubicBezTo>
                      <a:cubicBezTo>
                        <a:pt x="69766" y="73241"/>
                        <a:pt x="69810" y="74139"/>
                        <a:pt x="69810" y="75200"/>
                      </a:cubicBezTo>
                      <a:cubicBezTo>
                        <a:pt x="69810" y="75965"/>
                        <a:pt x="69781" y="76628"/>
                        <a:pt x="69722" y="77188"/>
                      </a:cubicBezTo>
                      <a:cubicBezTo>
                        <a:pt x="69663" y="77748"/>
                        <a:pt x="69589" y="78248"/>
                        <a:pt x="69501" y="78690"/>
                      </a:cubicBezTo>
                      <a:cubicBezTo>
                        <a:pt x="69412" y="79132"/>
                        <a:pt x="69265" y="79530"/>
                        <a:pt x="69059" y="79883"/>
                      </a:cubicBezTo>
                      <a:cubicBezTo>
                        <a:pt x="68853" y="80236"/>
                        <a:pt x="68588" y="80575"/>
                        <a:pt x="68264" y="80899"/>
                      </a:cubicBezTo>
                      <a:cubicBezTo>
                        <a:pt x="67940" y="81223"/>
                        <a:pt x="66982" y="81753"/>
                        <a:pt x="65392" y="82490"/>
                      </a:cubicBezTo>
                      <a:cubicBezTo>
                        <a:pt x="63801" y="83226"/>
                        <a:pt x="61739" y="83948"/>
                        <a:pt x="59206" y="84655"/>
                      </a:cubicBezTo>
                      <a:cubicBezTo>
                        <a:pt x="56673" y="85362"/>
                        <a:pt x="53742" y="85995"/>
                        <a:pt x="50414" y="86555"/>
                      </a:cubicBezTo>
                      <a:cubicBezTo>
                        <a:pt x="47085" y="87114"/>
                        <a:pt x="43536" y="87394"/>
                        <a:pt x="39765" y="87394"/>
                      </a:cubicBezTo>
                      <a:cubicBezTo>
                        <a:pt x="33226" y="87394"/>
                        <a:pt x="27497" y="86481"/>
                        <a:pt x="22578" y="84655"/>
                      </a:cubicBezTo>
                      <a:cubicBezTo>
                        <a:pt x="17659" y="82829"/>
                        <a:pt x="13520" y="80119"/>
                        <a:pt x="10163" y="76525"/>
                      </a:cubicBezTo>
                      <a:cubicBezTo>
                        <a:pt x="6805" y="72932"/>
                        <a:pt x="4271" y="68425"/>
                        <a:pt x="2563" y="63005"/>
                      </a:cubicBezTo>
                      <a:cubicBezTo>
                        <a:pt x="855" y="57585"/>
                        <a:pt x="0" y="51282"/>
                        <a:pt x="0" y="44095"/>
                      </a:cubicBezTo>
                      <a:cubicBezTo>
                        <a:pt x="0" y="37261"/>
                        <a:pt x="884" y="31119"/>
                        <a:pt x="2651" y="25670"/>
                      </a:cubicBezTo>
                      <a:cubicBezTo>
                        <a:pt x="4419" y="20221"/>
                        <a:pt x="6967" y="15596"/>
                        <a:pt x="10295" y="11796"/>
                      </a:cubicBezTo>
                      <a:cubicBezTo>
                        <a:pt x="13624" y="7997"/>
                        <a:pt x="17644" y="5081"/>
                        <a:pt x="22357" y="3048"/>
                      </a:cubicBezTo>
                      <a:cubicBezTo>
                        <a:pt x="27070" y="1016"/>
                        <a:pt x="32343" y="0"/>
                        <a:pt x="38175" y="0"/>
                      </a:cubicBezTo>
                      <a:close/>
                      <a:moveTo>
                        <a:pt x="37428" y="11399"/>
                      </a:moveTo>
                      <a:cubicBezTo>
                        <a:pt x="33812" y="11399"/>
                        <a:pt x="30641" y="12076"/>
                        <a:pt x="27915" y="13431"/>
                      </a:cubicBezTo>
                      <a:cubicBezTo>
                        <a:pt x="25188" y="14786"/>
                        <a:pt x="22906" y="16583"/>
                        <a:pt x="21068" y="18822"/>
                      </a:cubicBezTo>
                      <a:cubicBezTo>
                        <a:pt x="19230" y="21060"/>
                        <a:pt x="17808" y="23667"/>
                        <a:pt x="16800" y="26642"/>
                      </a:cubicBezTo>
                      <a:cubicBezTo>
                        <a:pt x="15793" y="29617"/>
                        <a:pt x="15230" y="32725"/>
                        <a:pt x="15111" y="35965"/>
                      </a:cubicBezTo>
                      <a:lnTo>
                        <a:pt x="58499" y="35965"/>
                      </a:lnTo>
                      <a:cubicBezTo>
                        <a:pt x="58676" y="28306"/>
                        <a:pt x="56972" y="22297"/>
                        <a:pt x="53386" y="17938"/>
                      </a:cubicBezTo>
                      <a:cubicBezTo>
                        <a:pt x="49801" y="13579"/>
                        <a:pt x="44481" y="11399"/>
                        <a:pt x="37428" y="11399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3" name="Полілінія: фігура 42">
                  <a:extLst>
                    <a:ext uri="{FF2B5EF4-FFF2-40B4-BE49-F238E27FC236}">
                      <a16:creationId xmlns:a16="http://schemas.microsoft.com/office/drawing/2014/main" id="{4B31DBBE-31DE-5645-584E-51A0EFB8A292}"/>
                    </a:ext>
                  </a:extLst>
                </p:cNvPr>
                <p:cNvSpPr/>
                <p:nvPr/>
              </p:nvSpPr>
              <p:spPr>
                <a:xfrm>
                  <a:off x="5284572" y="6352951"/>
                  <a:ext cx="46481" cy="86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81" h="86245">
                      <a:moveTo>
                        <a:pt x="34905" y="0"/>
                      </a:moveTo>
                      <a:cubicBezTo>
                        <a:pt x="35671" y="0"/>
                        <a:pt x="36540" y="44"/>
                        <a:pt x="37512" y="132"/>
                      </a:cubicBezTo>
                      <a:cubicBezTo>
                        <a:pt x="38484" y="220"/>
                        <a:pt x="39500" y="382"/>
                        <a:pt x="40561" y="618"/>
                      </a:cubicBezTo>
                      <a:cubicBezTo>
                        <a:pt x="41621" y="854"/>
                        <a:pt x="42578" y="1119"/>
                        <a:pt x="43433" y="1413"/>
                      </a:cubicBezTo>
                      <a:cubicBezTo>
                        <a:pt x="44287" y="1708"/>
                        <a:pt x="44891" y="2003"/>
                        <a:pt x="45244" y="2297"/>
                      </a:cubicBezTo>
                      <a:cubicBezTo>
                        <a:pt x="45598" y="2592"/>
                        <a:pt x="45833" y="2871"/>
                        <a:pt x="45951" y="3137"/>
                      </a:cubicBezTo>
                      <a:cubicBezTo>
                        <a:pt x="46069" y="3402"/>
                        <a:pt x="46172" y="3740"/>
                        <a:pt x="46260" y="4153"/>
                      </a:cubicBezTo>
                      <a:cubicBezTo>
                        <a:pt x="46349" y="4565"/>
                        <a:pt x="46408" y="5169"/>
                        <a:pt x="46437" y="5964"/>
                      </a:cubicBezTo>
                      <a:cubicBezTo>
                        <a:pt x="46466" y="6760"/>
                        <a:pt x="46481" y="7835"/>
                        <a:pt x="46481" y="9190"/>
                      </a:cubicBezTo>
                      <a:cubicBezTo>
                        <a:pt x="46481" y="10486"/>
                        <a:pt x="46452" y="11576"/>
                        <a:pt x="46393" y="12459"/>
                      </a:cubicBezTo>
                      <a:cubicBezTo>
                        <a:pt x="46334" y="13343"/>
                        <a:pt x="46216" y="14035"/>
                        <a:pt x="46039" y="14536"/>
                      </a:cubicBezTo>
                      <a:cubicBezTo>
                        <a:pt x="45863" y="15037"/>
                        <a:pt x="45642" y="15420"/>
                        <a:pt x="45377" y="15685"/>
                      </a:cubicBezTo>
                      <a:cubicBezTo>
                        <a:pt x="45112" y="15950"/>
                        <a:pt x="44743" y="16082"/>
                        <a:pt x="44272" y="16082"/>
                      </a:cubicBezTo>
                      <a:cubicBezTo>
                        <a:pt x="43801" y="16082"/>
                        <a:pt x="43226" y="15950"/>
                        <a:pt x="42549" y="15685"/>
                      </a:cubicBezTo>
                      <a:cubicBezTo>
                        <a:pt x="41871" y="15420"/>
                        <a:pt x="41106" y="15154"/>
                        <a:pt x="40251" y="14889"/>
                      </a:cubicBezTo>
                      <a:cubicBezTo>
                        <a:pt x="39397" y="14624"/>
                        <a:pt x="38440" y="14374"/>
                        <a:pt x="37379" y="14138"/>
                      </a:cubicBezTo>
                      <a:cubicBezTo>
                        <a:pt x="36319" y="13903"/>
                        <a:pt x="35170" y="13785"/>
                        <a:pt x="33933" y="13785"/>
                      </a:cubicBezTo>
                      <a:cubicBezTo>
                        <a:pt x="32460" y="13785"/>
                        <a:pt x="31017" y="14079"/>
                        <a:pt x="29603" y="14668"/>
                      </a:cubicBezTo>
                      <a:cubicBezTo>
                        <a:pt x="28189" y="15258"/>
                        <a:pt x="26702" y="16230"/>
                        <a:pt x="25141" y="17585"/>
                      </a:cubicBezTo>
                      <a:cubicBezTo>
                        <a:pt x="23580" y="18939"/>
                        <a:pt x="21945" y="20736"/>
                        <a:pt x="20236" y="22975"/>
                      </a:cubicBezTo>
                      <a:cubicBezTo>
                        <a:pt x="18528" y="25214"/>
                        <a:pt x="16643" y="27953"/>
                        <a:pt x="14581" y="31193"/>
                      </a:cubicBezTo>
                      <a:lnTo>
                        <a:pt x="14581" y="83506"/>
                      </a:lnTo>
                      <a:cubicBezTo>
                        <a:pt x="14581" y="83977"/>
                        <a:pt x="14463" y="84375"/>
                        <a:pt x="14227" y="84699"/>
                      </a:cubicBezTo>
                      <a:cubicBezTo>
                        <a:pt x="13992" y="85023"/>
                        <a:pt x="13609" y="85303"/>
                        <a:pt x="13079" y="85538"/>
                      </a:cubicBezTo>
                      <a:cubicBezTo>
                        <a:pt x="12548" y="85774"/>
                        <a:pt x="11812" y="85951"/>
                        <a:pt x="10869" y="86069"/>
                      </a:cubicBezTo>
                      <a:cubicBezTo>
                        <a:pt x="9927" y="86187"/>
                        <a:pt x="8719" y="86245"/>
                        <a:pt x="7246" y="86245"/>
                      </a:cubicBezTo>
                      <a:cubicBezTo>
                        <a:pt x="5833" y="86245"/>
                        <a:pt x="4654" y="86187"/>
                        <a:pt x="3712" y="86069"/>
                      </a:cubicBezTo>
                      <a:cubicBezTo>
                        <a:pt x="2769" y="85951"/>
                        <a:pt x="2018" y="85774"/>
                        <a:pt x="1458" y="85538"/>
                      </a:cubicBezTo>
                      <a:cubicBezTo>
                        <a:pt x="899" y="85303"/>
                        <a:pt x="516" y="85023"/>
                        <a:pt x="310" y="84699"/>
                      </a:cubicBezTo>
                      <a:cubicBezTo>
                        <a:pt x="103" y="84375"/>
                        <a:pt x="0" y="83977"/>
                        <a:pt x="0" y="83506"/>
                      </a:cubicBezTo>
                      <a:lnTo>
                        <a:pt x="0" y="3976"/>
                      </a:lnTo>
                      <a:cubicBezTo>
                        <a:pt x="0" y="3505"/>
                        <a:pt x="89" y="3107"/>
                        <a:pt x="265" y="2783"/>
                      </a:cubicBezTo>
                      <a:cubicBezTo>
                        <a:pt x="442" y="2459"/>
                        <a:pt x="796" y="2165"/>
                        <a:pt x="1326" y="1899"/>
                      </a:cubicBezTo>
                      <a:cubicBezTo>
                        <a:pt x="1856" y="1634"/>
                        <a:pt x="2533" y="1458"/>
                        <a:pt x="3358" y="1369"/>
                      </a:cubicBezTo>
                      <a:cubicBezTo>
                        <a:pt x="4183" y="1281"/>
                        <a:pt x="5273" y="1237"/>
                        <a:pt x="6628" y="1237"/>
                      </a:cubicBezTo>
                      <a:cubicBezTo>
                        <a:pt x="7924" y="1237"/>
                        <a:pt x="8999" y="1281"/>
                        <a:pt x="9853" y="1369"/>
                      </a:cubicBezTo>
                      <a:cubicBezTo>
                        <a:pt x="10707" y="1458"/>
                        <a:pt x="11370" y="1634"/>
                        <a:pt x="11841" y="1899"/>
                      </a:cubicBezTo>
                      <a:cubicBezTo>
                        <a:pt x="12313" y="2165"/>
                        <a:pt x="12652" y="2459"/>
                        <a:pt x="12858" y="2783"/>
                      </a:cubicBezTo>
                      <a:cubicBezTo>
                        <a:pt x="13064" y="3107"/>
                        <a:pt x="13167" y="3505"/>
                        <a:pt x="13167" y="3976"/>
                      </a:cubicBezTo>
                      <a:lnTo>
                        <a:pt x="13167" y="15552"/>
                      </a:lnTo>
                      <a:cubicBezTo>
                        <a:pt x="15347" y="12371"/>
                        <a:pt x="17394" y="9779"/>
                        <a:pt x="19308" y="7776"/>
                      </a:cubicBezTo>
                      <a:cubicBezTo>
                        <a:pt x="21223" y="5773"/>
                        <a:pt x="23035" y="4197"/>
                        <a:pt x="24743" y="3048"/>
                      </a:cubicBezTo>
                      <a:cubicBezTo>
                        <a:pt x="26451" y="1899"/>
                        <a:pt x="28145" y="1104"/>
                        <a:pt x="29824" y="662"/>
                      </a:cubicBezTo>
                      <a:cubicBezTo>
                        <a:pt x="31503" y="220"/>
                        <a:pt x="33197" y="0"/>
                        <a:pt x="34905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4" name="Полілінія: фігура 43">
                  <a:extLst>
                    <a:ext uri="{FF2B5EF4-FFF2-40B4-BE49-F238E27FC236}">
                      <a16:creationId xmlns:a16="http://schemas.microsoft.com/office/drawing/2014/main" id="{B8A3D603-ADC3-8C77-1D42-F64B718399AE}"/>
                    </a:ext>
                  </a:extLst>
                </p:cNvPr>
                <p:cNvSpPr/>
                <p:nvPr/>
              </p:nvSpPr>
              <p:spPr>
                <a:xfrm>
                  <a:off x="5107555" y="6353038"/>
                  <a:ext cx="62741" cy="873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41" h="87306">
                      <a:moveTo>
                        <a:pt x="37114" y="0"/>
                      </a:moveTo>
                      <a:cubicBezTo>
                        <a:pt x="39647" y="0"/>
                        <a:pt x="42107" y="236"/>
                        <a:pt x="44493" y="707"/>
                      </a:cubicBezTo>
                      <a:cubicBezTo>
                        <a:pt x="46879" y="1178"/>
                        <a:pt x="49073" y="1797"/>
                        <a:pt x="51076" y="2563"/>
                      </a:cubicBezTo>
                      <a:cubicBezTo>
                        <a:pt x="53079" y="3328"/>
                        <a:pt x="54861" y="4212"/>
                        <a:pt x="56422" y="5214"/>
                      </a:cubicBezTo>
                      <a:cubicBezTo>
                        <a:pt x="57984" y="6215"/>
                        <a:pt x="59118" y="7069"/>
                        <a:pt x="59825" y="7776"/>
                      </a:cubicBezTo>
                      <a:cubicBezTo>
                        <a:pt x="60531" y="8483"/>
                        <a:pt x="61017" y="9043"/>
                        <a:pt x="61283" y="9455"/>
                      </a:cubicBezTo>
                      <a:cubicBezTo>
                        <a:pt x="61548" y="9868"/>
                        <a:pt x="61769" y="10354"/>
                        <a:pt x="61945" y="10913"/>
                      </a:cubicBezTo>
                      <a:cubicBezTo>
                        <a:pt x="62122" y="11473"/>
                        <a:pt x="62240" y="12106"/>
                        <a:pt x="62299" y="12813"/>
                      </a:cubicBezTo>
                      <a:cubicBezTo>
                        <a:pt x="62358" y="13520"/>
                        <a:pt x="62387" y="14404"/>
                        <a:pt x="62387" y="15464"/>
                      </a:cubicBezTo>
                      <a:cubicBezTo>
                        <a:pt x="62387" y="17762"/>
                        <a:pt x="62122" y="19367"/>
                        <a:pt x="61592" y="20280"/>
                      </a:cubicBezTo>
                      <a:cubicBezTo>
                        <a:pt x="61062" y="21193"/>
                        <a:pt x="60414" y="21650"/>
                        <a:pt x="59648" y="21650"/>
                      </a:cubicBezTo>
                      <a:cubicBezTo>
                        <a:pt x="58764" y="21650"/>
                        <a:pt x="57748" y="21164"/>
                        <a:pt x="56599" y="20192"/>
                      </a:cubicBezTo>
                      <a:cubicBezTo>
                        <a:pt x="55450" y="19220"/>
                        <a:pt x="53992" y="18145"/>
                        <a:pt x="52225" y="16966"/>
                      </a:cubicBezTo>
                      <a:cubicBezTo>
                        <a:pt x="50458" y="15788"/>
                        <a:pt x="48322" y="14713"/>
                        <a:pt x="45818" y="13741"/>
                      </a:cubicBezTo>
                      <a:cubicBezTo>
                        <a:pt x="43315" y="12769"/>
                        <a:pt x="40354" y="12283"/>
                        <a:pt x="36938" y="12283"/>
                      </a:cubicBezTo>
                      <a:cubicBezTo>
                        <a:pt x="29927" y="12283"/>
                        <a:pt x="24551" y="14978"/>
                        <a:pt x="20811" y="20368"/>
                      </a:cubicBezTo>
                      <a:cubicBezTo>
                        <a:pt x="17070" y="25759"/>
                        <a:pt x="15199" y="33579"/>
                        <a:pt x="15199" y="43830"/>
                      </a:cubicBezTo>
                      <a:cubicBezTo>
                        <a:pt x="15199" y="48955"/>
                        <a:pt x="15685" y="53447"/>
                        <a:pt x="16657" y="57306"/>
                      </a:cubicBezTo>
                      <a:cubicBezTo>
                        <a:pt x="17629" y="61164"/>
                        <a:pt x="19058" y="64390"/>
                        <a:pt x="20943" y="66982"/>
                      </a:cubicBezTo>
                      <a:cubicBezTo>
                        <a:pt x="22828" y="69574"/>
                        <a:pt x="25141" y="71503"/>
                        <a:pt x="27880" y="72770"/>
                      </a:cubicBezTo>
                      <a:cubicBezTo>
                        <a:pt x="30619" y="74036"/>
                        <a:pt x="33756" y="74670"/>
                        <a:pt x="37291" y="74670"/>
                      </a:cubicBezTo>
                      <a:cubicBezTo>
                        <a:pt x="40649" y="74670"/>
                        <a:pt x="43594" y="74140"/>
                        <a:pt x="46128" y="73079"/>
                      </a:cubicBezTo>
                      <a:cubicBezTo>
                        <a:pt x="48661" y="72019"/>
                        <a:pt x="50855" y="70855"/>
                        <a:pt x="52711" y="69589"/>
                      </a:cubicBezTo>
                      <a:cubicBezTo>
                        <a:pt x="54567" y="68322"/>
                        <a:pt x="56128" y="67173"/>
                        <a:pt x="57394" y="66142"/>
                      </a:cubicBezTo>
                      <a:cubicBezTo>
                        <a:pt x="58661" y="65111"/>
                        <a:pt x="59648" y="64596"/>
                        <a:pt x="60355" y="64596"/>
                      </a:cubicBezTo>
                      <a:cubicBezTo>
                        <a:pt x="60767" y="64596"/>
                        <a:pt x="61121" y="64714"/>
                        <a:pt x="61415" y="64949"/>
                      </a:cubicBezTo>
                      <a:cubicBezTo>
                        <a:pt x="61710" y="65185"/>
                        <a:pt x="61960" y="65583"/>
                        <a:pt x="62166" y="66142"/>
                      </a:cubicBezTo>
                      <a:cubicBezTo>
                        <a:pt x="62372" y="66702"/>
                        <a:pt x="62520" y="67409"/>
                        <a:pt x="62608" y="68263"/>
                      </a:cubicBezTo>
                      <a:cubicBezTo>
                        <a:pt x="62696" y="69117"/>
                        <a:pt x="62741" y="70134"/>
                        <a:pt x="62741" y="71312"/>
                      </a:cubicBezTo>
                      <a:cubicBezTo>
                        <a:pt x="62741" y="72313"/>
                        <a:pt x="62711" y="73182"/>
                        <a:pt x="62652" y="73919"/>
                      </a:cubicBezTo>
                      <a:cubicBezTo>
                        <a:pt x="62593" y="74655"/>
                        <a:pt x="62490" y="75274"/>
                        <a:pt x="62343" y="75774"/>
                      </a:cubicBezTo>
                      <a:cubicBezTo>
                        <a:pt x="62196" y="76275"/>
                        <a:pt x="62019" y="76717"/>
                        <a:pt x="61813" y="77100"/>
                      </a:cubicBezTo>
                      <a:cubicBezTo>
                        <a:pt x="61607" y="77483"/>
                        <a:pt x="61135" y="78042"/>
                        <a:pt x="60399" y="78779"/>
                      </a:cubicBezTo>
                      <a:cubicBezTo>
                        <a:pt x="59662" y="79515"/>
                        <a:pt x="58411" y="80428"/>
                        <a:pt x="56643" y="81518"/>
                      </a:cubicBezTo>
                      <a:cubicBezTo>
                        <a:pt x="54876" y="82608"/>
                        <a:pt x="52888" y="83580"/>
                        <a:pt x="50679" y="84434"/>
                      </a:cubicBezTo>
                      <a:cubicBezTo>
                        <a:pt x="48469" y="85289"/>
                        <a:pt x="46069" y="85981"/>
                        <a:pt x="43477" y="86511"/>
                      </a:cubicBezTo>
                      <a:cubicBezTo>
                        <a:pt x="40885" y="87041"/>
                        <a:pt x="38204" y="87306"/>
                        <a:pt x="35435" y="87306"/>
                      </a:cubicBezTo>
                      <a:cubicBezTo>
                        <a:pt x="29721" y="87306"/>
                        <a:pt x="24655" y="86364"/>
                        <a:pt x="20236" y="84478"/>
                      </a:cubicBezTo>
                      <a:cubicBezTo>
                        <a:pt x="15818" y="82593"/>
                        <a:pt x="12121" y="79839"/>
                        <a:pt x="9146" y="76216"/>
                      </a:cubicBezTo>
                      <a:cubicBezTo>
                        <a:pt x="6171" y="72593"/>
                        <a:pt x="3903" y="68145"/>
                        <a:pt x="2342" y="62873"/>
                      </a:cubicBezTo>
                      <a:cubicBezTo>
                        <a:pt x="781" y="57600"/>
                        <a:pt x="0" y="51518"/>
                        <a:pt x="0" y="44625"/>
                      </a:cubicBezTo>
                      <a:cubicBezTo>
                        <a:pt x="0" y="36790"/>
                        <a:pt x="958" y="30059"/>
                        <a:pt x="2872" y="24433"/>
                      </a:cubicBezTo>
                      <a:cubicBezTo>
                        <a:pt x="4787" y="18807"/>
                        <a:pt x="7408" y="14198"/>
                        <a:pt x="10737" y="10604"/>
                      </a:cubicBezTo>
                      <a:cubicBezTo>
                        <a:pt x="14065" y="7010"/>
                        <a:pt x="17983" y="4345"/>
                        <a:pt x="22490" y="2607"/>
                      </a:cubicBezTo>
                      <a:cubicBezTo>
                        <a:pt x="26996" y="869"/>
                        <a:pt x="31871" y="0"/>
                        <a:pt x="37114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5" name="Полілінія: фігура 44">
                  <a:extLst>
                    <a:ext uri="{FF2B5EF4-FFF2-40B4-BE49-F238E27FC236}">
                      <a16:creationId xmlns:a16="http://schemas.microsoft.com/office/drawing/2014/main" id="{B8B29DD5-3D73-E59F-54A5-5B0E28672418}"/>
                    </a:ext>
                  </a:extLst>
                </p:cNvPr>
                <p:cNvSpPr/>
                <p:nvPr/>
              </p:nvSpPr>
              <p:spPr>
                <a:xfrm>
                  <a:off x="5188880" y="6354188"/>
                  <a:ext cx="68572" cy="861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572" h="86157">
                      <a:moveTo>
                        <a:pt x="7334" y="0"/>
                      </a:moveTo>
                      <a:cubicBezTo>
                        <a:pt x="8748" y="0"/>
                        <a:pt x="9926" y="44"/>
                        <a:pt x="10869" y="132"/>
                      </a:cubicBezTo>
                      <a:cubicBezTo>
                        <a:pt x="11811" y="221"/>
                        <a:pt x="12562" y="397"/>
                        <a:pt x="13122" y="662"/>
                      </a:cubicBezTo>
                      <a:cubicBezTo>
                        <a:pt x="13682" y="928"/>
                        <a:pt x="14079" y="1222"/>
                        <a:pt x="14315" y="1546"/>
                      </a:cubicBezTo>
                      <a:cubicBezTo>
                        <a:pt x="14551" y="1870"/>
                        <a:pt x="14668" y="2268"/>
                        <a:pt x="14668" y="2739"/>
                      </a:cubicBezTo>
                      <a:lnTo>
                        <a:pt x="14668" y="49043"/>
                      </a:lnTo>
                      <a:cubicBezTo>
                        <a:pt x="14668" y="53697"/>
                        <a:pt x="15007" y="57423"/>
                        <a:pt x="15685" y="60222"/>
                      </a:cubicBezTo>
                      <a:cubicBezTo>
                        <a:pt x="16362" y="63020"/>
                        <a:pt x="17393" y="65406"/>
                        <a:pt x="18777" y="67379"/>
                      </a:cubicBezTo>
                      <a:cubicBezTo>
                        <a:pt x="20162" y="69353"/>
                        <a:pt x="21914" y="70885"/>
                        <a:pt x="24035" y="71974"/>
                      </a:cubicBezTo>
                      <a:cubicBezTo>
                        <a:pt x="26156" y="73064"/>
                        <a:pt x="28630" y="73609"/>
                        <a:pt x="31458" y="73609"/>
                      </a:cubicBezTo>
                      <a:cubicBezTo>
                        <a:pt x="35111" y="73609"/>
                        <a:pt x="38748" y="72313"/>
                        <a:pt x="42371" y="69721"/>
                      </a:cubicBezTo>
                      <a:cubicBezTo>
                        <a:pt x="45994" y="67129"/>
                        <a:pt x="49838" y="63329"/>
                        <a:pt x="53903" y="58322"/>
                      </a:cubicBezTo>
                      <a:lnTo>
                        <a:pt x="53903" y="2739"/>
                      </a:lnTo>
                      <a:cubicBezTo>
                        <a:pt x="53903" y="2268"/>
                        <a:pt x="54006" y="1870"/>
                        <a:pt x="54212" y="1546"/>
                      </a:cubicBezTo>
                      <a:cubicBezTo>
                        <a:pt x="54419" y="1222"/>
                        <a:pt x="54816" y="928"/>
                        <a:pt x="55405" y="662"/>
                      </a:cubicBezTo>
                      <a:cubicBezTo>
                        <a:pt x="55995" y="397"/>
                        <a:pt x="56746" y="221"/>
                        <a:pt x="57659" y="132"/>
                      </a:cubicBezTo>
                      <a:cubicBezTo>
                        <a:pt x="58572" y="44"/>
                        <a:pt x="59765" y="0"/>
                        <a:pt x="61238" y="0"/>
                      </a:cubicBezTo>
                      <a:cubicBezTo>
                        <a:pt x="62651" y="0"/>
                        <a:pt x="63830" y="44"/>
                        <a:pt x="64772" y="132"/>
                      </a:cubicBezTo>
                      <a:cubicBezTo>
                        <a:pt x="65715" y="221"/>
                        <a:pt x="66451" y="397"/>
                        <a:pt x="66981" y="662"/>
                      </a:cubicBezTo>
                      <a:cubicBezTo>
                        <a:pt x="67512" y="928"/>
                        <a:pt x="67909" y="1222"/>
                        <a:pt x="68174" y="1546"/>
                      </a:cubicBezTo>
                      <a:cubicBezTo>
                        <a:pt x="68439" y="1870"/>
                        <a:pt x="68572" y="2268"/>
                        <a:pt x="68572" y="2739"/>
                      </a:cubicBezTo>
                      <a:lnTo>
                        <a:pt x="68572" y="82269"/>
                      </a:lnTo>
                      <a:cubicBezTo>
                        <a:pt x="68572" y="82740"/>
                        <a:pt x="68469" y="83138"/>
                        <a:pt x="68263" y="83462"/>
                      </a:cubicBezTo>
                      <a:cubicBezTo>
                        <a:pt x="68057" y="83786"/>
                        <a:pt x="67688" y="84066"/>
                        <a:pt x="67158" y="84301"/>
                      </a:cubicBezTo>
                      <a:cubicBezTo>
                        <a:pt x="66628" y="84537"/>
                        <a:pt x="65936" y="84714"/>
                        <a:pt x="65082" y="84832"/>
                      </a:cubicBezTo>
                      <a:cubicBezTo>
                        <a:pt x="64227" y="84950"/>
                        <a:pt x="63182" y="85008"/>
                        <a:pt x="61945" y="85008"/>
                      </a:cubicBezTo>
                      <a:cubicBezTo>
                        <a:pt x="60590" y="85008"/>
                        <a:pt x="59485" y="84950"/>
                        <a:pt x="58631" y="84832"/>
                      </a:cubicBezTo>
                      <a:cubicBezTo>
                        <a:pt x="57777" y="84714"/>
                        <a:pt x="57099" y="84537"/>
                        <a:pt x="56598" y="84301"/>
                      </a:cubicBezTo>
                      <a:cubicBezTo>
                        <a:pt x="56098" y="84066"/>
                        <a:pt x="55759" y="83786"/>
                        <a:pt x="55582" y="83462"/>
                      </a:cubicBezTo>
                      <a:cubicBezTo>
                        <a:pt x="55405" y="83138"/>
                        <a:pt x="55317" y="82740"/>
                        <a:pt x="55317" y="82269"/>
                      </a:cubicBezTo>
                      <a:lnTo>
                        <a:pt x="55317" y="71753"/>
                      </a:lnTo>
                      <a:cubicBezTo>
                        <a:pt x="50781" y="76761"/>
                        <a:pt x="46304" y="80413"/>
                        <a:pt x="41885" y="82711"/>
                      </a:cubicBezTo>
                      <a:cubicBezTo>
                        <a:pt x="37467" y="85008"/>
                        <a:pt x="32990" y="86157"/>
                        <a:pt x="28454" y="86157"/>
                      </a:cubicBezTo>
                      <a:cubicBezTo>
                        <a:pt x="23152" y="86157"/>
                        <a:pt x="18689" y="85274"/>
                        <a:pt x="15066" y="83506"/>
                      </a:cubicBezTo>
                      <a:cubicBezTo>
                        <a:pt x="11443" y="81739"/>
                        <a:pt x="8512" y="79338"/>
                        <a:pt x="6274" y="76304"/>
                      </a:cubicBezTo>
                      <a:cubicBezTo>
                        <a:pt x="4035" y="73270"/>
                        <a:pt x="2430" y="69736"/>
                        <a:pt x="1458" y="65700"/>
                      </a:cubicBezTo>
                      <a:cubicBezTo>
                        <a:pt x="486" y="61665"/>
                        <a:pt x="0" y="56761"/>
                        <a:pt x="0" y="50987"/>
                      </a:cubicBezTo>
                      <a:lnTo>
                        <a:pt x="0" y="2739"/>
                      </a:lnTo>
                      <a:cubicBezTo>
                        <a:pt x="0" y="2268"/>
                        <a:pt x="103" y="1870"/>
                        <a:pt x="309" y="1546"/>
                      </a:cubicBezTo>
                      <a:cubicBezTo>
                        <a:pt x="515" y="1222"/>
                        <a:pt x="913" y="928"/>
                        <a:pt x="1502" y="662"/>
                      </a:cubicBezTo>
                      <a:cubicBezTo>
                        <a:pt x="2091" y="397"/>
                        <a:pt x="2857" y="221"/>
                        <a:pt x="3799" y="132"/>
                      </a:cubicBezTo>
                      <a:cubicBezTo>
                        <a:pt x="4742" y="44"/>
                        <a:pt x="5920" y="0"/>
                        <a:pt x="7334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6" name="Полілінія: фігура 45">
                  <a:extLst>
                    <a:ext uri="{FF2B5EF4-FFF2-40B4-BE49-F238E27FC236}">
                      <a16:creationId xmlns:a16="http://schemas.microsoft.com/office/drawing/2014/main" id="{94E06987-E30E-D5C6-74CF-9F6CB9EF398F}"/>
                    </a:ext>
                  </a:extLst>
                </p:cNvPr>
                <p:cNvSpPr/>
                <p:nvPr/>
              </p:nvSpPr>
              <p:spPr>
                <a:xfrm>
                  <a:off x="5351247" y="6354187"/>
                  <a:ext cx="14581" cy="850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81" h="85008">
                      <a:moveTo>
                        <a:pt x="7246" y="0"/>
                      </a:moveTo>
                      <a:cubicBezTo>
                        <a:pt x="8719" y="0"/>
                        <a:pt x="9927" y="59"/>
                        <a:pt x="10869" y="176"/>
                      </a:cubicBezTo>
                      <a:cubicBezTo>
                        <a:pt x="11812" y="294"/>
                        <a:pt x="12548" y="471"/>
                        <a:pt x="13079" y="707"/>
                      </a:cubicBezTo>
                      <a:cubicBezTo>
                        <a:pt x="13609" y="942"/>
                        <a:pt x="13992" y="1237"/>
                        <a:pt x="14227" y="1590"/>
                      </a:cubicBezTo>
                      <a:cubicBezTo>
                        <a:pt x="14463" y="1944"/>
                        <a:pt x="14581" y="2327"/>
                        <a:pt x="14581" y="2739"/>
                      </a:cubicBezTo>
                      <a:lnTo>
                        <a:pt x="14581" y="82269"/>
                      </a:lnTo>
                      <a:cubicBezTo>
                        <a:pt x="14581" y="82740"/>
                        <a:pt x="14463" y="83138"/>
                        <a:pt x="14227" y="83462"/>
                      </a:cubicBezTo>
                      <a:cubicBezTo>
                        <a:pt x="13992" y="83786"/>
                        <a:pt x="13609" y="84066"/>
                        <a:pt x="13079" y="84301"/>
                      </a:cubicBezTo>
                      <a:cubicBezTo>
                        <a:pt x="12548" y="84537"/>
                        <a:pt x="11812" y="84714"/>
                        <a:pt x="10869" y="84832"/>
                      </a:cubicBezTo>
                      <a:cubicBezTo>
                        <a:pt x="9927" y="84950"/>
                        <a:pt x="8719" y="85008"/>
                        <a:pt x="7246" y="85008"/>
                      </a:cubicBezTo>
                      <a:cubicBezTo>
                        <a:pt x="5833" y="85008"/>
                        <a:pt x="4654" y="84950"/>
                        <a:pt x="3712" y="84832"/>
                      </a:cubicBezTo>
                      <a:cubicBezTo>
                        <a:pt x="2769" y="84714"/>
                        <a:pt x="2018" y="84537"/>
                        <a:pt x="1458" y="84301"/>
                      </a:cubicBezTo>
                      <a:cubicBezTo>
                        <a:pt x="899" y="84066"/>
                        <a:pt x="516" y="83786"/>
                        <a:pt x="310" y="83462"/>
                      </a:cubicBezTo>
                      <a:cubicBezTo>
                        <a:pt x="103" y="83138"/>
                        <a:pt x="0" y="82740"/>
                        <a:pt x="0" y="82269"/>
                      </a:cubicBezTo>
                      <a:lnTo>
                        <a:pt x="0" y="2739"/>
                      </a:lnTo>
                      <a:cubicBezTo>
                        <a:pt x="0" y="2327"/>
                        <a:pt x="103" y="1944"/>
                        <a:pt x="310" y="1590"/>
                      </a:cubicBezTo>
                      <a:cubicBezTo>
                        <a:pt x="516" y="1237"/>
                        <a:pt x="899" y="942"/>
                        <a:pt x="1458" y="707"/>
                      </a:cubicBezTo>
                      <a:cubicBezTo>
                        <a:pt x="2018" y="471"/>
                        <a:pt x="2769" y="294"/>
                        <a:pt x="3712" y="176"/>
                      </a:cubicBezTo>
                      <a:cubicBezTo>
                        <a:pt x="4654" y="59"/>
                        <a:pt x="5833" y="0"/>
                        <a:pt x="7246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7" name="Полілінія: фігура 46">
                  <a:extLst>
                    <a:ext uri="{FF2B5EF4-FFF2-40B4-BE49-F238E27FC236}">
                      <a16:creationId xmlns:a16="http://schemas.microsoft.com/office/drawing/2014/main" id="{B6600D87-31AD-7106-95E6-09A3952B572C}"/>
                    </a:ext>
                  </a:extLst>
                </p:cNvPr>
                <p:cNvSpPr/>
                <p:nvPr/>
              </p:nvSpPr>
              <p:spPr>
                <a:xfrm>
                  <a:off x="5435981" y="6354187"/>
                  <a:ext cx="75818" cy="1166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5818" h="116644">
                      <a:moveTo>
                        <a:pt x="7246" y="0"/>
                      </a:moveTo>
                      <a:cubicBezTo>
                        <a:pt x="9013" y="0"/>
                        <a:pt x="10398" y="44"/>
                        <a:pt x="11399" y="132"/>
                      </a:cubicBezTo>
                      <a:cubicBezTo>
                        <a:pt x="12400" y="221"/>
                        <a:pt x="13196" y="383"/>
                        <a:pt x="13785" y="618"/>
                      </a:cubicBezTo>
                      <a:cubicBezTo>
                        <a:pt x="14374" y="854"/>
                        <a:pt x="14801" y="1193"/>
                        <a:pt x="15066" y="1634"/>
                      </a:cubicBezTo>
                      <a:cubicBezTo>
                        <a:pt x="15331" y="2076"/>
                        <a:pt x="15611" y="2680"/>
                        <a:pt x="15906" y="3446"/>
                      </a:cubicBezTo>
                      <a:lnTo>
                        <a:pt x="38616" y="67247"/>
                      </a:lnTo>
                      <a:lnTo>
                        <a:pt x="38881" y="67247"/>
                      </a:lnTo>
                      <a:lnTo>
                        <a:pt x="60796" y="3092"/>
                      </a:lnTo>
                      <a:cubicBezTo>
                        <a:pt x="61149" y="1973"/>
                        <a:pt x="61577" y="1252"/>
                        <a:pt x="62077" y="928"/>
                      </a:cubicBezTo>
                      <a:cubicBezTo>
                        <a:pt x="62578" y="604"/>
                        <a:pt x="63329" y="368"/>
                        <a:pt x="64331" y="221"/>
                      </a:cubicBezTo>
                      <a:cubicBezTo>
                        <a:pt x="65332" y="73"/>
                        <a:pt x="66775" y="0"/>
                        <a:pt x="68661" y="0"/>
                      </a:cubicBezTo>
                      <a:cubicBezTo>
                        <a:pt x="70310" y="0"/>
                        <a:pt x="71665" y="73"/>
                        <a:pt x="72725" y="221"/>
                      </a:cubicBezTo>
                      <a:cubicBezTo>
                        <a:pt x="73786" y="368"/>
                        <a:pt x="74566" y="648"/>
                        <a:pt x="75067" y="1060"/>
                      </a:cubicBezTo>
                      <a:cubicBezTo>
                        <a:pt x="75568" y="1472"/>
                        <a:pt x="75818" y="2032"/>
                        <a:pt x="75818" y="2739"/>
                      </a:cubicBezTo>
                      <a:cubicBezTo>
                        <a:pt x="75818" y="3446"/>
                        <a:pt x="75642" y="4330"/>
                        <a:pt x="75288" y="5390"/>
                      </a:cubicBezTo>
                      <a:lnTo>
                        <a:pt x="46746" y="84478"/>
                      </a:lnTo>
                      <a:lnTo>
                        <a:pt x="36142" y="113728"/>
                      </a:lnTo>
                      <a:cubicBezTo>
                        <a:pt x="35788" y="114670"/>
                        <a:pt x="34890" y="115392"/>
                        <a:pt x="33446" y="115893"/>
                      </a:cubicBezTo>
                      <a:cubicBezTo>
                        <a:pt x="32003" y="116393"/>
                        <a:pt x="29809" y="116644"/>
                        <a:pt x="26863" y="116644"/>
                      </a:cubicBezTo>
                      <a:cubicBezTo>
                        <a:pt x="25331" y="116644"/>
                        <a:pt x="24094" y="116570"/>
                        <a:pt x="23152" y="116423"/>
                      </a:cubicBezTo>
                      <a:cubicBezTo>
                        <a:pt x="22209" y="116276"/>
                        <a:pt x="21488" y="116025"/>
                        <a:pt x="20987" y="115672"/>
                      </a:cubicBezTo>
                      <a:cubicBezTo>
                        <a:pt x="20486" y="115318"/>
                        <a:pt x="20206" y="114847"/>
                        <a:pt x="20147" y="114258"/>
                      </a:cubicBezTo>
                      <a:cubicBezTo>
                        <a:pt x="20088" y="113669"/>
                        <a:pt x="20236" y="112962"/>
                        <a:pt x="20589" y="112137"/>
                      </a:cubicBezTo>
                      <a:lnTo>
                        <a:pt x="31547" y="84478"/>
                      </a:lnTo>
                      <a:cubicBezTo>
                        <a:pt x="31016" y="84243"/>
                        <a:pt x="30516" y="83860"/>
                        <a:pt x="30044" y="83329"/>
                      </a:cubicBezTo>
                      <a:cubicBezTo>
                        <a:pt x="29573" y="82799"/>
                        <a:pt x="29249" y="82240"/>
                        <a:pt x="29072" y="81650"/>
                      </a:cubicBezTo>
                      <a:lnTo>
                        <a:pt x="707" y="5655"/>
                      </a:lnTo>
                      <a:cubicBezTo>
                        <a:pt x="235" y="4418"/>
                        <a:pt x="0" y="3446"/>
                        <a:pt x="0" y="2739"/>
                      </a:cubicBezTo>
                      <a:cubicBezTo>
                        <a:pt x="0" y="2032"/>
                        <a:pt x="235" y="1472"/>
                        <a:pt x="707" y="1060"/>
                      </a:cubicBezTo>
                      <a:cubicBezTo>
                        <a:pt x="1178" y="648"/>
                        <a:pt x="1944" y="368"/>
                        <a:pt x="3004" y="221"/>
                      </a:cubicBezTo>
                      <a:cubicBezTo>
                        <a:pt x="4065" y="73"/>
                        <a:pt x="5478" y="0"/>
                        <a:pt x="7246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8" name="Полілінія: фігура 47">
                  <a:extLst>
                    <a:ext uri="{FF2B5EF4-FFF2-40B4-BE49-F238E27FC236}">
                      <a16:creationId xmlns:a16="http://schemas.microsoft.com/office/drawing/2014/main" id="{1ABF4FD1-F673-FA05-087B-0F8B8D2E2360}"/>
                    </a:ext>
                  </a:extLst>
                </p:cNvPr>
                <p:cNvSpPr/>
                <p:nvPr/>
              </p:nvSpPr>
              <p:spPr>
                <a:xfrm>
                  <a:off x="5198847" y="6530953"/>
                  <a:ext cx="17939" cy="174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939" h="17496">
                      <a:moveTo>
                        <a:pt x="9014" y="0"/>
                      </a:moveTo>
                      <a:cubicBezTo>
                        <a:pt x="12489" y="0"/>
                        <a:pt x="14846" y="603"/>
                        <a:pt x="16083" y="1811"/>
                      </a:cubicBezTo>
                      <a:cubicBezTo>
                        <a:pt x="17320" y="3019"/>
                        <a:pt x="17939" y="5302"/>
                        <a:pt x="17939" y="8660"/>
                      </a:cubicBezTo>
                      <a:cubicBezTo>
                        <a:pt x="17939" y="12076"/>
                        <a:pt x="17291" y="14403"/>
                        <a:pt x="15995" y="15641"/>
                      </a:cubicBezTo>
                      <a:cubicBezTo>
                        <a:pt x="14699" y="16878"/>
                        <a:pt x="12313" y="17496"/>
                        <a:pt x="8837" y="17496"/>
                      </a:cubicBezTo>
                      <a:cubicBezTo>
                        <a:pt x="5420" y="17496"/>
                        <a:pt x="3093" y="16892"/>
                        <a:pt x="1856" y="15685"/>
                      </a:cubicBezTo>
                      <a:cubicBezTo>
                        <a:pt x="619" y="14477"/>
                        <a:pt x="0" y="12194"/>
                        <a:pt x="0" y="8836"/>
                      </a:cubicBezTo>
                      <a:cubicBezTo>
                        <a:pt x="0" y="5419"/>
                        <a:pt x="634" y="3092"/>
                        <a:pt x="1900" y="1855"/>
                      </a:cubicBezTo>
                      <a:cubicBezTo>
                        <a:pt x="3167" y="618"/>
                        <a:pt x="5538" y="0"/>
                        <a:pt x="9014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9" name="Полілінія: фігура 48">
                  <a:extLst>
                    <a:ext uri="{FF2B5EF4-FFF2-40B4-BE49-F238E27FC236}">
                      <a16:creationId xmlns:a16="http://schemas.microsoft.com/office/drawing/2014/main" id="{55CEAD5E-6390-9F95-17AE-E8545C3AF238}"/>
                    </a:ext>
                  </a:extLst>
                </p:cNvPr>
                <p:cNvSpPr/>
                <p:nvPr/>
              </p:nvSpPr>
              <p:spPr>
                <a:xfrm>
                  <a:off x="4943350" y="6533869"/>
                  <a:ext cx="70252" cy="1148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0252" h="114876">
                      <a:moveTo>
                        <a:pt x="6009" y="0"/>
                      </a:moveTo>
                      <a:lnTo>
                        <a:pt x="30487" y="0"/>
                      </a:lnTo>
                      <a:cubicBezTo>
                        <a:pt x="32961" y="0"/>
                        <a:pt x="35332" y="103"/>
                        <a:pt x="37600" y="309"/>
                      </a:cubicBezTo>
                      <a:cubicBezTo>
                        <a:pt x="39868" y="515"/>
                        <a:pt x="42549" y="957"/>
                        <a:pt x="45642" y="1635"/>
                      </a:cubicBezTo>
                      <a:cubicBezTo>
                        <a:pt x="48735" y="2312"/>
                        <a:pt x="51886" y="3579"/>
                        <a:pt x="55097" y="5434"/>
                      </a:cubicBezTo>
                      <a:cubicBezTo>
                        <a:pt x="58308" y="7290"/>
                        <a:pt x="61032" y="9573"/>
                        <a:pt x="63271" y="12283"/>
                      </a:cubicBezTo>
                      <a:cubicBezTo>
                        <a:pt x="65509" y="14993"/>
                        <a:pt x="67233" y="18130"/>
                        <a:pt x="68440" y="21694"/>
                      </a:cubicBezTo>
                      <a:cubicBezTo>
                        <a:pt x="69648" y="25258"/>
                        <a:pt x="70252" y="29190"/>
                        <a:pt x="70252" y="33491"/>
                      </a:cubicBezTo>
                      <a:cubicBezTo>
                        <a:pt x="70252" y="39205"/>
                        <a:pt x="69309" y="44360"/>
                        <a:pt x="67424" y="48955"/>
                      </a:cubicBezTo>
                      <a:cubicBezTo>
                        <a:pt x="65539" y="53550"/>
                        <a:pt x="62844" y="57468"/>
                        <a:pt x="59339" y="60708"/>
                      </a:cubicBezTo>
                      <a:cubicBezTo>
                        <a:pt x="55833" y="63948"/>
                        <a:pt x="51533" y="66451"/>
                        <a:pt x="46437" y="68219"/>
                      </a:cubicBezTo>
                      <a:cubicBezTo>
                        <a:pt x="41341" y="69986"/>
                        <a:pt x="35259" y="70870"/>
                        <a:pt x="28189" y="70870"/>
                      </a:cubicBezTo>
                      <a:lnTo>
                        <a:pt x="15199" y="70870"/>
                      </a:lnTo>
                      <a:lnTo>
                        <a:pt x="15199" y="112049"/>
                      </a:lnTo>
                      <a:cubicBezTo>
                        <a:pt x="15199" y="112520"/>
                        <a:pt x="15067" y="112932"/>
                        <a:pt x="14802" y="113286"/>
                      </a:cubicBezTo>
                      <a:cubicBezTo>
                        <a:pt x="14537" y="113639"/>
                        <a:pt x="14124" y="113919"/>
                        <a:pt x="13565" y="114125"/>
                      </a:cubicBezTo>
                      <a:cubicBezTo>
                        <a:pt x="13005" y="114331"/>
                        <a:pt x="12239" y="114508"/>
                        <a:pt x="11267" y="114656"/>
                      </a:cubicBezTo>
                      <a:cubicBezTo>
                        <a:pt x="10295" y="114803"/>
                        <a:pt x="9073" y="114876"/>
                        <a:pt x="7600" y="114876"/>
                      </a:cubicBezTo>
                      <a:cubicBezTo>
                        <a:pt x="6127" y="114876"/>
                        <a:pt x="4905" y="114803"/>
                        <a:pt x="3933" y="114656"/>
                      </a:cubicBezTo>
                      <a:cubicBezTo>
                        <a:pt x="2961" y="114508"/>
                        <a:pt x="2180" y="114331"/>
                        <a:pt x="1591" y="114125"/>
                      </a:cubicBezTo>
                      <a:cubicBezTo>
                        <a:pt x="1002" y="113919"/>
                        <a:pt x="589" y="113639"/>
                        <a:pt x="354" y="113286"/>
                      </a:cubicBezTo>
                      <a:cubicBezTo>
                        <a:pt x="118" y="112932"/>
                        <a:pt x="0" y="112520"/>
                        <a:pt x="0" y="112049"/>
                      </a:cubicBezTo>
                      <a:lnTo>
                        <a:pt x="0" y="6539"/>
                      </a:lnTo>
                      <a:cubicBezTo>
                        <a:pt x="0" y="4182"/>
                        <a:pt x="619" y="2503"/>
                        <a:pt x="1856" y="1502"/>
                      </a:cubicBezTo>
                      <a:cubicBezTo>
                        <a:pt x="3093" y="500"/>
                        <a:pt x="4478" y="0"/>
                        <a:pt x="6009" y="0"/>
                      </a:cubicBezTo>
                      <a:close/>
                      <a:moveTo>
                        <a:pt x="15199" y="12548"/>
                      </a:moveTo>
                      <a:lnTo>
                        <a:pt x="15199" y="58410"/>
                      </a:lnTo>
                      <a:lnTo>
                        <a:pt x="28896" y="58410"/>
                      </a:lnTo>
                      <a:cubicBezTo>
                        <a:pt x="33491" y="58410"/>
                        <a:pt x="37306" y="57821"/>
                        <a:pt x="40340" y="56643"/>
                      </a:cubicBezTo>
                      <a:cubicBezTo>
                        <a:pt x="43374" y="55465"/>
                        <a:pt x="45922" y="53830"/>
                        <a:pt x="47983" y="51738"/>
                      </a:cubicBezTo>
                      <a:cubicBezTo>
                        <a:pt x="50045" y="49647"/>
                        <a:pt x="51606" y="47143"/>
                        <a:pt x="52667" y="44227"/>
                      </a:cubicBezTo>
                      <a:cubicBezTo>
                        <a:pt x="53727" y="41311"/>
                        <a:pt x="54257" y="38145"/>
                        <a:pt x="54257" y="34728"/>
                      </a:cubicBezTo>
                      <a:cubicBezTo>
                        <a:pt x="54257" y="30074"/>
                        <a:pt x="53389" y="26186"/>
                        <a:pt x="51651" y="23063"/>
                      </a:cubicBezTo>
                      <a:cubicBezTo>
                        <a:pt x="49913" y="19941"/>
                        <a:pt x="47763" y="17614"/>
                        <a:pt x="45200" y="16082"/>
                      </a:cubicBezTo>
                      <a:cubicBezTo>
                        <a:pt x="42637" y="14551"/>
                        <a:pt x="39986" y="13579"/>
                        <a:pt x="37247" y="13166"/>
                      </a:cubicBezTo>
                      <a:cubicBezTo>
                        <a:pt x="34508" y="12754"/>
                        <a:pt x="31842" y="12548"/>
                        <a:pt x="29250" y="12548"/>
                      </a:cubicBezTo>
                      <a:lnTo>
                        <a:pt x="15199" y="12548"/>
                      </a:ln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0" name="Полілінія: фігура 49">
                  <a:extLst>
                    <a:ext uri="{FF2B5EF4-FFF2-40B4-BE49-F238E27FC236}">
                      <a16:creationId xmlns:a16="http://schemas.microsoft.com/office/drawing/2014/main" id="{4DB2D2CE-09DE-0F1B-B62E-4D595F9DE9FC}"/>
                    </a:ext>
                  </a:extLst>
                </p:cNvPr>
                <p:cNvSpPr/>
                <p:nvPr/>
              </p:nvSpPr>
              <p:spPr>
                <a:xfrm>
                  <a:off x="5397792" y="6542441"/>
                  <a:ext cx="51960" cy="1072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960" h="107277">
                      <a:moveTo>
                        <a:pt x="21297" y="0"/>
                      </a:moveTo>
                      <a:cubicBezTo>
                        <a:pt x="22769" y="0"/>
                        <a:pt x="23977" y="59"/>
                        <a:pt x="24920" y="177"/>
                      </a:cubicBezTo>
                      <a:cubicBezTo>
                        <a:pt x="25862" y="295"/>
                        <a:pt x="26599" y="486"/>
                        <a:pt x="27129" y="751"/>
                      </a:cubicBezTo>
                      <a:cubicBezTo>
                        <a:pt x="27659" y="1016"/>
                        <a:pt x="28042" y="1326"/>
                        <a:pt x="28278" y="1679"/>
                      </a:cubicBezTo>
                      <a:cubicBezTo>
                        <a:pt x="28513" y="2033"/>
                        <a:pt x="28631" y="2416"/>
                        <a:pt x="28631" y="2828"/>
                      </a:cubicBezTo>
                      <a:lnTo>
                        <a:pt x="28631" y="21738"/>
                      </a:lnTo>
                      <a:lnTo>
                        <a:pt x="49044" y="21738"/>
                      </a:lnTo>
                      <a:cubicBezTo>
                        <a:pt x="49515" y="21738"/>
                        <a:pt x="49927" y="21842"/>
                        <a:pt x="50281" y="22048"/>
                      </a:cubicBezTo>
                      <a:cubicBezTo>
                        <a:pt x="50634" y="22254"/>
                        <a:pt x="50944" y="22607"/>
                        <a:pt x="51209" y="23108"/>
                      </a:cubicBezTo>
                      <a:cubicBezTo>
                        <a:pt x="51474" y="23609"/>
                        <a:pt x="51665" y="24242"/>
                        <a:pt x="51783" y="25008"/>
                      </a:cubicBezTo>
                      <a:cubicBezTo>
                        <a:pt x="51901" y="25774"/>
                        <a:pt x="51960" y="26716"/>
                        <a:pt x="51960" y="27836"/>
                      </a:cubicBezTo>
                      <a:cubicBezTo>
                        <a:pt x="51960" y="29957"/>
                        <a:pt x="51695" y="31488"/>
                        <a:pt x="51165" y="32431"/>
                      </a:cubicBezTo>
                      <a:cubicBezTo>
                        <a:pt x="50634" y="33373"/>
                        <a:pt x="49927" y="33845"/>
                        <a:pt x="49044" y="33845"/>
                      </a:cubicBezTo>
                      <a:lnTo>
                        <a:pt x="28631" y="33845"/>
                      </a:lnTo>
                      <a:lnTo>
                        <a:pt x="28631" y="78205"/>
                      </a:lnTo>
                      <a:cubicBezTo>
                        <a:pt x="28631" y="83684"/>
                        <a:pt x="29441" y="87822"/>
                        <a:pt x="31061" y="90620"/>
                      </a:cubicBezTo>
                      <a:cubicBezTo>
                        <a:pt x="32681" y="93419"/>
                        <a:pt x="35583" y="94818"/>
                        <a:pt x="39765" y="94818"/>
                      </a:cubicBezTo>
                      <a:cubicBezTo>
                        <a:pt x="41120" y="94818"/>
                        <a:pt x="42328" y="94685"/>
                        <a:pt x="43388" y="94420"/>
                      </a:cubicBezTo>
                      <a:cubicBezTo>
                        <a:pt x="44449" y="94155"/>
                        <a:pt x="45391" y="93875"/>
                        <a:pt x="46216" y="93581"/>
                      </a:cubicBezTo>
                      <a:cubicBezTo>
                        <a:pt x="47041" y="93286"/>
                        <a:pt x="47748" y="93006"/>
                        <a:pt x="48337" y="92741"/>
                      </a:cubicBezTo>
                      <a:cubicBezTo>
                        <a:pt x="48926" y="92476"/>
                        <a:pt x="49456" y="92344"/>
                        <a:pt x="49927" y="92344"/>
                      </a:cubicBezTo>
                      <a:cubicBezTo>
                        <a:pt x="50222" y="92344"/>
                        <a:pt x="50502" y="92417"/>
                        <a:pt x="50767" y="92564"/>
                      </a:cubicBezTo>
                      <a:cubicBezTo>
                        <a:pt x="51032" y="92712"/>
                        <a:pt x="51238" y="92992"/>
                        <a:pt x="51386" y="93404"/>
                      </a:cubicBezTo>
                      <a:cubicBezTo>
                        <a:pt x="51533" y="93816"/>
                        <a:pt x="51665" y="94376"/>
                        <a:pt x="51783" y="95083"/>
                      </a:cubicBezTo>
                      <a:cubicBezTo>
                        <a:pt x="51901" y="95790"/>
                        <a:pt x="51960" y="96673"/>
                        <a:pt x="51960" y="97734"/>
                      </a:cubicBezTo>
                      <a:cubicBezTo>
                        <a:pt x="51960" y="99442"/>
                        <a:pt x="51842" y="100797"/>
                        <a:pt x="51606" y="101799"/>
                      </a:cubicBezTo>
                      <a:cubicBezTo>
                        <a:pt x="51371" y="102800"/>
                        <a:pt x="51017" y="103537"/>
                        <a:pt x="50546" y="104008"/>
                      </a:cubicBezTo>
                      <a:cubicBezTo>
                        <a:pt x="50075" y="104479"/>
                        <a:pt x="49368" y="104921"/>
                        <a:pt x="48425" y="105333"/>
                      </a:cubicBezTo>
                      <a:cubicBezTo>
                        <a:pt x="47483" y="105746"/>
                        <a:pt x="46408" y="106085"/>
                        <a:pt x="45200" y="106350"/>
                      </a:cubicBezTo>
                      <a:cubicBezTo>
                        <a:pt x="43992" y="106615"/>
                        <a:pt x="42711" y="106836"/>
                        <a:pt x="41356" y="107012"/>
                      </a:cubicBezTo>
                      <a:cubicBezTo>
                        <a:pt x="40001" y="107189"/>
                        <a:pt x="38646" y="107277"/>
                        <a:pt x="37291" y="107277"/>
                      </a:cubicBezTo>
                      <a:cubicBezTo>
                        <a:pt x="33167" y="107277"/>
                        <a:pt x="29633" y="106733"/>
                        <a:pt x="26687" y="105643"/>
                      </a:cubicBezTo>
                      <a:cubicBezTo>
                        <a:pt x="23742" y="104553"/>
                        <a:pt x="21326" y="102903"/>
                        <a:pt x="19441" y="100694"/>
                      </a:cubicBezTo>
                      <a:cubicBezTo>
                        <a:pt x="17556" y="98485"/>
                        <a:pt x="16186" y="95687"/>
                        <a:pt x="15332" y="92299"/>
                      </a:cubicBezTo>
                      <a:cubicBezTo>
                        <a:pt x="14478" y="88912"/>
                        <a:pt x="14051" y="84921"/>
                        <a:pt x="14051" y="80326"/>
                      </a:cubicBezTo>
                      <a:lnTo>
                        <a:pt x="14051" y="33845"/>
                      </a:lnTo>
                      <a:lnTo>
                        <a:pt x="2916" y="33845"/>
                      </a:lnTo>
                      <a:cubicBezTo>
                        <a:pt x="2033" y="33845"/>
                        <a:pt x="1326" y="33373"/>
                        <a:pt x="796" y="32431"/>
                      </a:cubicBezTo>
                      <a:cubicBezTo>
                        <a:pt x="265" y="31488"/>
                        <a:pt x="0" y="29957"/>
                        <a:pt x="0" y="27836"/>
                      </a:cubicBezTo>
                      <a:cubicBezTo>
                        <a:pt x="0" y="26716"/>
                        <a:pt x="74" y="25774"/>
                        <a:pt x="221" y="25008"/>
                      </a:cubicBezTo>
                      <a:cubicBezTo>
                        <a:pt x="369" y="24242"/>
                        <a:pt x="560" y="23609"/>
                        <a:pt x="796" y="23108"/>
                      </a:cubicBezTo>
                      <a:cubicBezTo>
                        <a:pt x="1031" y="22607"/>
                        <a:pt x="1341" y="22254"/>
                        <a:pt x="1723" y="22048"/>
                      </a:cubicBezTo>
                      <a:cubicBezTo>
                        <a:pt x="2106" y="21842"/>
                        <a:pt x="2534" y="21738"/>
                        <a:pt x="3005" y="21738"/>
                      </a:cubicBezTo>
                      <a:lnTo>
                        <a:pt x="14051" y="21738"/>
                      </a:lnTo>
                      <a:lnTo>
                        <a:pt x="14051" y="2828"/>
                      </a:lnTo>
                      <a:cubicBezTo>
                        <a:pt x="14051" y="2416"/>
                        <a:pt x="14154" y="2033"/>
                        <a:pt x="14360" y="1679"/>
                      </a:cubicBezTo>
                      <a:cubicBezTo>
                        <a:pt x="14566" y="1326"/>
                        <a:pt x="14949" y="1016"/>
                        <a:pt x="15509" y="751"/>
                      </a:cubicBezTo>
                      <a:cubicBezTo>
                        <a:pt x="16068" y="486"/>
                        <a:pt x="16819" y="295"/>
                        <a:pt x="17762" y="177"/>
                      </a:cubicBezTo>
                      <a:cubicBezTo>
                        <a:pt x="18705" y="59"/>
                        <a:pt x="19883" y="0"/>
                        <a:pt x="21297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1" name="Полілінія: фігура 50">
                  <a:extLst>
                    <a:ext uri="{FF2B5EF4-FFF2-40B4-BE49-F238E27FC236}">
                      <a16:creationId xmlns:a16="http://schemas.microsoft.com/office/drawing/2014/main" id="{6A09424D-D1E7-4BE6-A4CD-5E023CF1C9B1}"/>
                    </a:ext>
                  </a:extLst>
                </p:cNvPr>
                <p:cNvSpPr/>
                <p:nvPr/>
              </p:nvSpPr>
              <p:spPr>
                <a:xfrm>
                  <a:off x="5036922" y="6562501"/>
                  <a:ext cx="46481" cy="862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481" h="86245">
                      <a:moveTo>
                        <a:pt x="34905" y="0"/>
                      </a:moveTo>
                      <a:cubicBezTo>
                        <a:pt x="35671" y="0"/>
                        <a:pt x="36540" y="44"/>
                        <a:pt x="37512" y="132"/>
                      </a:cubicBezTo>
                      <a:cubicBezTo>
                        <a:pt x="38484" y="220"/>
                        <a:pt x="39500" y="382"/>
                        <a:pt x="40561" y="618"/>
                      </a:cubicBezTo>
                      <a:cubicBezTo>
                        <a:pt x="41621" y="854"/>
                        <a:pt x="42578" y="1119"/>
                        <a:pt x="43433" y="1413"/>
                      </a:cubicBezTo>
                      <a:cubicBezTo>
                        <a:pt x="44287" y="1708"/>
                        <a:pt x="44891" y="2003"/>
                        <a:pt x="45244" y="2297"/>
                      </a:cubicBezTo>
                      <a:cubicBezTo>
                        <a:pt x="45598" y="2592"/>
                        <a:pt x="45833" y="2871"/>
                        <a:pt x="45951" y="3137"/>
                      </a:cubicBezTo>
                      <a:cubicBezTo>
                        <a:pt x="46069" y="3402"/>
                        <a:pt x="46172" y="3740"/>
                        <a:pt x="46260" y="4153"/>
                      </a:cubicBezTo>
                      <a:cubicBezTo>
                        <a:pt x="46349" y="4565"/>
                        <a:pt x="46408" y="5169"/>
                        <a:pt x="46437" y="5964"/>
                      </a:cubicBezTo>
                      <a:cubicBezTo>
                        <a:pt x="46467" y="6760"/>
                        <a:pt x="46481" y="7835"/>
                        <a:pt x="46481" y="9190"/>
                      </a:cubicBezTo>
                      <a:cubicBezTo>
                        <a:pt x="46481" y="10486"/>
                        <a:pt x="46452" y="11576"/>
                        <a:pt x="46393" y="12459"/>
                      </a:cubicBezTo>
                      <a:cubicBezTo>
                        <a:pt x="46334" y="13343"/>
                        <a:pt x="46216" y="14035"/>
                        <a:pt x="46039" y="14536"/>
                      </a:cubicBezTo>
                      <a:cubicBezTo>
                        <a:pt x="45863" y="15037"/>
                        <a:pt x="45642" y="15420"/>
                        <a:pt x="45377" y="15685"/>
                      </a:cubicBezTo>
                      <a:cubicBezTo>
                        <a:pt x="45112" y="15950"/>
                        <a:pt x="44743" y="16082"/>
                        <a:pt x="44272" y="16082"/>
                      </a:cubicBezTo>
                      <a:cubicBezTo>
                        <a:pt x="43801" y="16082"/>
                        <a:pt x="43226" y="15950"/>
                        <a:pt x="42549" y="15685"/>
                      </a:cubicBezTo>
                      <a:cubicBezTo>
                        <a:pt x="41871" y="15420"/>
                        <a:pt x="41106" y="15154"/>
                        <a:pt x="40251" y="14889"/>
                      </a:cubicBezTo>
                      <a:cubicBezTo>
                        <a:pt x="39397" y="14624"/>
                        <a:pt x="38440" y="14374"/>
                        <a:pt x="37379" y="14138"/>
                      </a:cubicBezTo>
                      <a:cubicBezTo>
                        <a:pt x="36319" y="13903"/>
                        <a:pt x="35170" y="13785"/>
                        <a:pt x="33933" y="13785"/>
                      </a:cubicBezTo>
                      <a:cubicBezTo>
                        <a:pt x="32460" y="13785"/>
                        <a:pt x="31017" y="14079"/>
                        <a:pt x="29603" y="14668"/>
                      </a:cubicBezTo>
                      <a:cubicBezTo>
                        <a:pt x="28189" y="15258"/>
                        <a:pt x="26702" y="16230"/>
                        <a:pt x="25141" y="17584"/>
                      </a:cubicBezTo>
                      <a:cubicBezTo>
                        <a:pt x="23580" y="18939"/>
                        <a:pt x="21945" y="20736"/>
                        <a:pt x="20236" y="22975"/>
                      </a:cubicBezTo>
                      <a:cubicBezTo>
                        <a:pt x="18528" y="25213"/>
                        <a:pt x="16643" y="27953"/>
                        <a:pt x="14581" y="31193"/>
                      </a:cubicBezTo>
                      <a:lnTo>
                        <a:pt x="14581" y="83506"/>
                      </a:lnTo>
                      <a:cubicBezTo>
                        <a:pt x="14581" y="83977"/>
                        <a:pt x="14463" y="84375"/>
                        <a:pt x="14227" y="84699"/>
                      </a:cubicBezTo>
                      <a:cubicBezTo>
                        <a:pt x="13992" y="85023"/>
                        <a:pt x="13609" y="85303"/>
                        <a:pt x="13079" y="85539"/>
                      </a:cubicBezTo>
                      <a:cubicBezTo>
                        <a:pt x="12548" y="85774"/>
                        <a:pt x="11812" y="85951"/>
                        <a:pt x="10869" y="86069"/>
                      </a:cubicBezTo>
                      <a:cubicBezTo>
                        <a:pt x="9927" y="86187"/>
                        <a:pt x="8719" y="86245"/>
                        <a:pt x="7246" y="86245"/>
                      </a:cubicBezTo>
                      <a:cubicBezTo>
                        <a:pt x="5833" y="86245"/>
                        <a:pt x="4654" y="86187"/>
                        <a:pt x="3712" y="86069"/>
                      </a:cubicBezTo>
                      <a:cubicBezTo>
                        <a:pt x="2769" y="85951"/>
                        <a:pt x="2018" y="85774"/>
                        <a:pt x="1458" y="85539"/>
                      </a:cubicBezTo>
                      <a:cubicBezTo>
                        <a:pt x="899" y="85303"/>
                        <a:pt x="516" y="85023"/>
                        <a:pt x="310" y="84699"/>
                      </a:cubicBezTo>
                      <a:cubicBezTo>
                        <a:pt x="103" y="84375"/>
                        <a:pt x="0" y="83977"/>
                        <a:pt x="0" y="83506"/>
                      </a:cubicBezTo>
                      <a:lnTo>
                        <a:pt x="0" y="3976"/>
                      </a:lnTo>
                      <a:cubicBezTo>
                        <a:pt x="0" y="3505"/>
                        <a:pt x="89" y="3107"/>
                        <a:pt x="265" y="2783"/>
                      </a:cubicBezTo>
                      <a:cubicBezTo>
                        <a:pt x="442" y="2459"/>
                        <a:pt x="796" y="2164"/>
                        <a:pt x="1326" y="1899"/>
                      </a:cubicBezTo>
                      <a:cubicBezTo>
                        <a:pt x="1856" y="1634"/>
                        <a:pt x="2534" y="1458"/>
                        <a:pt x="3358" y="1369"/>
                      </a:cubicBezTo>
                      <a:cubicBezTo>
                        <a:pt x="4183" y="1281"/>
                        <a:pt x="5273" y="1237"/>
                        <a:pt x="6628" y="1237"/>
                      </a:cubicBezTo>
                      <a:cubicBezTo>
                        <a:pt x="7924" y="1237"/>
                        <a:pt x="8999" y="1281"/>
                        <a:pt x="9853" y="1369"/>
                      </a:cubicBezTo>
                      <a:cubicBezTo>
                        <a:pt x="10707" y="1458"/>
                        <a:pt x="11370" y="1634"/>
                        <a:pt x="11841" y="1899"/>
                      </a:cubicBezTo>
                      <a:cubicBezTo>
                        <a:pt x="12313" y="2164"/>
                        <a:pt x="12652" y="2459"/>
                        <a:pt x="12858" y="2783"/>
                      </a:cubicBezTo>
                      <a:cubicBezTo>
                        <a:pt x="13064" y="3107"/>
                        <a:pt x="13167" y="3505"/>
                        <a:pt x="13167" y="3976"/>
                      </a:cubicBezTo>
                      <a:lnTo>
                        <a:pt x="13167" y="15552"/>
                      </a:lnTo>
                      <a:cubicBezTo>
                        <a:pt x="15347" y="12371"/>
                        <a:pt x="17394" y="9779"/>
                        <a:pt x="19308" y="7776"/>
                      </a:cubicBezTo>
                      <a:cubicBezTo>
                        <a:pt x="21223" y="5773"/>
                        <a:pt x="23035" y="4197"/>
                        <a:pt x="24743" y="3048"/>
                      </a:cubicBezTo>
                      <a:cubicBezTo>
                        <a:pt x="26451" y="1899"/>
                        <a:pt x="28145" y="1104"/>
                        <a:pt x="29824" y="662"/>
                      </a:cubicBezTo>
                      <a:cubicBezTo>
                        <a:pt x="31503" y="220"/>
                        <a:pt x="33197" y="0"/>
                        <a:pt x="34905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2" name="Полілінія: фігура 51">
                  <a:extLst>
                    <a:ext uri="{FF2B5EF4-FFF2-40B4-BE49-F238E27FC236}">
                      <a16:creationId xmlns:a16="http://schemas.microsoft.com/office/drawing/2014/main" id="{49B2BCBC-8C50-EBC1-8DB6-293F90CAF3DD}"/>
                    </a:ext>
                  </a:extLst>
                </p:cNvPr>
                <p:cNvSpPr/>
                <p:nvPr/>
              </p:nvSpPr>
              <p:spPr>
                <a:xfrm>
                  <a:off x="5098029" y="6562500"/>
                  <a:ext cx="79530" cy="873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530" h="87394">
                      <a:moveTo>
                        <a:pt x="40561" y="0"/>
                      </a:moveTo>
                      <a:cubicBezTo>
                        <a:pt x="47100" y="0"/>
                        <a:pt x="52799" y="972"/>
                        <a:pt x="57659" y="2916"/>
                      </a:cubicBezTo>
                      <a:cubicBezTo>
                        <a:pt x="62520" y="4860"/>
                        <a:pt x="66570" y="7687"/>
                        <a:pt x="69810" y="11399"/>
                      </a:cubicBezTo>
                      <a:cubicBezTo>
                        <a:pt x="73050" y="15110"/>
                        <a:pt x="75480" y="19617"/>
                        <a:pt x="77100" y="24919"/>
                      </a:cubicBezTo>
                      <a:cubicBezTo>
                        <a:pt x="78720" y="30221"/>
                        <a:pt x="79530" y="36200"/>
                        <a:pt x="79530" y="42857"/>
                      </a:cubicBezTo>
                      <a:cubicBezTo>
                        <a:pt x="79530" y="49338"/>
                        <a:pt x="78676" y="55302"/>
                        <a:pt x="76968" y="60752"/>
                      </a:cubicBezTo>
                      <a:cubicBezTo>
                        <a:pt x="75259" y="66201"/>
                        <a:pt x="72711" y="70899"/>
                        <a:pt x="69324" y="74846"/>
                      </a:cubicBezTo>
                      <a:cubicBezTo>
                        <a:pt x="65936" y="78793"/>
                        <a:pt x="61695" y="81871"/>
                        <a:pt x="56599" y="84080"/>
                      </a:cubicBezTo>
                      <a:cubicBezTo>
                        <a:pt x="51503" y="86290"/>
                        <a:pt x="45597" y="87394"/>
                        <a:pt x="38882" y="87394"/>
                      </a:cubicBezTo>
                      <a:cubicBezTo>
                        <a:pt x="32342" y="87394"/>
                        <a:pt x="26643" y="86422"/>
                        <a:pt x="21783" y="84478"/>
                      </a:cubicBezTo>
                      <a:cubicBezTo>
                        <a:pt x="16922" y="82534"/>
                        <a:pt x="12872" y="79706"/>
                        <a:pt x="9632" y="75995"/>
                      </a:cubicBezTo>
                      <a:cubicBezTo>
                        <a:pt x="6392" y="72284"/>
                        <a:pt x="3977" y="67777"/>
                        <a:pt x="2386" y="62475"/>
                      </a:cubicBezTo>
                      <a:cubicBezTo>
                        <a:pt x="796" y="57173"/>
                        <a:pt x="0" y="51164"/>
                        <a:pt x="0" y="44448"/>
                      </a:cubicBezTo>
                      <a:cubicBezTo>
                        <a:pt x="0" y="37968"/>
                        <a:pt x="840" y="32003"/>
                        <a:pt x="2519" y="26554"/>
                      </a:cubicBezTo>
                      <a:cubicBezTo>
                        <a:pt x="4198" y="21104"/>
                        <a:pt x="6731" y="16406"/>
                        <a:pt x="10118" y="12459"/>
                      </a:cubicBezTo>
                      <a:cubicBezTo>
                        <a:pt x="13506" y="8512"/>
                        <a:pt x="17732" y="5449"/>
                        <a:pt x="22799" y="3269"/>
                      </a:cubicBezTo>
                      <a:cubicBezTo>
                        <a:pt x="27865" y="1089"/>
                        <a:pt x="33786" y="0"/>
                        <a:pt x="40561" y="0"/>
                      </a:cubicBezTo>
                      <a:close/>
                      <a:moveTo>
                        <a:pt x="39988" y="12194"/>
                      </a:moveTo>
                      <a:cubicBezTo>
                        <a:pt x="35648" y="12194"/>
                        <a:pt x="31918" y="12960"/>
                        <a:pt x="28797" y="14492"/>
                      </a:cubicBezTo>
                      <a:cubicBezTo>
                        <a:pt x="25677" y="16023"/>
                        <a:pt x="23106" y="18188"/>
                        <a:pt x="21085" y="20987"/>
                      </a:cubicBezTo>
                      <a:cubicBezTo>
                        <a:pt x="19064" y="23785"/>
                        <a:pt x="17563" y="27099"/>
                        <a:pt x="16582" y="30928"/>
                      </a:cubicBezTo>
                      <a:cubicBezTo>
                        <a:pt x="15601" y="34757"/>
                        <a:pt x="15111" y="38940"/>
                        <a:pt x="15111" y="43476"/>
                      </a:cubicBezTo>
                      <a:cubicBezTo>
                        <a:pt x="15111" y="47835"/>
                        <a:pt x="15512" y="51930"/>
                        <a:pt x="16315" y="55759"/>
                      </a:cubicBezTo>
                      <a:cubicBezTo>
                        <a:pt x="17118" y="59588"/>
                        <a:pt x="18455" y="62931"/>
                        <a:pt x="20327" y="65789"/>
                      </a:cubicBezTo>
                      <a:cubicBezTo>
                        <a:pt x="22200" y="68646"/>
                        <a:pt x="24711" y="70914"/>
                        <a:pt x="27861" y="72593"/>
                      </a:cubicBezTo>
                      <a:cubicBezTo>
                        <a:pt x="31012" y="74272"/>
                        <a:pt x="34935" y="75111"/>
                        <a:pt x="39631" y="75111"/>
                      </a:cubicBezTo>
                      <a:cubicBezTo>
                        <a:pt x="43912" y="75111"/>
                        <a:pt x="47627" y="74345"/>
                        <a:pt x="50777" y="72814"/>
                      </a:cubicBezTo>
                      <a:cubicBezTo>
                        <a:pt x="53928" y="71282"/>
                        <a:pt x="56513" y="69132"/>
                        <a:pt x="58534" y="66363"/>
                      </a:cubicBezTo>
                      <a:cubicBezTo>
                        <a:pt x="60555" y="63594"/>
                        <a:pt x="62041" y="60295"/>
                        <a:pt x="62993" y="56466"/>
                      </a:cubicBezTo>
                      <a:cubicBezTo>
                        <a:pt x="63944" y="52637"/>
                        <a:pt x="64420" y="48424"/>
                        <a:pt x="64420" y="43829"/>
                      </a:cubicBezTo>
                      <a:cubicBezTo>
                        <a:pt x="64420" y="39529"/>
                        <a:pt x="64018" y="35464"/>
                        <a:pt x="63216" y="31635"/>
                      </a:cubicBezTo>
                      <a:cubicBezTo>
                        <a:pt x="62413" y="27806"/>
                        <a:pt x="61090" y="24448"/>
                        <a:pt x="59247" y="21561"/>
                      </a:cubicBezTo>
                      <a:cubicBezTo>
                        <a:pt x="57405" y="18674"/>
                        <a:pt x="54908" y="16392"/>
                        <a:pt x="51758" y="14713"/>
                      </a:cubicBezTo>
                      <a:cubicBezTo>
                        <a:pt x="48607" y="13034"/>
                        <a:pt x="44684" y="12194"/>
                        <a:pt x="39988" y="12194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3" name="Полілінія: фігура 52">
                  <a:extLst>
                    <a:ext uri="{FF2B5EF4-FFF2-40B4-BE49-F238E27FC236}">
                      <a16:creationId xmlns:a16="http://schemas.microsoft.com/office/drawing/2014/main" id="{D5487006-9B4E-2DB0-FFA0-589E47F1B358}"/>
                    </a:ext>
                  </a:extLst>
                </p:cNvPr>
                <p:cNvSpPr/>
                <p:nvPr/>
              </p:nvSpPr>
              <p:spPr>
                <a:xfrm>
                  <a:off x="5241169" y="6562500"/>
                  <a:ext cx="73168" cy="873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168" h="87394">
                      <a:moveTo>
                        <a:pt x="38175" y="0"/>
                      </a:moveTo>
                      <a:cubicBezTo>
                        <a:pt x="44419" y="0"/>
                        <a:pt x="49736" y="1001"/>
                        <a:pt x="54125" y="3004"/>
                      </a:cubicBezTo>
                      <a:cubicBezTo>
                        <a:pt x="58514" y="5007"/>
                        <a:pt x="62122" y="7702"/>
                        <a:pt x="64950" y="11090"/>
                      </a:cubicBezTo>
                      <a:cubicBezTo>
                        <a:pt x="67778" y="14477"/>
                        <a:pt x="69854" y="18453"/>
                        <a:pt x="71180" y="23019"/>
                      </a:cubicBezTo>
                      <a:cubicBezTo>
                        <a:pt x="72505" y="27585"/>
                        <a:pt x="73168" y="32460"/>
                        <a:pt x="73168" y="37644"/>
                      </a:cubicBezTo>
                      <a:lnTo>
                        <a:pt x="73168" y="40295"/>
                      </a:lnTo>
                      <a:cubicBezTo>
                        <a:pt x="73168" y="42592"/>
                        <a:pt x="72591" y="44227"/>
                        <a:pt x="71437" y="45199"/>
                      </a:cubicBezTo>
                      <a:cubicBezTo>
                        <a:pt x="70283" y="46171"/>
                        <a:pt x="68966" y="46657"/>
                        <a:pt x="67486" y="46657"/>
                      </a:cubicBezTo>
                      <a:lnTo>
                        <a:pt x="15111" y="46657"/>
                      </a:lnTo>
                      <a:cubicBezTo>
                        <a:pt x="15111" y="51075"/>
                        <a:pt x="15555" y="55052"/>
                        <a:pt x="16443" y="58587"/>
                      </a:cubicBezTo>
                      <a:cubicBezTo>
                        <a:pt x="17331" y="62121"/>
                        <a:pt x="18810" y="65155"/>
                        <a:pt x="20882" y="67688"/>
                      </a:cubicBezTo>
                      <a:cubicBezTo>
                        <a:pt x="22955" y="70222"/>
                        <a:pt x="25648" y="72166"/>
                        <a:pt x="28963" y="73521"/>
                      </a:cubicBezTo>
                      <a:cubicBezTo>
                        <a:pt x="32278" y="74876"/>
                        <a:pt x="36333" y="75553"/>
                        <a:pt x="41128" y="75553"/>
                      </a:cubicBezTo>
                      <a:cubicBezTo>
                        <a:pt x="44917" y="75553"/>
                        <a:pt x="48291" y="75244"/>
                        <a:pt x="51251" y="74625"/>
                      </a:cubicBezTo>
                      <a:cubicBezTo>
                        <a:pt x="54211" y="74007"/>
                        <a:pt x="56771" y="73314"/>
                        <a:pt x="58932" y="72549"/>
                      </a:cubicBezTo>
                      <a:cubicBezTo>
                        <a:pt x="61093" y="71783"/>
                        <a:pt x="62869" y="71091"/>
                        <a:pt x="64260" y="70472"/>
                      </a:cubicBezTo>
                      <a:cubicBezTo>
                        <a:pt x="65651" y="69853"/>
                        <a:pt x="66702" y="69544"/>
                        <a:pt x="67413" y="69544"/>
                      </a:cubicBezTo>
                      <a:cubicBezTo>
                        <a:pt x="67827" y="69544"/>
                        <a:pt x="68197" y="69647"/>
                        <a:pt x="68522" y="69853"/>
                      </a:cubicBezTo>
                      <a:cubicBezTo>
                        <a:pt x="68848" y="70060"/>
                        <a:pt x="69099" y="70369"/>
                        <a:pt x="69277" y="70781"/>
                      </a:cubicBezTo>
                      <a:cubicBezTo>
                        <a:pt x="69455" y="71194"/>
                        <a:pt x="69588" y="71768"/>
                        <a:pt x="69677" y="72504"/>
                      </a:cubicBezTo>
                      <a:cubicBezTo>
                        <a:pt x="69766" y="73241"/>
                        <a:pt x="69810" y="74139"/>
                        <a:pt x="69810" y="75200"/>
                      </a:cubicBezTo>
                      <a:cubicBezTo>
                        <a:pt x="69810" y="75965"/>
                        <a:pt x="69781" y="76628"/>
                        <a:pt x="69722" y="77188"/>
                      </a:cubicBezTo>
                      <a:cubicBezTo>
                        <a:pt x="69663" y="77747"/>
                        <a:pt x="69589" y="78248"/>
                        <a:pt x="69501" y="78690"/>
                      </a:cubicBezTo>
                      <a:cubicBezTo>
                        <a:pt x="69412" y="79132"/>
                        <a:pt x="69265" y="79530"/>
                        <a:pt x="69059" y="79883"/>
                      </a:cubicBezTo>
                      <a:cubicBezTo>
                        <a:pt x="68853" y="80237"/>
                        <a:pt x="68588" y="80575"/>
                        <a:pt x="68264" y="80899"/>
                      </a:cubicBezTo>
                      <a:cubicBezTo>
                        <a:pt x="67940" y="81223"/>
                        <a:pt x="66982" y="81753"/>
                        <a:pt x="65392" y="82490"/>
                      </a:cubicBezTo>
                      <a:cubicBezTo>
                        <a:pt x="63801" y="83226"/>
                        <a:pt x="61739" y="83948"/>
                        <a:pt x="59206" y="84655"/>
                      </a:cubicBezTo>
                      <a:cubicBezTo>
                        <a:pt x="56673" y="85362"/>
                        <a:pt x="53742" y="85995"/>
                        <a:pt x="50414" y="86555"/>
                      </a:cubicBezTo>
                      <a:cubicBezTo>
                        <a:pt x="47085" y="87114"/>
                        <a:pt x="43536" y="87394"/>
                        <a:pt x="39765" y="87394"/>
                      </a:cubicBezTo>
                      <a:cubicBezTo>
                        <a:pt x="33226" y="87394"/>
                        <a:pt x="27497" y="86481"/>
                        <a:pt x="22578" y="84655"/>
                      </a:cubicBezTo>
                      <a:cubicBezTo>
                        <a:pt x="17659" y="82829"/>
                        <a:pt x="13520" y="80119"/>
                        <a:pt x="10162" y="76525"/>
                      </a:cubicBezTo>
                      <a:cubicBezTo>
                        <a:pt x="6805" y="72932"/>
                        <a:pt x="4271" y="68425"/>
                        <a:pt x="2563" y="63005"/>
                      </a:cubicBezTo>
                      <a:cubicBezTo>
                        <a:pt x="855" y="57585"/>
                        <a:pt x="0" y="51282"/>
                        <a:pt x="0" y="44094"/>
                      </a:cubicBezTo>
                      <a:cubicBezTo>
                        <a:pt x="0" y="37261"/>
                        <a:pt x="884" y="31119"/>
                        <a:pt x="2651" y="25670"/>
                      </a:cubicBezTo>
                      <a:cubicBezTo>
                        <a:pt x="4419" y="20221"/>
                        <a:pt x="6967" y="15596"/>
                        <a:pt x="10295" y="11796"/>
                      </a:cubicBezTo>
                      <a:cubicBezTo>
                        <a:pt x="13624" y="7997"/>
                        <a:pt x="17644" y="5081"/>
                        <a:pt x="22357" y="3048"/>
                      </a:cubicBezTo>
                      <a:cubicBezTo>
                        <a:pt x="27070" y="1016"/>
                        <a:pt x="32343" y="0"/>
                        <a:pt x="38175" y="0"/>
                      </a:cubicBezTo>
                      <a:close/>
                      <a:moveTo>
                        <a:pt x="37428" y="11399"/>
                      </a:moveTo>
                      <a:cubicBezTo>
                        <a:pt x="33812" y="11399"/>
                        <a:pt x="30641" y="12076"/>
                        <a:pt x="27915" y="13431"/>
                      </a:cubicBezTo>
                      <a:cubicBezTo>
                        <a:pt x="25188" y="14786"/>
                        <a:pt x="22906" y="16583"/>
                        <a:pt x="21068" y="18822"/>
                      </a:cubicBezTo>
                      <a:cubicBezTo>
                        <a:pt x="19230" y="21060"/>
                        <a:pt x="17808" y="23667"/>
                        <a:pt x="16800" y="26642"/>
                      </a:cubicBezTo>
                      <a:cubicBezTo>
                        <a:pt x="15793" y="29617"/>
                        <a:pt x="15230" y="32725"/>
                        <a:pt x="15111" y="35965"/>
                      </a:cubicBezTo>
                      <a:lnTo>
                        <a:pt x="58499" y="35965"/>
                      </a:lnTo>
                      <a:cubicBezTo>
                        <a:pt x="58676" y="28306"/>
                        <a:pt x="56972" y="22297"/>
                        <a:pt x="53386" y="17938"/>
                      </a:cubicBezTo>
                      <a:cubicBezTo>
                        <a:pt x="49801" y="13579"/>
                        <a:pt x="44481" y="11399"/>
                        <a:pt x="37428" y="11399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4" name="Полілінія: фігура 53">
                  <a:extLst>
                    <a:ext uri="{FF2B5EF4-FFF2-40B4-BE49-F238E27FC236}">
                      <a16:creationId xmlns:a16="http://schemas.microsoft.com/office/drawing/2014/main" id="{6CB6EA26-3EDB-1841-F949-610ABB8289C7}"/>
                    </a:ext>
                  </a:extLst>
                </p:cNvPr>
                <p:cNvSpPr/>
                <p:nvPr/>
              </p:nvSpPr>
              <p:spPr>
                <a:xfrm>
                  <a:off x="5326630" y="6562588"/>
                  <a:ext cx="62741" cy="873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41" h="87306">
                      <a:moveTo>
                        <a:pt x="37114" y="0"/>
                      </a:moveTo>
                      <a:cubicBezTo>
                        <a:pt x="39647" y="0"/>
                        <a:pt x="42107" y="236"/>
                        <a:pt x="44493" y="707"/>
                      </a:cubicBezTo>
                      <a:cubicBezTo>
                        <a:pt x="46879" y="1178"/>
                        <a:pt x="49073" y="1797"/>
                        <a:pt x="51076" y="2563"/>
                      </a:cubicBezTo>
                      <a:cubicBezTo>
                        <a:pt x="53079" y="3328"/>
                        <a:pt x="54861" y="4212"/>
                        <a:pt x="56422" y="5214"/>
                      </a:cubicBezTo>
                      <a:cubicBezTo>
                        <a:pt x="57984" y="6215"/>
                        <a:pt x="59118" y="7069"/>
                        <a:pt x="59824" y="7776"/>
                      </a:cubicBezTo>
                      <a:cubicBezTo>
                        <a:pt x="60531" y="8483"/>
                        <a:pt x="61017" y="9043"/>
                        <a:pt x="61283" y="9455"/>
                      </a:cubicBezTo>
                      <a:cubicBezTo>
                        <a:pt x="61548" y="9868"/>
                        <a:pt x="61769" y="10354"/>
                        <a:pt x="61945" y="10913"/>
                      </a:cubicBezTo>
                      <a:cubicBezTo>
                        <a:pt x="62122" y="11473"/>
                        <a:pt x="62240" y="12106"/>
                        <a:pt x="62299" y="12813"/>
                      </a:cubicBezTo>
                      <a:cubicBezTo>
                        <a:pt x="62358" y="13520"/>
                        <a:pt x="62387" y="14404"/>
                        <a:pt x="62387" y="15464"/>
                      </a:cubicBezTo>
                      <a:cubicBezTo>
                        <a:pt x="62387" y="17762"/>
                        <a:pt x="62122" y="19367"/>
                        <a:pt x="61592" y="20280"/>
                      </a:cubicBezTo>
                      <a:cubicBezTo>
                        <a:pt x="61062" y="21193"/>
                        <a:pt x="60414" y="21650"/>
                        <a:pt x="59648" y="21650"/>
                      </a:cubicBezTo>
                      <a:cubicBezTo>
                        <a:pt x="58764" y="21650"/>
                        <a:pt x="57748" y="21164"/>
                        <a:pt x="56599" y="20192"/>
                      </a:cubicBezTo>
                      <a:cubicBezTo>
                        <a:pt x="55450" y="19220"/>
                        <a:pt x="53992" y="18145"/>
                        <a:pt x="52225" y="16966"/>
                      </a:cubicBezTo>
                      <a:cubicBezTo>
                        <a:pt x="50458" y="15788"/>
                        <a:pt x="48322" y="14713"/>
                        <a:pt x="45818" y="13741"/>
                      </a:cubicBezTo>
                      <a:cubicBezTo>
                        <a:pt x="43315" y="12769"/>
                        <a:pt x="40354" y="12283"/>
                        <a:pt x="36938" y="12283"/>
                      </a:cubicBezTo>
                      <a:cubicBezTo>
                        <a:pt x="29927" y="12283"/>
                        <a:pt x="24551" y="14978"/>
                        <a:pt x="20811" y="20368"/>
                      </a:cubicBezTo>
                      <a:cubicBezTo>
                        <a:pt x="17070" y="25759"/>
                        <a:pt x="15199" y="33579"/>
                        <a:pt x="15199" y="43830"/>
                      </a:cubicBezTo>
                      <a:cubicBezTo>
                        <a:pt x="15199" y="48955"/>
                        <a:pt x="15685" y="53447"/>
                        <a:pt x="16657" y="57306"/>
                      </a:cubicBezTo>
                      <a:cubicBezTo>
                        <a:pt x="17629" y="61164"/>
                        <a:pt x="19058" y="64390"/>
                        <a:pt x="20943" y="66982"/>
                      </a:cubicBezTo>
                      <a:cubicBezTo>
                        <a:pt x="22828" y="69574"/>
                        <a:pt x="25141" y="71503"/>
                        <a:pt x="27880" y="72770"/>
                      </a:cubicBezTo>
                      <a:cubicBezTo>
                        <a:pt x="30619" y="74036"/>
                        <a:pt x="33756" y="74670"/>
                        <a:pt x="37291" y="74670"/>
                      </a:cubicBezTo>
                      <a:cubicBezTo>
                        <a:pt x="40649" y="74670"/>
                        <a:pt x="43594" y="74140"/>
                        <a:pt x="46128" y="73079"/>
                      </a:cubicBezTo>
                      <a:cubicBezTo>
                        <a:pt x="48661" y="72019"/>
                        <a:pt x="50855" y="70855"/>
                        <a:pt x="52711" y="69589"/>
                      </a:cubicBezTo>
                      <a:cubicBezTo>
                        <a:pt x="54567" y="68322"/>
                        <a:pt x="56128" y="67173"/>
                        <a:pt x="57394" y="66142"/>
                      </a:cubicBezTo>
                      <a:cubicBezTo>
                        <a:pt x="58661" y="65111"/>
                        <a:pt x="59648" y="64596"/>
                        <a:pt x="60355" y="64596"/>
                      </a:cubicBezTo>
                      <a:cubicBezTo>
                        <a:pt x="60767" y="64596"/>
                        <a:pt x="61121" y="64714"/>
                        <a:pt x="61415" y="64949"/>
                      </a:cubicBezTo>
                      <a:cubicBezTo>
                        <a:pt x="61710" y="65185"/>
                        <a:pt x="61960" y="65583"/>
                        <a:pt x="62166" y="66142"/>
                      </a:cubicBezTo>
                      <a:cubicBezTo>
                        <a:pt x="62372" y="66702"/>
                        <a:pt x="62520" y="67409"/>
                        <a:pt x="62608" y="68263"/>
                      </a:cubicBezTo>
                      <a:cubicBezTo>
                        <a:pt x="62696" y="69117"/>
                        <a:pt x="62741" y="70134"/>
                        <a:pt x="62741" y="71312"/>
                      </a:cubicBezTo>
                      <a:cubicBezTo>
                        <a:pt x="62741" y="72313"/>
                        <a:pt x="62711" y="73182"/>
                        <a:pt x="62652" y="73919"/>
                      </a:cubicBezTo>
                      <a:cubicBezTo>
                        <a:pt x="62593" y="74655"/>
                        <a:pt x="62490" y="75274"/>
                        <a:pt x="62343" y="75774"/>
                      </a:cubicBezTo>
                      <a:cubicBezTo>
                        <a:pt x="62196" y="76275"/>
                        <a:pt x="62019" y="76717"/>
                        <a:pt x="61813" y="77100"/>
                      </a:cubicBezTo>
                      <a:cubicBezTo>
                        <a:pt x="61607" y="77483"/>
                        <a:pt x="61135" y="78042"/>
                        <a:pt x="60399" y="78779"/>
                      </a:cubicBezTo>
                      <a:cubicBezTo>
                        <a:pt x="59662" y="79515"/>
                        <a:pt x="58411" y="80428"/>
                        <a:pt x="56643" y="81518"/>
                      </a:cubicBezTo>
                      <a:cubicBezTo>
                        <a:pt x="54876" y="82608"/>
                        <a:pt x="52888" y="83580"/>
                        <a:pt x="50679" y="84434"/>
                      </a:cubicBezTo>
                      <a:cubicBezTo>
                        <a:pt x="48469" y="85288"/>
                        <a:pt x="46069" y="85981"/>
                        <a:pt x="43477" y="86511"/>
                      </a:cubicBezTo>
                      <a:cubicBezTo>
                        <a:pt x="40885" y="87041"/>
                        <a:pt x="38204" y="87306"/>
                        <a:pt x="35435" y="87306"/>
                      </a:cubicBezTo>
                      <a:cubicBezTo>
                        <a:pt x="29721" y="87306"/>
                        <a:pt x="24655" y="86364"/>
                        <a:pt x="20236" y="84478"/>
                      </a:cubicBezTo>
                      <a:cubicBezTo>
                        <a:pt x="15818" y="82593"/>
                        <a:pt x="12121" y="79839"/>
                        <a:pt x="9146" y="76216"/>
                      </a:cubicBezTo>
                      <a:cubicBezTo>
                        <a:pt x="6171" y="72593"/>
                        <a:pt x="3903" y="68145"/>
                        <a:pt x="2342" y="62873"/>
                      </a:cubicBezTo>
                      <a:cubicBezTo>
                        <a:pt x="781" y="57600"/>
                        <a:pt x="0" y="51518"/>
                        <a:pt x="0" y="44625"/>
                      </a:cubicBezTo>
                      <a:cubicBezTo>
                        <a:pt x="0" y="36790"/>
                        <a:pt x="958" y="30059"/>
                        <a:pt x="2872" y="24433"/>
                      </a:cubicBezTo>
                      <a:cubicBezTo>
                        <a:pt x="4787" y="18807"/>
                        <a:pt x="7408" y="14197"/>
                        <a:pt x="10737" y="10604"/>
                      </a:cubicBezTo>
                      <a:cubicBezTo>
                        <a:pt x="14065" y="7010"/>
                        <a:pt x="17983" y="4345"/>
                        <a:pt x="22490" y="2607"/>
                      </a:cubicBezTo>
                      <a:cubicBezTo>
                        <a:pt x="26996" y="869"/>
                        <a:pt x="31871" y="0"/>
                        <a:pt x="37114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55" name="Полілінія: фігура 54">
                  <a:extLst>
                    <a:ext uri="{FF2B5EF4-FFF2-40B4-BE49-F238E27FC236}">
                      <a16:creationId xmlns:a16="http://schemas.microsoft.com/office/drawing/2014/main" id="{F0A03360-C147-796D-012E-151989B5C3FF}"/>
                    </a:ext>
                  </a:extLst>
                </p:cNvPr>
                <p:cNvSpPr/>
                <p:nvPr/>
              </p:nvSpPr>
              <p:spPr>
                <a:xfrm>
                  <a:off x="5181526" y="6563737"/>
                  <a:ext cx="33580" cy="1167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580" h="116732">
                      <a:moveTo>
                        <a:pt x="26245" y="0"/>
                      </a:moveTo>
                      <a:cubicBezTo>
                        <a:pt x="27659" y="0"/>
                        <a:pt x="28837" y="59"/>
                        <a:pt x="29780" y="176"/>
                      </a:cubicBezTo>
                      <a:cubicBezTo>
                        <a:pt x="30723" y="294"/>
                        <a:pt x="31474" y="471"/>
                        <a:pt x="32033" y="707"/>
                      </a:cubicBezTo>
                      <a:cubicBezTo>
                        <a:pt x="32593" y="942"/>
                        <a:pt x="32991" y="1237"/>
                        <a:pt x="33226" y="1590"/>
                      </a:cubicBezTo>
                      <a:cubicBezTo>
                        <a:pt x="33462" y="1944"/>
                        <a:pt x="33580" y="2327"/>
                        <a:pt x="33580" y="2739"/>
                      </a:cubicBezTo>
                      <a:lnTo>
                        <a:pt x="33580" y="85804"/>
                      </a:lnTo>
                      <a:cubicBezTo>
                        <a:pt x="33580" y="91695"/>
                        <a:pt x="33138" y="96452"/>
                        <a:pt x="32254" y="100075"/>
                      </a:cubicBezTo>
                      <a:cubicBezTo>
                        <a:pt x="31371" y="103698"/>
                        <a:pt x="29986" y="106747"/>
                        <a:pt x="28101" y="109221"/>
                      </a:cubicBezTo>
                      <a:cubicBezTo>
                        <a:pt x="26216" y="111695"/>
                        <a:pt x="23801" y="113566"/>
                        <a:pt x="20855" y="114832"/>
                      </a:cubicBezTo>
                      <a:cubicBezTo>
                        <a:pt x="17909" y="116099"/>
                        <a:pt x="14345" y="116732"/>
                        <a:pt x="10163" y="116732"/>
                      </a:cubicBezTo>
                      <a:cubicBezTo>
                        <a:pt x="8277" y="116732"/>
                        <a:pt x="6672" y="116614"/>
                        <a:pt x="5347" y="116379"/>
                      </a:cubicBezTo>
                      <a:cubicBezTo>
                        <a:pt x="4021" y="116143"/>
                        <a:pt x="3005" y="115878"/>
                        <a:pt x="2298" y="115583"/>
                      </a:cubicBezTo>
                      <a:cubicBezTo>
                        <a:pt x="1591" y="115289"/>
                        <a:pt x="1105" y="114950"/>
                        <a:pt x="840" y="114567"/>
                      </a:cubicBezTo>
                      <a:cubicBezTo>
                        <a:pt x="575" y="114184"/>
                        <a:pt x="383" y="113742"/>
                        <a:pt x="266" y="113242"/>
                      </a:cubicBezTo>
                      <a:cubicBezTo>
                        <a:pt x="148" y="112741"/>
                        <a:pt x="74" y="112225"/>
                        <a:pt x="45" y="111695"/>
                      </a:cubicBezTo>
                      <a:cubicBezTo>
                        <a:pt x="15" y="111165"/>
                        <a:pt x="0" y="110517"/>
                        <a:pt x="0" y="109751"/>
                      </a:cubicBezTo>
                      <a:cubicBezTo>
                        <a:pt x="0" y="108691"/>
                        <a:pt x="45" y="107778"/>
                        <a:pt x="133" y="107012"/>
                      </a:cubicBezTo>
                      <a:cubicBezTo>
                        <a:pt x="221" y="106246"/>
                        <a:pt x="369" y="105627"/>
                        <a:pt x="575" y="105156"/>
                      </a:cubicBezTo>
                      <a:cubicBezTo>
                        <a:pt x="781" y="104685"/>
                        <a:pt x="1017" y="104346"/>
                        <a:pt x="1282" y="104140"/>
                      </a:cubicBezTo>
                      <a:cubicBezTo>
                        <a:pt x="1547" y="103934"/>
                        <a:pt x="1886" y="103831"/>
                        <a:pt x="2298" y="103831"/>
                      </a:cubicBezTo>
                      <a:cubicBezTo>
                        <a:pt x="2651" y="103831"/>
                        <a:pt x="3344" y="103904"/>
                        <a:pt x="4375" y="104051"/>
                      </a:cubicBezTo>
                      <a:cubicBezTo>
                        <a:pt x="5406" y="104199"/>
                        <a:pt x="6598" y="104272"/>
                        <a:pt x="7953" y="104272"/>
                      </a:cubicBezTo>
                      <a:cubicBezTo>
                        <a:pt x="9898" y="104272"/>
                        <a:pt x="11562" y="103978"/>
                        <a:pt x="12946" y="103389"/>
                      </a:cubicBezTo>
                      <a:cubicBezTo>
                        <a:pt x="14331" y="102800"/>
                        <a:pt x="15465" y="101842"/>
                        <a:pt x="16348" y="100517"/>
                      </a:cubicBezTo>
                      <a:cubicBezTo>
                        <a:pt x="17232" y="99191"/>
                        <a:pt x="17880" y="97468"/>
                        <a:pt x="18292" y="95347"/>
                      </a:cubicBezTo>
                      <a:cubicBezTo>
                        <a:pt x="18705" y="93227"/>
                        <a:pt x="18911" y="90016"/>
                        <a:pt x="18911" y="85715"/>
                      </a:cubicBezTo>
                      <a:lnTo>
                        <a:pt x="18911" y="2739"/>
                      </a:lnTo>
                      <a:cubicBezTo>
                        <a:pt x="18911" y="2327"/>
                        <a:pt x="19029" y="1944"/>
                        <a:pt x="19264" y="1590"/>
                      </a:cubicBezTo>
                      <a:cubicBezTo>
                        <a:pt x="19500" y="1237"/>
                        <a:pt x="19898" y="942"/>
                        <a:pt x="20457" y="707"/>
                      </a:cubicBezTo>
                      <a:cubicBezTo>
                        <a:pt x="21017" y="471"/>
                        <a:pt x="21768" y="294"/>
                        <a:pt x="22711" y="176"/>
                      </a:cubicBezTo>
                      <a:cubicBezTo>
                        <a:pt x="23653" y="59"/>
                        <a:pt x="24831" y="0"/>
                        <a:pt x="26245" y="0"/>
                      </a:cubicBezTo>
                      <a:close/>
                    </a:path>
                  </a:pathLst>
                </a:custGeom>
                <a:solidFill>
                  <a:srgbClr val="002A6C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pic>
            <p:nvPicPr>
              <p:cNvPr id="32" name="Рисунок 31" descr="Зображення, що містить текст, логотип, Шрифт, Графіка&#10;&#10;Автоматично згенерований опис">
                <a:extLst>
                  <a:ext uri="{FF2B5EF4-FFF2-40B4-BE49-F238E27FC236}">
                    <a16:creationId xmlns:a16="http://schemas.microsoft.com/office/drawing/2014/main" id="{7240F336-222C-BDDD-7077-67BDF62C4065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456971" y="6023893"/>
                <a:ext cx="2411417" cy="721814"/>
              </a:xfrm>
              <a:prstGeom prst="rect">
                <a:avLst/>
              </a:prstGeom>
            </p:spPr>
          </p:pic>
        </p:grpSp>
        <p:pic>
          <p:nvPicPr>
            <p:cNvPr id="30" name="Графіка 29">
              <a:extLst>
                <a:ext uri="{FF2B5EF4-FFF2-40B4-BE49-F238E27FC236}">
                  <a16:creationId xmlns:a16="http://schemas.microsoft.com/office/drawing/2014/main" id="{1B2DB67C-53A3-A052-95A5-9EA34731D560}"/>
                </a:ext>
              </a:extLst>
            </p:cNvPr>
            <p:cNvPicPr/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656105" y="3187405"/>
              <a:ext cx="1313944" cy="370692"/>
            </a:xfrm>
            <a:prstGeom prst="rect">
              <a:avLst/>
            </a:prstGeom>
          </p:spPr>
        </p:pic>
      </p:grpSp>
      <p:grpSp>
        <p:nvGrpSpPr>
          <p:cNvPr id="56" name="Групувати 55">
            <a:extLst>
              <a:ext uri="{FF2B5EF4-FFF2-40B4-BE49-F238E27FC236}">
                <a16:creationId xmlns:a16="http://schemas.microsoft.com/office/drawing/2014/main" id="{C479B4D2-C51C-1E31-F0A6-DF2A36FFE6D0}"/>
              </a:ext>
            </a:extLst>
          </p:cNvPr>
          <p:cNvGrpSpPr/>
          <p:nvPr/>
        </p:nvGrpSpPr>
        <p:grpSpPr>
          <a:xfrm>
            <a:off x="7158383" y="4977688"/>
            <a:ext cx="4580506" cy="769276"/>
            <a:chOff x="7097367" y="4947286"/>
            <a:chExt cx="4362213" cy="732614"/>
          </a:xfrm>
        </p:grpSpPr>
        <p:pic>
          <p:nvPicPr>
            <p:cNvPr id="57" name="Picture 113">
              <a:extLst>
                <a:ext uri="{FF2B5EF4-FFF2-40B4-BE49-F238E27FC236}">
                  <a16:creationId xmlns:a16="http://schemas.microsoft.com/office/drawing/2014/main" id="{8F90E228-8102-9FDE-63CA-D7431BEC7DBD}"/>
                </a:ext>
              </a:extLst>
            </p:cNvPr>
            <p:cNvPicPr/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097367" y="4947286"/>
              <a:ext cx="1570722" cy="732614"/>
            </a:xfrm>
            <a:prstGeom prst="rect">
              <a:avLst/>
            </a:prstGeom>
            <a:noFill/>
          </p:spPr>
        </p:pic>
        <p:grpSp>
          <p:nvGrpSpPr>
            <p:cNvPr id="58" name="Групувати 57">
              <a:extLst>
                <a:ext uri="{FF2B5EF4-FFF2-40B4-BE49-F238E27FC236}">
                  <a16:creationId xmlns:a16="http://schemas.microsoft.com/office/drawing/2014/main" id="{3CBD3BA7-59A0-8AED-EB13-A3DCD37729E5}"/>
                </a:ext>
              </a:extLst>
            </p:cNvPr>
            <p:cNvGrpSpPr/>
            <p:nvPr/>
          </p:nvGrpSpPr>
          <p:grpSpPr>
            <a:xfrm>
              <a:off x="9695840" y="5137431"/>
              <a:ext cx="1763740" cy="376632"/>
              <a:chOff x="8944864" y="1776832"/>
              <a:chExt cx="1022457" cy="221924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C51F7925-B558-8C88-316B-75ECF5254062}"/>
                  </a:ext>
                </a:extLst>
              </p:cNvPr>
              <p:cNvSpPr txBox="1"/>
              <p:nvPr/>
            </p:nvSpPr>
            <p:spPr>
              <a:xfrm>
                <a:off x="9569202" y="1795187"/>
                <a:ext cx="97196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97196" h="96262">
                    <a:moveTo>
                      <a:pt x="48531" y="0"/>
                    </a:moveTo>
                    <a:cubicBezTo>
                      <a:pt x="57866" y="55"/>
                      <a:pt x="66182" y="2061"/>
                      <a:pt x="73479" y="6016"/>
                    </a:cubicBezTo>
                    <a:cubicBezTo>
                      <a:pt x="80775" y="9972"/>
                      <a:pt x="86530" y="15542"/>
                      <a:pt x="90744" y="22729"/>
                    </a:cubicBezTo>
                    <a:cubicBezTo>
                      <a:pt x="94958" y="29915"/>
                      <a:pt x="97109" y="38382"/>
                      <a:pt x="97196" y="48130"/>
                    </a:cubicBezTo>
                    <a:cubicBezTo>
                      <a:pt x="97109" y="57543"/>
                      <a:pt x="94958" y="65852"/>
                      <a:pt x="90744" y="73058"/>
                    </a:cubicBezTo>
                    <a:cubicBezTo>
                      <a:pt x="86530" y="80264"/>
                      <a:pt x="80775" y="85914"/>
                      <a:pt x="73479" y="90008"/>
                    </a:cubicBezTo>
                    <a:cubicBezTo>
                      <a:pt x="66182" y="94102"/>
                      <a:pt x="57866" y="96186"/>
                      <a:pt x="48531" y="96262"/>
                    </a:cubicBezTo>
                    <a:cubicBezTo>
                      <a:pt x="39198" y="96206"/>
                      <a:pt x="30894" y="94200"/>
                      <a:pt x="23618" y="90245"/>
                    </a:cubicBezTo>
                    <a:cubicBezTo>
                      <a:pt x="16343" y="86290"/>
                      <a:pt x="10610" y="80719"/>
                      <a:pt x="6417" y="73532"/>
                    </a:cubicBezTo>
                    <a:cubicBezTo>
                      <a:pt x="2225" y="66346"/>
                      <a:pt x="86" y="57879"/>
                      <a:pt x="0" y="48130"/>
                    </a:cubicBezTo>
                    <a:cubicBezTo>
                      <a:pt x="68" y="39012"/>
                      <a:pt x="2138" y="30841"/>
                      <a:pt x="6210" y="23618"/>
                    </a:cubicBezTo>
                    <a:cubicBezTo>
                      <a:pt x="10281" y="16395"/>
                      <a:pt x="15946" y="10676"/>
                      <a:pt x="23203" y="6461"/>
                    </a:cubicBezTo>
                    <a:cubicBezTo>
                      <a:pt x="30461" y="2246"/>
                      <a:pt x="38904" y="92"/>
                      <a:pt x="48531" y="0"/>
                    </a:cubicBezTo>
                    <a:close/>
                    <a:moveTo>
                      <a:pt x="48531" y="15318"/>
                    </a:moveTo>
                    <a:cubicBezTo>
                      <a:pt x="39411" y="15477"/>
                      <a:pt x="31975" y="18528"/>
                      <a:pt x="26223" y="24472"/>
                    </a:cubicBezTo>
                    <a:cubicBezTo>
                      <a:pt x="20470" y="30415"/>
                      <a:pt x="17503" y="38302"/>
                      <a:pt x="17319" y="48130"/>
                    </a:cubicBezTo>
                    <a:cubicBezTo>
                      <a:pt x="17528" y="57667"/>
                      <a:pt x="20545" y="65470"/>
                      <a:pt x="26373" y="71539"/>
                    </a:cubicBezTo>
                    <a:cubicBezTo>
                      <a:pt x="32200" y="77608"/>
                      <a:pt x="39586" y="80743"/>
                      <a:pt x="48531" y="80943"/>
                    </a:cubicBezTo>
                    <a:cubicBezTo>
                      <a:pt x="58415" y="80726"/>
                      <a:pt x="66091" y="77558"/>
                      <a:pt x="71557" y="71439"/>
                    </a:cubicBezTo>
                    <a:cubicBezTo>
                      <a:pt x="77023" y="65320"/>
                      <a:pt x="79796" y="57551"/>
                      <a:pt x="79877" y="48130"/>
                    </a:cubicBezTo>
                    <a:cubicBezTo>
                      <a:pt x="79671" y="38302"/>
                      <a:pt x="76648" y="30415"/>
                      <a:pt x="70807" y="24472"/>
                    </a:cubicBezTo>
                    <a:cubicBezTo>
                      <a:pt x="64965" y="18528"/>
                      <a:pt x="57540" y="15477"/>
                      <a:pt x="48531" y="1531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549D723C-BE11-C3CD-F0DA-72B3C5BA8A85}"/>
                  </a:ext>
                </a:extLst>
              </p:cNvPr>
              <p:cNvSpPr txBox="1"/>
              <p:nvPr/>
            </p:nvSpPr>
            <p:spPr>
              <a:xfrm>
                <a:off x="9683502" y="1795187"/>
                <a:ext cx="83594" cy="96262"/>
              </a:xfrm>
              <a:custGeom>
                <a:avLst/>
                <a:gdLst/>
                <a:ahLst/>
                <a:cxnLst/>
                <a:rect l="l" t="t" r="r" b="b"/>
                <a:pathLst>
                  <a:path w="83594" h="96262">
                    <a:moveTo>
                      <a:pt x="46532" y="0"/>
                    </a:moveTo>
                    <a:cubicBezTo>
                      <a:pt x="53144" y="19"/>
                      <a:pt x="58862" y="846"/>
                      <a:pt x="63688" y="2481"/>
                    </a:cubicBezTo>
                    <a:cubicBezTo>
                      <a:pt x="68514" y="4115"/>
                      <a:pt x="72796" y="6441"/>
                      <a:pt x="76534" y="9457"/>
                    </a:cubicBezTo>
                    <a:lnTo>
                      <a:pt x="69608" y="22523"/>
                    </a:lnTo>
                    <a:cubicBezTo>
                      <a:pt x="67196" y="20297"/>
                      <a:pt x="64117" y="18546"/>
                      <a:pt x="60371" y="17270"/>
                    </a:cubicBezTo>
                    <a:cubicBezTo>
                      <a:pt x="56625" y="15994"/>
                      <a:pt x="52679" y="15343"/>
                      <a:pt x="48533" y="15318"/>
                    </a:cubicBezTo>
                    <a:cubicBezTo>
                      <a:pt x="39354" y="15385"/>
                      <a:pt x="31901" y="18253"/>
                      <a:pt x="26173" y="23923"/>
                    </a:cubicBezTo>
                    <a:cubicBezTo>
                      <a:pt x="20446" y="29593"/>
                      <a:pt x="17494" y="37664"/>
                      <a:pt x="17319" y="48135"/>
                    </a:cubicBezTo>
                    <a:cubicBezTo>
                      <a:pt x="17453" y="58192"/>
                      <a:pt x="20354" y="66143"/>
                      <a:pt x="26023" y="71988"/>
                    </a:cubicBezTo>
                    <a:cubicBezTo>
                      <a:pt x="31692" y="77832"/>
                      <a:pt x="39329" y="80817"/>
                      <a:pt x="48933" y="80943"/>
                    </a:cubicBezTo>
                    <a:cubicBezTo>
                      <a:pt x="52674" y="80885"/>
                      <a:pt x="56364" y="80234"/>
                      <a:pt x="60005" y="78991"/>
                    </a:cubicBezTo>
                    <a:cubicBezTo>
                      <a:pt x="63645" y="77748"/>
                      <a:pt x="66402" y="76264"/>
                      <a:pt x="68276" y="74537"/>
                    </a:cubicBezTo>
                    <a:lnTo>
                      <a:pt x="68276" y="59857"/>
                    </a:lnTo>
                    <a:lnTo>
                      <a:pt x="45732" y="59857"/>
                    </a:lnTo>
                    <a:lnTo>
                      <a:pt x="45732" y="44539"/>
                    </a:lnTo>
                    <a:lnTo>
                      <a:pt x="83594" y="44539"/>
                    </a:lnTo>
                    <a:lnTo>
                      <a:pt x="83594" y="83208"/>
                    </a:lnTo>
                    <a:cubicBezTo>
                      <a:pt x="79251" y="87365"/>
                      <a:pt x="73848" y="90573"/>
                      <a:pt x="67385" y="92832"/>
                    </a:cubicBezTo>
                    <a:cubicBezTo>
                      <a:pt x="60922" y="95091"/>
                      <a:pt x="54683" y="96234"/>
                      <a:pt x="48666" y="96262"/>
                    </a:cubicBezTo>
                    <a:cubicBezTo>
                      <a:pt x="33274" y="96073"/>
                      <a:pt x="21345" y="91686"/>
                      <a:pt x="12878" y="83100"/>
                    </a:cubicBezTo>
                    <a:cubicBezTo>
                      <a:pt x="4412" y="74514"/>
                      <a:pt x="119" y="62859"/>
                      <a:pt x="0" y="48135"/>
                    </a:cubicBezTo>
                    <a:cubicBezTo>
                      <a:pt x="46" y="39100"/>
                      <a:pt x="1953" y="30968"/>
                      <a:pt x="5721" y="23739"/>
                    </a:cubicBezTo>
                    <a:cubicBezTo>
                      <a:pt x="9488" y="16510"/>
                      <a:pt x="14842" y="10771"/>
                      <a:pt x="21781" y="6521"/>
                    </a:cubicBezTo>
                    <a:cubicBezTo>
                      <a:pt x="28721" y="2271"/>
                      <a:pt x="36971" y="97"/>
                      <a:pt x="46532" y="0"/>
                    </a:cubicBez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5597E4E4-9404-3D53-5746-C443ECFB2014}"/>
                  </a:ext>
                </a:extLst>
              </p:cNvPr>
              <p:cNvSpPr txBox="1"/>
              <p:nvPr/>
            </p:nvSpPr>
            <p:spPr>
              <a:xfrm>
                <a:off x="92879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9CF79BE6-3443-1F45-BFCF-130EDE2B525B}"/>
                  </a:ext>
                </a:extLst>
              </p:cNvPr>
              <p:cNvSpPr txBox="1"/>
              <p:nvPr/>
            </p:nvSpPr>
            <p:spPr>
              <a:xfrm>
                <a:off x="9783203" y="1796388"/>
                <a:ext cx="93345" cy="93595"/>
              </a:xfrm>
              <a:custGeom>
                <a:avLst/>
                <a:gdLst/>
                <a:ahLst/>
                <a:cxnLst/>
                <a:rect l="l" t="t" r="r" b="b"/>
                <a:pathLst>
                  <a:path w="93345" h="93595">
                    <a:moveTo>
                      <a:pt x="39471" y="0"/>
                    </a:moveTo>
                    <a:lnTo>
                      <a:pt x="53873" y="0"/>
                    </a:lnTo>
                    <a:lnTo>
                      <a:pt x="93345" y="93595"/>
                    </a:lnTo>
                    <a:lnTo>
                      <a:pt x="75876" y="93595"/>
                    </a:lnTo>
                    <a:lnTo>
                      <a:pt x="66141" y="69725"/>
                    </a:lnTo>
                    <a:lnTo>
                      <a:pt x="26270" y="69725"/>
                    </a:lnTo>
                    <a:lnTo>
                      <a:pt x="16535" y="93595"/>
                    </a:lnTo>
                    <a:lnTo>
                      <a:pt x="0" y="93595"/>
                    </a:lnTo>
                    <a:lnTo>
                      <a:pt x="39471" y="0"/>
                    </a:lnTo>
                    <a:close/>
                    <a:moveTo>
                      <a:pt x="46272" y="21202"/>
                    </a:moveTo>
                    <a:lnTo>
                      <a:pt x="32537" y="54407"/>
                    </a:lnTo>
                    <a:lnTo>
                      <a:pt x="59874" y="54407"/>
                    </a:lnTo>
                    <a:lnTo>
                      <a:pt x="46272" y="21202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3380154E-7D03-CF5C-EC9B-68F636AD047C}"/>
                  </a:ext>
                </a:extLst>
              </p:cNvPr>
              <p:cNvSpPr txBox="1"/>
              <p:nvPr/>
            </p:nvSpPr>
            <p:spPr>
              <a:xfrm>
                <a:off x="9185612" y="1796788"/>
                <a:ext cx="797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9726" h="93195">
                    <a:moveTo>
                      <a:pt x="0" y="0"/>
                    </a:moveTo>
                    <a:lnTo>
                      <a:pt x="13054" y="0"/>
                    </a:lnTo>
                    <a:lnTo>
                      <a:pt x="64408" y="64837"/>
                    </a:lnTo>
                    <a:lnTo>
                      <a:pt x="64408" y="0"/>
                    </a:lnTo>
                    <a:lnTo>
                      <a:pt x="79726" y="0"/>
                    </a:lnTo>
                    <a:lnTo>
                      <a:pt x="79726" y="93195"/>
                    </a:lnTo>
                    <a:lnTo>
                      <a:pt x="66672" y="93195"/>
                    </a:lnTo>
                    <a:lnTo>
                      <a:pt x="15318" y="28624"/>
                    </a:lnTo>
                    <a:lnTo>
                      <a:pt x="15318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3A10E915-C7DC-805E-AE76-B5D82F79E589}"/>
                  </a:ext>
                </a:extLst>
              </p:cNvPr>
              <p:cNvSpPr txBox="1"/>
              <p:nvPr/>
            </p:nvSpPr>
            <p:spPr>
              <a:xfrm>
                <a:off x="9404688" y="1796788"/>
                <a:ext cx="5332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53323" h="93195">
                    <a:moveTo>
                      <a:pt x="0" y="0"/>
                    </a:moveTo>
                    <a:lnTo>
                      <a:pt x="53323" y="0"/>
                    </a:lnTo>
                    <a:lnTo>
                      <a:pt x="53323" y="15318"/>
                    </a:lnTo>
                    <a:lnTo>
                      <a:pt x="16385" y="15318"/>
                    </a:lnTo>
                    <a:lnTo>
                      <a:pt x="16385" y="41605"/>
                    </a:lnTo>
                    <a:lnTo>
                      <a:pt x="49322" y="41605"/>
                    </a:lnTo>
                    <a:lnTo>
                      <a:pt x="49322" y="56924"/>
                    </a:lnTo>
                    <a:lnTo>
                      <a:pt x="16385" y="56924"/>
                    </a:lnTo>
                    <a:lnTo>
                      <a:pt x="16385" y="93195"/>
                    </a:lnTo>
                    <a:lnTo>
                      <a:pt x="0" y="9319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E3C5345B-91E8-AB57-A261-F03687911139}"/>
                  </a:ext>
                </a:extLst>
              </p:cNvPr>
              <p:cNvSpPr txBox="1"/>
              <p:nvPr/>
            </p:nvSpPr>
            <p:spPr>
              <a:xfrm>
                <a:off x="9478810" y="1796788"/>
                <a:ext cx="76926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6926" h="93195">
                    <a:moveTo>
                      <a:pt x="0" y="0"/>
                    </a:moveTo>
                    <a:lnTo>
                      <a:pt x="76926" y="0"/>
                    </a:lnTo>
                    <a:lnTo>
                      <a:pt x="76926" y="15318"/>
                    </a:lnTo>
                    <a:lnTo>
                      <a:pt x="46656" y="15318"/>
                    </a:lnTo>
                    <a:lnTo>
                      <a:pt x="46656" y="93195"/>
                    </a:lnTo>
                    <a:lnTo>
                      <a:pt x="30270" y="93195"/>
                    </a:lnTo>
                    <a:lnTo>
                      <a:pt x="30270" y="15318"/>
                    </a:lnTo>
                    <a:lnTo>
                      <a:pt x="0" y="153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latin typeface="Circe Bold" panose="020B0602020203020203" pitchFamily="34" charset="-52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1CB729B4-C4B0-7EBB-2DFE-F28FD9FB3675}"/>
                  </a:ext>
                </a:extLst>
              </p:cNvPr>
              <p:cNvSpPr txBox="1"/>
              <p:nvPr/>
            </p:nvSpPr>
            <p:spPr>
              <a:xfrm>
                <a:off x="9892378" y="1796788"/>
                <a:ext cx="74943" cy="93195"/>
              </a:xfrm>
              <a:custGeom>
                <a:avLst/>
                <a:gdLst/>
                <a:ahLst/>
                <a:cxnLst/>
                <a:rect l="l" t="t" r="r" b="b"/>
                <a:pathLst>
                  <a:path w="74943" h="93195">
                    <a:moveTo>
                      <a:pt x="2667" y="0"/>
                    </a:moveTo>
                    <a:lnTo>
                      <a:pt x="73609" y="0"/>
                    </a:lnTo>
                    <a:lnTo>
                      <a:pt x="73609" y="11322"/>
                    </a:lnTo>
                    <a:lnTo>
                      <a:pt x="21870" y="77876"/>
                    </a:lnTo>
                    <a:lnTo>
                      <a:pt x="74943" y="77876"/>
                    </a:lnTo>
                    <a:lnTo>
                      <a:pt x="74943" y="93195"/>
                    </a:lnTo>
                    <a:lnTo>
                      <a:pt x="0" y="93195"/>
                    </a:lnTo>
                    <a:lnTo>
                      <a:pt x="0" y="82006"/>
                    </a:lnTo>
                    <a:lnTo>
                      <a:pt x="51607" y="15318"/>
                    </a:lnTo>
                    <a:lnTo>
                      <a:pt x="2667" y="15318"/>
                    </a:lnTo>
                    <a:lnTo>
                      <a:pt x="2667" y="0"/>
                    </a:lnTo>
                    <a:close/>
                  </a:path>
                </a:pathLst>
              </a:custGeom>
              <a:solidFill>
                <a:srgbClr val="00A1DF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476" spc="50" dirty="0">
                  <a:solidFill>
                    <a:srgbClr val="3399FF"/>
                  </a:solidFill>
                  <a:latin typeface="Circe Bold" panose="020B0602020203020203" pitchFamily="34" charset="-52"/>
                </a:endParaRPr>
              </a:p>
            </p:txBody>
          </p:sp>
          <p:sp>
            <p:nvSpPr>
              <p:cNvPr id="67" name="Freeform 218">
                <a:extLst>
                  <a:ext uri="{FF2B5EF4-FFF2-40B4-BE49-F238E27FC236}">
                    <a16:creationId xmlns:a16="http://schemas.microsoft.com/office/drawing/2014/main" id="{4F06E011-CB85-0C1F-76B1-EE1BD0FFA6A4}"/>
                  </a:ext>
                </a:extLst>
              </p:cNvPr>
              <p:cNvSpPr/>
              <p:nvPr/>
            </p:nvSpPr>
            <p:spPr>
              <a:xfrm>
                <a:off x="9064800" y="1991655"/>
                <a:ext cx="4609" cy="1336"/>
              </a:xfrm>
              <a:custGeom>
                <a:avLst/>
                <a:gdLst/>
                <a:ahLst/>
                <a:cxnLst/>
                <a:rect l="0" t="0" r="0" b="0"/>
                <a:pathLst>
                  <a:path w="13665" h="3962">
                    <a:moveTo>
                      <a:pt x="0" y="3962"/>
                    </a:moveTo>
                    <a:cubicBezTo>
                      <a:pt x="4610" y="2731"/>
                      <a:pt x="9169" y="1626"/>
                      <a:pt x="13665" y="0"/>
                    </a:cubicBezTo>
                    <a:cubicBezTo>
                      <a:pt x="8978" y="1384"/>
                      <a:pt x="4508" y="2731"/>
                      <a:pt x="0" y="3962"/>
                    </a:cubicBezTo>
                  </a:path>
                </a:pathLst>
              </a:custGeom>
              <a:solidFill>
                <a:srgbClr val="000000">
                  <a:alpha val="100000"/>
                </a:srgb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pic>
            <p:nvPicPr>
              <p:cNvPr id="68" name="Picture 219">
                <a:extLst>
                  <a:ext uri="{FF2B5EF4-FFF2-40B4-BE49-F238E27FC236}">
                    <a16:creationId xmlns:a16="http://schemas.microsoft.com/office/drawing/2014/main" id="{860554C1-9E32-EB66-E3EE-6EBA69C8CE6B}"/>
                  </a:ext>
                </a:extLst>
              </p:cNvPr>
              <p:cNvPicPr/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058175" y="1988501"/>
                <a:ext cx="15518" cy="10255"/>
              </a:xfrm>
              <a:prstGeom prst="rect">
                <a:avLst/>
              </a:prstGeom>
              <a:noFill/>
            </p:spPr>
          </p:pic>
          <p:grpSp>
            <p:nvGrpSpPr>
              <p:cNvPr id="69" name="Групувати 68">
                <a:extLst>
                  <a:ext uri="{FF2B5EF4-FFF2-40B4-BE49-F238E27FC236}">
                    <a16:creationId xmlns:a16="http://schemas.microsoft.com/office/drawing/2014/main" id="{B7DBC2DC-A219-4310-356D-B107FB22F2DE}"/>
                  </a:ext>
                </a:extLst>
              </p:cNvPr>
              <p:cNvGrpSpPr/>
              <p:nvPr/>
            </p:nvGrpSpPr>
            <p:grpSpPr>
              <a:xfrm>
                <a:off x="8944864" y="1776832"/>
                <a:ext cx="207633" cy="206717"/>
                <a:chOff x="5192198" y="3302281"/>
                <a:chExt cx="207633" cy="206717"/>
              </a:xfrm>
            </p:grpSpPr>
            <p:sp>
              <p:nvSpPr>
                <p:cNvPr id="83" name="Freeform 220">
                  <a:extLst>
                    <a:ext uri="{FF2B5EF4-FFF2-40B4-BE49-F238E27FC236}">
                      <a16:creationId xmlns:a16="http://schemas.microsoft.com/office/drawing/2014/main" id="{346804B9-E0EC-B260-0A24-CC049618F8CF}"/>
                    </a:ext>
                  </a:extLst>
                </p:cNvPr>
                <p:cNvSpPr/>
                <p:nvPr/>
              </p:nvSpPr>
              <p:spPr>
                <a:xfrm>
                  <a:off x="5309209" y="3316368"/>
                  <a:ext cx="90622" cy="1786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8693" h="529665">
                      <a:moveTo>
                        <a:pt x="249186" y="162356"/>
                      </a:moveTo>
                      <a:cubicBezTo>
                        <a:pt x="249490" y="162482"/>
                        <a:pt x="249770" y="162521"/>
                        <a:pt x="250049" y="162724"/>
                      </a:cubicBezTo>
                      <a:cubicBezTo>
                        <a:pt x="233972" y="106400"/>
                        <a:pt x="199834" y="59042"/>
                        <a:pt x="150126" y="24841"/>
                      </a:cubicBezTo>
                      <a:cubicBezTo>
                        <a:pt x="127165" y="9055"/>
                        <a:pt x="100622" y="0"/>
                        <a:pt x="77356" y="0"/>
                      </a:cubicBezTo>
                      <a:cubicBezTo>
                        <a:pt x="63970" y="0"/>
                        <a:pt x="51701" y="2844"/>
                        <a:pt x="41008" y="8661"/>
                      </a:cubicBezTo>
                      <a:cubicBezTo>
                        <a:pt x="13894" y="24498"/>
                        <a:pt x="0" y="46990"/>
                        <a:pt x="0" y="75565"/>
                      </a:cubicBezTo>
                      <a:cubicBezTo>
                        <a:pt x="0" y="122174"/>
                        <a:pt x="27051" y="149669"/>
                        <a:pt x="67932" y="191324"/>
                      </a:cubicBezTo>
                      <a:cubicBezTo>
                        <a:pt x="89205" y="213003"/>
                        <a:pt x="113068" y="237336"/>
                        <a:pt x="136474" y="268591"/>
                      </a:cubicBezTo>
                      <a:cubicBezTo>
                        <a:pt x="174879" y="319785"/>
                        <a:pt x="184366" y="391375"/>
                        <a:pt x="161239" y="455687"/>
                      </a:cubicBezTo>
                      <a:cubicBezTo>
                        <a:pt x="151143" y="483754"/>
                        <a:pt x="135737" y="508431"/>
                        <a:pt x="115798" y="528992"/>
                      </a:cubicBezTo>
                      <a:cubicBezTo>
                        <a:pt x="115519" y="529068"/>
                        <a:pt x="115468" y="529462"/>
                        <a:pt x="115214" y="529665"/>
                      </a:cubicBezTo>
                      <a:cubicBezTo>
                        <a:pt x="163931" y="502233"/>
                        <a:pt x="200685" y="463269"/>
                        <a:pt x="223342" y="414768"/>
                      </a:cubicBezTo>
                      <a:cubicBezTo>
                        <a:pt x="268693" y="317359"/>
                        <a:pt x="235026" y="249795"/>
                        <a:pt x="214922" y="209384"/>
                      </a:cubicBezTo>
                      <a:cubicBezTo>
                        <a:pt x="204610" y="188670"/>
                        <a:pt x="197193" y="173531"/>
                        <a:pt x="204711" y="162191"/>
                      </a:cubicBezTo>
                      <a:cubicBezTo>
                        <a:pt x="213411" y="149098"/>
                        <a:pt x="229451" y="148463"/>
                        <a:pt x="249186" y="162356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  <p:sp>
              <p:nvSpPr>
                <p:cNvPr id="84" name="Freeform 221">
                  <a:extLst>
                    <a:ext uri="{FF2B5EF4-FFF2-40B4-BE49-F238E27FC236}">
                      <a16:creationId xmlns:a16="http://schemas.microsoft.com/office/drawing/2014/main" id="{A7A327C7-A731-75E1-675A-51DF8789BC4B}"/>
                    </a:ext>
                  </a:extLst>
                </p:cNvPr>
                <p:cNvSpPr/>
                <p:nvPr/>
              </p:nvSpPr>
              <p:spPr>
                <a:xfrm>
                  <a:off x="5192198" y="3326401"/>
                  <a:ext cx="131219" cy="1799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9064" h="533476">
                      <a:moveTo>
                        <a:pt x="374561" y="363639"/>
                      </a:moveTo>
                      <a:cubicBezTo>
                        <a:pt x="345733" y="318936"/>
                        <a:pt x="304800" y="303162"/>
                        <a:pt x="261519" y="286563"/>
                      </a:cubicBezTo>
                      <a:cubicBezTo>
                        <a:pt x="219050" y="270142"/>
                        <a:pt x="175095" y="253251"/>
                        <a:pt x="137757" y="209398"/>
                      </a:cubicBezTo>
                      <a:cubicBezTo>
                        <a:pt x="101156" y="166739"/>
                        <a:pt x="85764" y="111430"/>
                        <a:pt x="94044" y="53988"/>
                      </a:cubicBezTo>
                      <a:cubicBezTo>
                        <a:pt x="96635" y="36322"/>
                        <a:pt x="101651" y="19495"/>
                        <a:pt x="108243" y="3988"/>
                      </a:cubicBezTo>
                      <a:cubicBezTo>
                        <a:pt x="108509" y="3214"/>
                        <a:pt x="108801" y="2451"/>
                        <a:pt x="108827" y="2439"/>
                      </a:cubicBezTo>
                      <a:cubicBezTo>
                        <a:pt x="109182" y="1486"/>
                        <a:pt x="109386" y="788"/>
                        <a:pt x="109703" y="0"/>
                      </a:cubicBezTo>
                      <a:cubicBezTo>
                        <a:pt x="104902" y="3988"/>
                        <a:pt x="100559" y="8408"/>
                        <a:pt x="96063" y="12675"/>
                      </a:cubicBezTo>
                      <a:cubicBezTo>
                        <a:pt x="96139" y="12599"/>
                        <a:pt x="96241" y="12535"/>
                        <a:pt x="96330" y="12459"/>
                      </a:cubicBezTo>
                      <a:cubicBezTo>
                        <a:pt x="96241" y="12535"/>
                        <a:pt x="96139" y="12612"/>
                        <a:pt x="96063" y="12688"/>
                      </a:cubicBezTo>
                      <a:cubicBezTo>
                        <a:pt x="35345" y="69977"/>
                        <a:pt x="0" y="149556"/>
                        <a:pt x="0" y="234925"/>
                      </a:cubicBezTo>
                      <a:cubicBezTo>
                        <a:pt x="0" y="369468"/>
                        <a:pt x="90031" y="490258"/>
                        <a:pt x="218974" y="528586"/>
                      </a:cubicBezTo>
                      <a:cubicBezTo>
                        <a:pt x="231445" y="531837"/>
                        <a:pt x="244221" y="533476"/>
                        <a:pt x="256972" y="533476"/>
                      </a:cubicBezTo>
                      <a:cubicBezTo>
                        <a:pt x="300482" y="533476"/>
                        <a:pt x="339344" y="514349"/>
                        <a:pt x="363881" y="480910"/>
                      </a:cubicBezTo>
                      <a:cubicBezTo>
                        <a:pt x="376135" y="464070"/>
                        <a:pt x="383044" y="444995"/>
                        <a:pt x="385800" y="426034"/>
                      </a:cubicBezTo>
                      <a:cubicBezTo>
                        <a:pt x="389064" y="403453"/>
                        <a:pt x="385838" y="381190"/>
                        <a:pt x="374561" y="363639"/>
                      </a:cubicBezTo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 dirty="0"/>
                </a:p>
              </p:txBody>
            </p:sp>
            <p:sp>
              <p:nvSpPr>
                <p:cNvPr id="85" name="Freeform 222">
                  <a:extLst>
                    <a:ext uri="{FF2B5EF4-FFF2-40B4-BE49-F238E27FC236}">
                      <a16:creationId xmlns:a16="http://schemas.microsoft.com/office/drawing/2014/main" id="{AEB77F1C-BCB4-9BC9-5BAB-46642BE2737E}"/>
                    </a:ext>
                  </a:extLst>
                </p:cNvPr>
                <p:cNvSpPr/>
                <p:nvPr/>
              </p:nvSpPr>
              <p:spPr>
                <a:xfrm>
                  <a:off x="5231948" y="3302281"/>
                  <a:ext cx="129163" cy="20671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2967" h="612914">
                      <a:moveTo>
                        <a:pt x="342366" y="327609"/>
                      </a:moveTo>
                      <a:cubicBezTo>
                        <a:pt x="320078" y="297904"/>
                        <a:pt x="296850" y="274142"/>
                        <a:pt x="276352" y="253340"/>
                      </a:cubicBezTo>
                      <a:cubicBezTo>
                        <a:pt x="233743" y="209868"/>
                        <a:pt x="200215" y="175692"/>
                        <a:pt x="200215" y="117323"/>
                      </a:cubicBezTo>
                      <a:cubicBezTo>
                        <a:pt x="200215" y="57811"/>
                        <a:pt x="243726" y="25121"/>
                        <a:pt x="284543" y="15316"/>
                      </a:cubicBezTo>
                      <a:cubicBezTo>
                        <a:pt x="282499" y="14656"/>
                        <a:pt x="280162" y="14313"/>
                        <a:pt x="278054" y="13742"/>
                      </a:cubicBezTo>
                      <a:cubicBezTo>
                        <a:pt x="249555" y="5157"/>
                        <a:pt x="218605" y="0"/>
                        <a:pt x="188531" y="0"/>
                      </a:cubicBezTo>
                      <a:cubicBezTo>
                        <a:pt x="138582" y="0"/>
                        <a:pt x="99174" y="10275"/>
                        <a:pt x="60719" y="33389"/>
                      </a:cubicBezTo>
                      <a:cubicBezTo>
                        <a:pt x="32842" y="50127"/>
                        <a:pt x="10960" y="87922"/>
                        <a:pt x="4864" y="129718"/>
                      </a:cubicBezTo>
                      <a:cubicBezTo>
                        <a:pt x="686" y="158141"/>
                        <a:pt x="0" y="213157"/>
                        <a:pt x="41846" y="262065"/>
                      </a:cubicBezTo>
                      <a:cubicBezTo>
                        <a:pt x="74536" y="300393"/>
                        <a:pt x="114948" y="316002"/>
                        <a:pt x="153987" y="331038"/>
                      </a:cubicBezTo>
                      <a:cubicBezTo>
                        <a:pt x="199809" y="348652"/>
                        <a:pt x="247002" y="366953"/>
                        <a:pt x="280975" y="419442"/>
                      </a:cubicBezTo>
                      <a:cubicBezTo>
                        <a:pt x="304025" y="455091"/>
                        <a:pt x="303886" y="505104"/>
                        <a:pt x="282499" y="547801"/>
                      </a:cubicBezTo>
                      <a:cubicBezTo>
                        <a:pt x="281102" y="550659"/>
                        <a:pt x="279552" y="553415"/>
                        <a:pt x="277952" y="556132"/>
                      </a:cubicBezTo>
                      <a:cubicBezTo>
                        <a:pt x="277520" y="556932"/>
                        <a:pt x="277038" y="557745"/>
                        <a:pt x="276581" y="558545"/>
                      </a:cubicBezTo>
                      <a:cubicBezTo>
                        <a:pt x="259715" y="585304"/>
                        <a:pt x="231902" y="606069"/>
                        <a:pt x="204165" y="612914"/>
                      </a:cubicBezTo>
                      <a:cubicBezTo>
                        <a:pt x="219011" y="610793"/>
                        <a:pt x="233401" y="607555"/>
                        <a:pt x="247307" y="602856"/>
                      </a:cubicBezTo>
                      <a:cubicBezTo>
                        <a:pt x="248679" y="602462"/>
                        <a:pt x="250038" y="602043"/>
                        <a:pt x="251435" y="601649"/>
                      </a:cubicBezTo>
                      <a:cubicBezTo>
                        <a:pt x="253213" y="601001"/>
                        <a:pt x="254864" y="600100"/>
                        <a:pt x="256603" y="599427"/>
                      </a:cubicBezTo>
                      <a:cubicBezTo>
                        <a:pt x="259804" y="598157"/>
                        <a:pt x="262979" y="596823"/>
                        <a:pt x="266103" y="595375"/>
                      </a:cubicBezTo>
                      <a:cubicBezTo>
                        <a:pt x="268084" y="594448"/>
                        <a:pt x="270091" y="593559"/>
                        <a:pt x="272110" y="592505"/>
                      </a:cubicBezTo>
                      <a:cubicBezTo>
                        <a:pt x="276936" y="590092"/>
                        <a:pt x="281686" y="587336"/>
                        <a:pt x="286334" y="584453"/>
                      </a:cubicBezTo>
                      <a:cubicBezTo>
                        <a:pt x="287007" y="584022"/>
                        <a:pt x="287642" y="583590"/>
                        <a:pt x="288252" y="583183"/>
                      </a:cubicBezTo>
                      <a:cubicBezTo>
                        <a:pt x="293408" y="579894"/>
                        <a:pt x="298386" y="576198"/>
                        <a:pt x="303301" y="572274"/>
                      </a:cubicBezTo>
                      <a:cubicBezTo>
                        <a:pt x="303695" y="571944"/>
                        <a:pt x="304101" y="571601"/>
                        <a:pt x="304495" y="571296"/>
                      </a:cubicBezTo>
                      <a:cubicBezTo>
                        <a:pt x="308991" y="567575"/>
                        <a:pt x="313398" y="563587"/>
                        <a:pt x="317716" y="559282"/>
                      </a:cubicBezTo>
                      <a:cubicBezTo>
                        <a:pt x="318795" y="558139"/>
                        <a:pt x="319900" y="556932"/>
                        <a:pt x="321018" y="555789"/>
                      </a:cubicBezTo>
                      <a:cubicBezTo>
                        <a:pt x="323939" y="552703"/>
                        <a:pt x="326796" y="549477"/>
                        <a:pt x="329565" y="546087"/>
                      </a:cubicBezTo>
                      <a:cubicBezTo>
                        <a:pt x="331787" y="543470"/>
                        <a:pt x="333832" y="540753"/>
                        <a:pt x="335877" y="538022"/>
                      </a:cubicBezTo>
                      <a:cubicBezTo>
                        <a:pt x="338036" y="535114"/>
                        <a:pt x="340182" y="532091"/>
                        <a:pt x="342265" y="529005"/>
                      </a:cubicBezTo>
                      <a:cubicBezTo>
                        <a:pt x="343255" y="527494"/>
                        <a:pt x="344283" y="526046"/>
                        <a:pt x="345210" y="524535"/>
                      </a:cubicBezTo>
                      <a:cubicBezTo>
                        <a:pt x="345502" y="524141"/>
                        <a:pt x="345782" y="523709"/>
                        <a:pt x="346087" y="523239"/>
                      </a:cubicBezTo>
                      <a:lnTo>
                        <a:pt x="346036" y="523062"/>
                      </a:lnTo>
                      <a:cubicBezTo>
                        <a:pt x="352792" y="511949"/>
                        <a:pt x="358609" y="500176"/>
                        <a:pt x="363092" y="487616"/>
                      </a:cubicBezTo>
                      <a:cubicBezTo>
                        <a:pt x="382967" y="432472"/>
                        <a:pt x="374992" y="371144"/>
                        <a:pt x="342366" y="327609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</p:grpSp>
          <p:grpSp>
            <p:nvGrpSpPr>
              <p:cNvPr id="70" name="Групувати 69">
                <a:extLst>
                  <a:ext uri="{FF2B5EF4-FFF2-40B4-BE49-F238E27FC236}">
                    <a16:creationId xmlns:a16="http://schemas.microsoft.com/office/drawing/2014/main" id="{703D35EA-A0FC-C154-5D21-4888E66C9E9A}"/>
                  </a:ext>
                </a:extLst>
              </p:cNvPr>
              <p:cNvGrpSpPr/>
              <p:nvPr/>
            </p:nvGrpSpPr>
            <p:grpSpPr>
              <a:xfrm>
                <a:off x="9192478" y="1930875"/>
                <a:ext cx="575419" cy="50379"/>
                <a:chOff x="4220435" y="3738620"/>
                <a:chExt cx="575419" cy="50379"/>
              </a:xfrm>
            </p:grpSpPr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0E5BB382-3BD5-3C35-0720-230D9A56ED95}"/>
                    </a:ext>
                  </a:extLst>
                </p:cNvPr>
                <p:cNvSpPr txBox="1"/>
                <p:nvPr/>
              </p:nvSpPr>
              <p:spPr>
                <a:xfrm>
                  <a:off x="4600817" y="3741001"/>
                  <a:ext cx="29929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929" h="47998">
                      <a:moveTo>
                        <a:pt x="15198" y="0"/>
                      </a:moveTo>
                      <a:cubicBezTo>
                        <a:pt x="17931" y="19"/>
                        <a:pt x="20418" y="463"/>
                        <a:pt x="22659" y="1331"/>
                      </a:cubicBezTo>
                      <a:cubicBezTo>
                        <a:pt x="24899" y="2200"/>
                        <a:pt x="26701" y="3376"/>
                        <a:pt x="28065" y="4860"/>
                      </a:cubicBezTo>
                      <a:lnTo>
                        <a:pt x="25002" y="9127"/>
                      </a:lnTo>
                      <a:cubicBezTo>
                        <a:pt x="23783" y="7889"/>
                        <a:pt x="22405" y="6947"/>
                        <a:pt x="20868" y="6301"/>
                      </a:cubicBezTo>
                      <a:cubicBezTo>
                        <a:pt x="19331" y="5655"/>
                        <a:pt x="17552" y="5330"/>
                        <a:pt x="15531" y="5326"/>
                      </a:cubicBezTo>
                      <a:cubicBezTo>
                        <a:pt x="12905" y="5353"/>
                        <a:pt x="10853" y="5981"/>
                        <a:pt x="9377" y="7210"/>
                      </a:cubicBezTo>
                      <a:cubicBezTo>
                        <a:pt x="7902" y="8438"/>
                        <a:pt x="7151" y="10099"/>
                        <a:pt x="7126" y="12195"/>
                      </a:cubicBezTo>
                      <a:cubicBezTo>
                        <a:pt x="7187" y="14454"/>
                        <a:pt x="7977" y="16223"/>
                        <a:pt x="9498" y="17502"/>
                      </a:cubicBezTo>
                      <a:cubicBezTo>
                        <a:pt x="11018" y="18780"/>
                        <a:pt x="12903" y="19858"/>
                        <a:pt x="15153" y="20734"/>
                      </a:cubicBezTo>
                      <a:cubicBezTo>
                        <a:pt x="17403" y="21611"/>
                        <a:pt x="19652" y="22575"/>
                        <a:pt x="21902" y="23627"/>
                      </a:cubicBezTo>
                      <a:cubicBezTo>
                        <a:pt x="24152" y="24680"/>
                        <a:pt x="26037" y="26110"/>
                        <a:pt x="27557" y="27916"/>
                      </a:cubicBezTo>
                      <a:cubicBezTo>
                        <a:pt x="29078" y="29723"/>
                        <a:pt x="29868" y="32197"/>
                        <a:pt x="29929" y="35336"/>
                      </a:cubicBezTo>
                      <a:cubicBezTo>
                        <a:pt x="29825" y="39219"/>
                        <a:pt x="28351" y="42288"/>
                        <a:pt x="25507" y="44543"/>
                      </a:cubicBezTo>
                      <a:cubicBezTo>
                        <a:pt x="22663" y="46798"/>
                        <a:pt x="19071" y="47949"/>
                        <a:pt x="14731" y="47998"/>
                      </a:cubicBezTo>
                      <a:cubicBezTo>
                        <a:pt x="11753" y="47981"/>
                        <a:pt x="8872" y="47365"/>
                        <a:pt x="6089" y="46150"/>
                      </a:cubicBezTo>
                      <a:cubicBezTo>
                        <a:pt x="3305" y="44935"/>
                        <a:pt x="1276" y="43220"/>
                        <a:pt x="0" y="41005"/>
                      </a:cubicBezTo>
                      <a:lnTo>
                        <a:pt x="3264" y="37137"/>
                      </a:lnTo>
                      <a:cubicBezTo>
                        <a:pt x="4693" y="38943"/>
                        <a:pt x="6465" y="40316"/>
                        <a:pt x="8579" y="41255"/>
                      </a:cubicBezTo>
                      <a:cubicBezTo>
                        <a:pt x="10693" y="42194"/>
                        <a:pt x="12766" y="42666"/>
                        <a:pt x="14798" y="42672"/>
                      </a:cubicBezTo>
                      <a:cubicBezTo>
                        <a:pt x="17309" y="42665"/>
                        <a:pt x="19441" y="42045"/>
                        <a:pt x="21193" y="40813"/>
                      </a:cubicBezTo>
                      <a:cubicBezTo>
                        <a:pt x="22946" y="39581"/>
                        <a:pt x="23860" y="37777"/>
                        <a:pt x="23936" y="35403"/>
                      </a:cubicBezTo>
                      <a:cubicBezTo>
                        <a:pt x="23876" y="33168"/>
                        <a:pt x="23085" y="31398"/>
                        <a:pt x="21565" y="30095"/>
                      </a:cubicBezTo>
                      <a:cubicBezTo>
                        <a:pt x="20045" y="28792"/>
                        <a:pt x="18160" y="27681"/>
                        <a:pt x="15910" y="26763"/>
                      </a:cubicBezTo>
                      <a:cubicBezTo>
                        <a:pt x="13660" y="25844"/>
                        <a:pt x="11410" y="24845"/>
                        <a:pt x="9160" y="23763"/>
                      </a:cubicBezTo>
                      <a:cubicBezTo>
                        <a:pt x="6910" y="22682"/>
                        <a:pt x="5025" y="21246"/>
                        <a:pt x="3505" y="19455"/>
                      </a:cubicBezTo>
                      <a:cubicBezTo>
                        <a:pt x="1985" y="17663"/>
                        <a:pt x="1194" y="15243"/>
                        <a:pt x="1134" y="12195"/>
                      </a:cubicBezTo>
                      <a:cubicBezTo>
                        <a:pt x="1165" y="8740"/>
                        <a:pt x="2400" y="5865"/>
                        <a:pt x="4839" y="3571"/>
                      </a:cubicBezTo>
                      <a:cubicBezTo>
                        <a:pt x="7278" y="1278"/>
                        <a:pt x="10731" y="87"/>
                        <a:pt x="15198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F3123D8F-252A-A25B-15F3-CF6CFAF78CE7}"/>
                    </a:ext>
                  </a:extLst>
                </p:cNvPr>
                <p:cNvSpPr txBox="1"/>
                <p:nvPr/>
              </p:nvSpPr>
              <p:spPr>
                <a:xfrm>
                  <a:off x="4646060" y="3741001"/>
                  <a:ext cx="41130" cy="479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130" h="47998">
                      <a:moveTo>
                        <a:pt x="22933" y="0"/>
                      </a:moveTo>
                      <a:cubicBezTo>
                        <a:pt x="26078" y="1"/>
                        <a:pt x="28840" y="381"/>
                        <a:pt x="31219" y="1140"/>
                      </a:cubicBezTo>
                      <a:cubicBezTo>
                        <a:pt x="33597" y="1899"/>
                        <a:pt x="35725" y="3028"/>
                        <a:pt x="37602" y="4527"/>
                      </a:cubicBezTo>
                      <a:lnTo>
                        <a:pt x="35138" y="9061"/>
                      </a:lnTo>
                      <a:cubicBezTo>
                        <a:pt x="33740" y="7826"/>
                        <a:pt x="32033" y="6895"/>
                        <a:pt x="30019" y="6268"/>
                      </a:cubicBezTo>
                      <a:cubicBezTo>
                        <a:pt x="28004" y="5641"/>
                        <a:pt x="25864" y="5327"/>
                        <a:pt x="23600" y="5326"/>
                      </a:cubicBezTo>
                      <a:cubicBezTo>
                        <a:pt x="18314" y="5399"/>
                        <a:pt x="14079" y="7103"/>
                        <a:pt x="10895" y="10437"/>
                      </a:cubicBezTo>
                      <a:cubicBezTo>
                        <a:pt x="7710" y="13771"/>
                        <a:pt x="6076" y="18293"/>
                        <a:pt x="5993" y="24002"/>
                      </a:cubicBezTo>
                      <a:cubicBezTo>
                        <a:pt x="6072" y="29738"/>
                        <a:pt x="7714" y="34266"/>
                        <a:pt x="10920" y="37586"/>
                      </a:cubicBezTo>
                      <a:cubicBezTo>
                        <a:pt x="14125" y="40907"/>
                        <a:pt x="18418" y="42602"/>
                        <a:pt x="23800" y="42672"/>
                      </a:cubicBezTo>
                      <a:cubicBezTo>
                        <a:pt x="26071" y="42650"/>
                        <a:pt x="28314" y="42261"/>
                        <a:pt x="30527" y="41505"/>
                      </a:cubicBezTo>
                      <a:cubicBezTo>
                        <a:pt x="32741" y="40748"/>
                        <a:pt x="34500" y="39759"/>
                        <a:pt x="35805" y="38536"/>
                      </a:cubicBezTo>
                      <a:lnTo>
                        <a:pt x="35805" y="28929"/>
                      </a:lnTo>
                      <a:lnTo>
                        <a:pt x="23199" y="28929"/>
                      </a:lnTo>
                      <a:lnTo>
                        <a:pt x="23199" y="23603"/>
                      </a:lnTo>
                      <a:lnTo>
                        <a:pt x="41130" y="23603"/>
                      </a:lnTo>
                      <a:lnTo>
                        <a:pt x="41130" y="41538"/>
                      </a:lnTo>
                      <a:cubicBezTo>
                        <a:pt x="38960" y="43614"/>
                        <a:pt x="36258" y="45207"/>
                        <a:pt x="33026" y="46316"/>
                      </a:cubicBezTo>
                      <a:cubicBezTo>
                        <a:pt x="29795" y="47426"/>
                        <a:pt x="26675" y="47987"/>
                        <a:pt x="23666" y="47998"/>
                      </a:cubicBezTo>
                      <a:cubicBezTo>
                        <a:pt x="16319" y="47906"/>
                        <a:pt x="10558" y="45724"/>
                        <a:pt x="6381" y="41450"/>
                      </a:cubicBezTo>
                      <a:cubicBezTo>
                        <a:pt x="2204" y="37176"/>
                        <a:pt x="78" y="31361"/>
                        <a:pt x="0" y="24002"/>
                      </a:cubicBezTo>
                      <a:cubicBezTo>
                        <a:pt x="25" y="19485"/>
                        <a:pt x="974" y="15425"/>
                        <a:pt x="2848" y="11821"/>
                      </a:cubicBezTo>
                      <a:cubicBezTo>
                        <a:pt x="4722" y="8217"/>
                        <a:pt x="7370" y="5358"/>
                        <a:pt x="10792" y="3244"/>
                      </a:cubicBezTo>
                      <a:cubicBezTo>
                        <a:pt x="14215" y="1129"/>
                        <a:pt x="18261" y="48"/>
                        <a:pt x="22933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4E377670-CCEB-A133-3876-D8E21B037AF4}"/>
                    </a:ext>
                  </a:extLst>
                </p:cNvPr>
                <p:cNvSpPr txBox="1"/>
                <p:nvPr/>
              </p:nvSpPr>
              <p:spPr>
                <a:xfrm>
                  <a:off x="4479416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70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70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7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5EE79A0E-81EB-0B58-CCB3-37BD2758EBD0}"/>
                    </a:ext>
                  </a:extLst>
                </p:cNvPr>
                <p:cNvSpPr txBox="1"/>
                <p:nvPr/>
              </p:nvSpPr>
              <p:spPr>
                <a:xfrm>
                  <a:off x="4700872" y="3741001"/>
                  <a:ext cx="45006" cy="469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06" h="46931">
                      <a:moveTo>
                        <a:pt x="20069" y="0"/>
                      </a:moveTo>
                      <a:lnTo>
                        <a:pt x="24937" y="0"/>
                      </a:lnTo>
                      <a:lnTo>
                        <a:pt x="45006" y="46931"/>
                      </a:lnTo>
                      <a:lnTo>
                        <a:pt x="38939" y="46931"/>
                      </a:lnTo>
                      <a:lnTo>
                        <a:pt x="32938" y="32796"/>
                      </a:lnTo>
                      <a:lnTo>
                        <a:pt x="11668" y="32796"/>
                      </a:lnTo>
                      <a:lnTo>
                        <a:pt x="5734" y="46931"/>
                      </a:lnTo>
                      <a:lnTo>
                        <a:pt x="0" y="46931"/>
                      </a:lnTo>
                      <a:lnTo>
                        <a:pt x="20069" y="0"/>
                      </a:lnTo>
                      <a:close/>
                      <a:moveTo>
                        <a:pt x="22336" y="7534"/>
                      </a:moveTo>
                      <a:lnTo>
                        <a:pt x="13935" y="27470"/>
                      </a:lnTo>
                      <a:lnTo>
                        <a:pt x="30738" y="27470"/>
                      </a:lnTo>
                      <a:lnTo>
                        <a:pt x="22336" y="75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504F0679-8513-24FC-EF92-DF4D40001B31}"/>
                    </a:ext>
                  </a:extLst>
                </p:cNvPr>
                <p:cNvSpPr txBox="1"/>
                <p:nvPr/>
              </p:nvSpPr>
              <p:spPr>
                <a:xfrm>
                  <a:off x="4330639" y="3738620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60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9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AD1E952E-5E25-7C5D-4C62-D793AF0AFFF6}"/>
                    </a:ext>
                  </a:extLst>
                </p:cNvPr>
                <p:cNvSpPr txBox="1"/>
                <p:nvPr/>
              </p:nvSpPr>
              <p:spPr>
                <a:xfrm>
                  <a:off x="4428271" y="3741001"/>
                  <a:ext cx="34530" cy="4679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530" h="46798">
                      <a:moveTo>
                        <a:pt x="12530" y="0"/>
                      </a:moveTo>
                      <a:cubicBezTo>
                        <a:pt x="18794" y="107"/>
                        <a:pt x="23153" y="1475"/>
                        <a:pt x="25606" y="4106"/>
                      </a:cubicBezTo>
                      <a:cubicBezTo>
                        <a:pt x="28059" y="6736"/>
                        <a:pt x="29233" y="9989"/>
                        <a:pt x="29129" y="13865"/>
                      </a:cubicBezTo>
                      <a:cubicBezTo>
                        <a:pt x="29028" y="17512"/>
                        <a:pt x="27982" y="20455"/>
                        <a:pt x="25990" y="22692"/>
                      </a:cubicBezTo>
                      <a:cubicBezTo>
                        <a:pt x="23999" y="24928"/>
                        <a:pt x="21669" y="26386"/>
                        <a:pt x="19001" y="27064"/>
                      </a:cubicBezTo>
                      <a:lnTo>
                        <a:pt x="34530" y="46798"/>
                      </a:lnTo>
                      <a:lnTo>
                        <a:pt x="27598" y="46798"/>
                      </a:lnTo>
                      <a:lnTo>
                        <a:pt x="13264" y="28129"/>
                      </a:lnTo>
                      <a:lnTo>
                        <a:pt x="5659" y="28129"/>
                      </a:lnTo>
                      <a:lnTo>
                        <a:pt x="5659" y="46798"/>
                      </a:lnTo>
                      <a:lnTo>
                        <a:pt x="0" y="46798"/>
                      </a:lnTo>
                      <a:lnTo>
                        <a:pt x="0" y="134"/>
                      </a:lnTo>
                      <a:cubicBezTo>
                        <a:pt x="948" y="132"/>
                        <a:pt x="2316" y="120"/>
                        <a:pt x="4106" y="99"/>
                      </a:cubicBezTo>
                      <a:cubicBezTo>
                        <a:pt x="5896" y="78"/>
                        <a:pt x="7616" y="56"/>
                        <a:pt x="9266" y="35"/>
                      </a:cubicBezTo>
                      <a:cubicBezTo>
                        <a:pt x="10915" y="14"/>
                        <a:pt x="12003" y="2"/>
                        <a:pt x="12530" y="0"/>
                      </a:cubicBezTo>
                      <a:close/>
                      <a:moveTo>
                        <a:pt x="12197" y="5326"/>
                      </a:moveTo>
                      <a:cubicBezTo>
                        <a:pt x="11420" y="5328"/>
                        <a:pt x="10422" y="5341"/>
                        <a:pt x="9203" y="5368"/>
                      </a:cubicBezTo>
                      <a:cubicBezTo>
                        <a:pt x="7984" y="5394"/>
                        <a:pt x="6803" y="5425"/>
                        <a:pt x="5659" y="5460"/>
                      </a:cubicBezTo>
                      <a:lnTo>
                        <a:pt x="5659" y="22803"/>
                      </a:lnTo>
                      <a:lnTo>
                        <a:pt x="12530" y="22803"/>
                      </a:lnTo>
                      <a:cubicBezTo>
                        <a:pt x="15336" y="22780"/>
                        <a:pt x="17779" y="21993"/>
                        <a:pt x="19859" y="20444"/>
                      </a:cubicBezTo>
                      <a:cubicBezTo>
                        <a:pt x="21940" y="18894"/>
                        <a:pt x="23032" y="16723"/>
                        <a:pt x="23137" y="13931"/>
                      </a:cubicBezTo>
                      <a:cubicBezTo>
                        <a:pt x="23198" y="11472"/>
                        <a:pt x="22408" y="9437"/>
                        <a:pt x="20768" y="7828"/>
                      </a:cubicBezTo>
                      <a:cubicBezTo>
                        <a:pt x="19128" y="6218"/>
                        <a:pt x="16271" y="5384"/>
                        <a:pt x="12197" y="5326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5B8C9EF3-44E9-2994-F9FE-00598113D548}"/>
                    </a:ext>
                  </a:extLst>
                </p:cNvPr>
                <p:cNvSpPr txBox="1"/>
                <p:nvPr/>
              </p:nvSpPr>
              <p:spPr>
                <a:xfrm>
                  <a:off x="4220435" y="3738620"/>
                  <a:ext cx="37396" cy="472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396" h="472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25670"/>
                      </a:lnTo>
                      <a:cubicBezTo>
                        <a:pt x="5682" y="30781"/>
                        <a:pt x="6869" y="34760"/>
                        <a:pt x="9219" y="37604"/>
                      </a:cubicBezTo>
                      <a:cubicBezTo>
                        <a:pt x="11568" y="40449"/>
                        <a:pt x="14939" y="41894"/>
                        <a:pt x="19331" y="41938"/>
                      </a:cubicBezTo>
                      <a:cubicBezTo>
                        <a:pt x="23204" y="41940"/>
                        <a:pt x="26230" y="40620"/>
                        <a:pt x="28410" y="37980"/>
                      </a:cubicBezTo>
                      <a:cubicBezTo>
                        <a:pt x="30591" y="35339"/>
                        <a:pt x="31699" y="31369"/>
                        <a:pt x="31737" y="26070"/>
                      </a:cubicBezTo>
                      <a:lnTo>
                        <a:pt x="31737" y="0"/>
                      </a:lnTo>
                      <a:lnTo>
                        <a:pt x="37396" y="0"/>
                      </a:lnTo>
                      <a:lnTo>
                        <a:pt x="37396" y="27203"/>
                      </a:lnTo>
                      <a:cubicBezTo>
                        <a:pt x="37349" y="31943"/>
                        <a:pt x="36495" y="35790"/>
                        <a:pt x="34832" y="38746"/>
                      </a:cubicBezTo>
                      <a:cubicBezTo>
                        <a:pt x="33169" y="41701"/>
                        <a:pt x="30976" y="43864"/>
                        <a:pt x="28254" y="45234"/>
                      </a:cubicBezTo>
                      <a:cubicBezTo>
                        <a:pt x="25531" y="46604"/>
                        <a:pt x="22557" y="47281"/>
                        <a:pt x="19331" y="47264"/>
                      </a:cubicBezTo>
                      <a:cubicBezTo>
                        <a:pt x="13624" y="47263"/>
                        <a:pt x="9001" y="45550"/>
                        <a:pt x="5464" y="42126"/>
                      </a:cubicBezTo>
                      <a:cubicBezTo>
                        <a:pt x="1926" y="38702"/>
                        <a:pt x="105" y="33572"/>
                        <a:pt x="0" y="267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2C12762B-78D4-C76A-C0BD-68F6328EBBCC}"/>
                    </a:ext>
                  </a:extLst>
                </p:cNvPr>
                <p:cNvSpPr txBox="1"/>
                <p:nvPr/>
              </p:nvSpPr>
              <p:spPr>
                <a:xfrm>
                  <a:off x="4278251" y="3738620"/>
                  <a:ext cx="5659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9" h="46664">
                      <a:moveTo>
                        <a:pt x="0" y="0"/>
                      </a:moveTo>
                      <a:lnTo>
                        <a:pt x="5659" y="0"/>
                      </a:lnTo>
                      <a:lnTo>
                        <a:pt x="5659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F192E1E5-F4DD-3B1F-700E-5192C493AA35}"/>
                    </a:ext>
                  </a:extLst>
                </p:cNvPr>
                <p:cNvSpPr txBox="1"/>
                <p:nvPr/>
              </p:nvSpPr>
              <p:spPr>
                <a:xfrm>
                  <a:off x="4285044" y="3738620"/>
                  <a:ext cx="28403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403" h="46664">
                      <a:moveTo>
                        <a:pt x="20469" y="0"/>
                      </a:moveTo>
                      <a:lnTo>
                        <a:pt x="27337" y="0"/>
                      </a:lnTo>
                      <a:lnTo>
                        <a:pt x="6534" y="21932"/>
                      </a:lnTo>
                      <a:lnTo>
                        <a:pt x="28403" y="46664"/>
                      </a:lnTo>
                      <a:lnTo>
                        <a:pt x="21136" y="46664"/>
                      </a:lnTo>
                      <a:lnTo>
                        <a:pt x="0" y="22332"/>
                      </a:lnTo>
                      <a:lnTo>
                        <a:pt x="20469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80" name="TextBox 79">
                  <a:extLst>
                    <a:ext uri="{FF2B5EF4-FFF2-40B4-BE49-F238E27FC236}">
                      <a16:creationId xmlns:a16="http://schemas.microsoft.com/office/drawing/2014/main" id="{FAD7C989-706A-205A-AF55-34B188D4C12B}"/>
                    </a:ext>
                  </a:extLst>
                </p:cNvPr>
                <p:cNvSpPr txBox="1"/>
                <p:nvPr/>
              </p:nvSpPr>
              <p:spPr>
                <a:xfrm>
                  <a:off x="4374312" y="3741001"/>
                  <a:ext cx="38330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330" h="46664">
                      <a:moveTo>
                        <a:pt x="0" y="0"/>
                      </a:moveTo>
                      <a:lnTo>
                        <a:pt x="38330" y="0"/>
                      </a:lnTo>
                      <a:lnTo>
                        <a:pt x="38330" y="5325"/>
                      </a:lnTo>
                      <a:lnTo>
                        <a:pt x="21995" y="5325"/>
                      </a:lnTo>
                      <a:lnTo>
                        <a:pt x="21995" y="46664"/>
                      </a:lnTo>
                      <a:lnTo>
                        <a:pt x="16336" y="46664"/>
                      </a:lnTo>
                      <a:lnTo>
                        <a:pt x="16336" y="5325"/>
                      </a:lnTo>
                      <a:lnTo>
                        <a:pt x="0" y="532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F4D8833C-4277-B586-FFA6-AF781F3B334A}"/>
                    </a:ext>
                  </a:extLst>
                </p:cNvPr>
                <p:cNvSpPr txBox="1"/>
                <p:nvPr/>
              </p:nvSpPr>
              <p:spPr>
                <a:xfrm>
                  <a:off x="4542571" y="3741001"/>
                  <a:ext cx="38997" cy="46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997" h="46664">
                      <a:moveTo>
                        <a:pt x="0" y="0"/>
                      </a:moveTo>
                      <a:lnTo>
                        <a:pt x="4527" y="0"/>
                      </a:lnTo>
                      <a:lnTo>
                        <a:pt x="33671" y="36798"/>
                      </a:lnTo>
                      <a:lnTo>
                        <a:pt x="33671" y="0"/>
                      </a:lnTo>
                      <a:lnTo>
                        <a:pt x="38997" y="0"/>
                      </a:lnTo>
                      <a:lnTo>
                        <a:pt x="38997" y="46664"/>
                      </a:lnTo>
                      <a:lnTo>
                        <a:pt x="34470" y="46664"/>
                      </a:lnTo>
                      <a:lnTo>
                        <a:pt x="5326" y="9999"/>
                      </a:lnTo>
                      <a:lnTo>
                        <a:pt x="5326" y="46664"/>
                      </a:lnTo>
                      <a:lnTo>
                        <a:pt x="0" y="466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spc="32" dirty="0">
                    <a:latin typeface="Circe" panose="020B0502020203020203" pitchFamily="34" charset="-52"/>
                  </a:endParaRP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84F3B848-F636-AE0F-D3FD-00F77C80AC14}"/>
                    </a:ext>
                  </a:extLst>
                </p:cNvPr>
                <p:cNvSpPr txBox="1"/>
                <p:nvPr/>
              </p:nvSpPr>
              <p:spPr>
                <a:xfrm>
                  <a:off x="4758121" y="3741001"/>
                  <a:ext cx="37733" cy="477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733" h="47727">
                      <a:moveTo>
                        <a:pt x="2767" y="0"/>
                      </a:moveTo>
                      <a:lnTo>
                        <a:pt x="36951" y="0"/>
                      </a:lnTo>
                      <a:lnTo>
                        <a:pt x="36951" y="5632"/>
                      </a:lnTo>
                      <a:lnTo>
                        <a:pt x="10158" y="38742"/>
                      </a:lnTo>
                      <a:lnTo>
                        <a:pt x="7260" y="42095"/>
                      </a:lnTo>
                      <a:lnTo>
                        <a:pt x="37733" y="42095"/>
                      </a:lnTo>
                      <a:lnTo>
                        <a:pt x="37733" y="47727"/>
                      </a:lnTo>
                      <a:lnTo>
                        <a:pt x="0" y="47727"/>
                      </a:lnTo>
                      <a:lnTo>
                        <a:pt x="0" y="41867"/>
                      </a:lnTo>
                      <a:lnTo>
                        <a:pt x="24450" y="11297"/>
                      </a:lnTo>
                      <a:cubicBezTo>
                        <a:pt x="26186" y="9126"/>
                        <a:pt x="27836" y="7238"/>
                        <a:pt x="29398" y="5632"/>
                      </a:cubicBezTo>
                      <a:lnTo>
                        <a:pt x="2767" y="5632"/>
                      </a:lnTo>
                      <a:lnTo>
                        <a:pt x="2767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227" dirty="0"/>
                </a:p>
              </p:txBody>
            </p:sp>
          </p:grpSp>
        </p:grpSp>
      </p:grpSp>
      <p:pic>
        <p:nvPicPr>
          <p:cNvPr id="86" name="Picture 4">
            <a:extLst>
              <a:ext uri="{FF2B5EF4-FFF2-40B4-BE49-F238E27FC236}">
                <a16:creationId xmlns:a16="http://schemas.microsoft.com/office/drawing/2014/main" id="{65AA5A2A-C603-9D45-A964-53920628F215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2011" y="6022739"/>
            <a:ext cx="1392582" cy="41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7" name="Групувати 86">
            <a:extLst>
              <a:ext uri="{FF2B5EF4-FFF2-40B4-BE49-F238E27FC236}">
                <a16:creationId xmlns:a16="http://schemas.microsoft.com/office/drawing/2014/main" id="{5A035A5F-5E49-18D9-F380-82D743DCC749}"/>
              </a:ext>
            </a:extLst>
          </p:cNvPr>
          <p:cNvGrpSpPr/>
          <p:nvPr/>
        </p:nvGrpSpPr>
        <p:grpSpPr>
          <a:xfrm>
            <a:off x="6435828" y="3932435"/>
            <a:ext cx="5468238" cy="527746"/>
            <a:chOff x="6359175" y="4307851"/>
            <a:chExt cx="5468238" cy="527746"/>
          </a:xfrm>
        </p:grpSpPr>
        <p:grpSp>
          <p:nvGrpSpPr>
            <p:cNvPr id="88" name="Групувати 87">
              <a:extLst>
                <a:ext uri="{FF2B5EF4-FFF2-40B4-BE49-F238E27FC236}">
                  <a16:creationId xmlns:a16="http://schemas.microsoft.com/office/drawing/2014/main" id="{8D055AE1-5E37-832C-2B47-DEC53FE62E71}"/>
                </a:ext>
              </a:extLst>
            </p:cNvPr>
            <p:cNvGrpSpPr/>
            <p:nvPr/>
          </p:nvGrpSpPr>
          <p:grpSpPr>
            <a:xfrm>
              <a:off x="6359175" y="4384305"/>
              <a:ext cx="1884472" cy="374838"/>
              <a:chOff x="2413418" y="7087467"/>
              <a:chExt cx="3338318" cy="664025"/>
            </a:xfrm>
          </p:grpSpPr>
          <p:grpSp>
            <p:nvGrpSpPr>
              <p:cNvPr id="145" name="Групувати 144">
                <a:extLst>
                  <a:ext uri="{FF2B5EF4-FFF2-40B4-BE49-F238E27FC236}">
                    <a16:creationId xmlns:a16="http://schemas.microsoft.com/office/drawing/2014/main" id="{4F7109A2-E231-302A-7DC3-EF9A9EA681DE}"/>
                  </a:ext>
                </a:extLst>
              </p:cNvPr>
              <p:cNvGrpSpPr/>
              <p:nvPr/>
            </p:nvGrpSpPr>
            <p:grpSpPr>
              <a:xfrm>
                <a:off x="3196509" y="7567346"/>
                <a:ext cx="770815" cy="164563"/>
                <a:chOff x="5081939" y="6627653"/>
                <a:chExt cx="770815" cy="164563"/>
              </a:xfrm>
              <a:solidFill>
                <a:srgbClr val="000000"/>
              </a:solidFill>
            </p:grpSpPr>
            <p:sp>
              <p:nvSpPr>
                <p:cNvPr id="159" name="Полілінія: фігура 158">
                  <a:extLst>
                    <a:ext uri="{FF2B5EF4-FFF2-40B4-BE49-F238E27FC236}">
                      <a16:creationId xmlns:a16="http://schemas.microsoft.com/office/drawing/2014/main" id="{35DD817C-7900-4554-DB90-9DE574AE89A1}"/>
                    </a:ext>
                  </a:extLst>
                </p:cNvPr>
                <p:cNvSpPr/>
                <p:nvPr/>
              </p:nvSpPr>
              <p:spPr>
                <a:xfrm>
                  <a:off x="5081939" y="6627653"/>
                  <a:ext cx="141017" cy="1645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1017" h="164563">
                      <a:moveTo>
                        <a:pt x="78625" y="0"/>
                      </a:moveTo>
                      <a:cubicBezTo>
                        <a:pt x="89411" y="4"/>
                        <a:pt x="98881" y="1307"/>
                        <a:pt x="107035" y="3908"/>
                      </a:cubicBezTo>
                      <a:cubicBezTo>
                        <a:pt x="115190" y="6509"/>
                        <a:pt x="122485" y="10380"/>
                        <a:pt x="128920" y="15520"/>
                      </a:cubicBezTo>
                      <a:lnTo>
                        <a:pt x="120471" y="31066"/>
                      </a:lnTo>
                      <a:cubicBezTo>
                        <a:pt x="115678" y="26831"/>
                        <a:pt x="109828" y="23638"/>
                        <a:pt x="102921" y="21489"/>
                      </a:cubicBezTo>
                      <a:cubicBezTo>
                        <a:pt x="96013" y="19341"/>
                        <a:pt x="88677" y="18264"/>
                        <a:pt x="80912" y="18259"/>
                      </a:cubicBezTo>
                      <a:cubicBezTo>
                        <a:pt x="62790" y="18512"/>
                        <a:pt x="48270" y="24353"/>
                        <a:pt x="37352" y="35783"/>
                      </a:cubicBezTo>
                      <a:cubicBezTo>
                        <a:pt x="26433" y="47213"/>
                        <a:pt x="20831" y="62717"/>
                        <a:pt x="20545" y="82293"/>
                      </a:cubicBezTo>
                      <a:cubicBezTo>
                        <a:pt x="20817" y="101957"/>
                        <a:pt x="26447" y="117481"/>
                        <a:pt x="37437" y="128867"/>
                      </a:cubicBezTo>
                      <a:cubicBezTo>
                        <a:pt x="48428" y="140252"/>
                        <a:pt x="63148" y="146065"/>
                        <a:pt x="81598" y="146304"/>
                      </a:cubicBezTo>
                      <a:cubicBezTo>
                        <a:pt x="89387" y="146227"/>
                        <a:pt x="97076" y="144893"/>
                        <a:pt x="104664" y="142301"/>
                      </a:cubicBezTo>
                      <a:cubicBezTo>
                        <a:pt x="112253" y="139708"/>
                        <a:pt x="118284" y="136315"/>
                        <a:pt x="122758" y="132122"/>
                      </a:cubicBezTo>
                      <a:lnTo>
                        <a:pt x="122758" y="99183"/>
                      </a:lnTo>
                      <a:lnTo>
                        <a:pt x="79540" y="99183"/>
                      </a:lnTo>
                      <a:lnTo>
                        <a:pt x="79540" y="80924"/>
                      </a:lnTo>
                      <a:lnTo>
                        <a:pt x="141017" y="80924"/>
                      </a:lnTo>
                      <a:lnTo>
                        <a:pt x="141017" y="142415"/>
                      </a:lnTo>
                      <a:cubicBezTo>
                        <a:pt x="133575" y="149533"/>
                        <a:pt x="124313" y="154994"/>
                        <a:pt x="113232" y="158799"/>
                      </a:cubicBezTo>
                      <a:cubicBezTo>
                        <a:pt x="102152" y="162604"/>
                        <a:pt x="91454" y="164525"/>
                        <a:pt x="81141" y="164563"/>
                      </a:cubicBezTo>
                      <a:cubicBezTo>
                        <a:pt x="55951" y="164249"/>
                        <a:pt x="36196" y="156766"/>
                        <a:pt x="21877" y="142114"/>
                      </a:cubicBezTo>
                      <a:cubicBezTo>
                        <a:pt x="7557" y="127461"/>
                        <a:pt x="265" y="107521"/>
                        <a:pt x="0" y="82293"/>
                      </a:cubicBezTo>
                      <a:cubicBezTo>
                        <a:pt x="85" y="66806"/>
                        <a:pt x="3340" y="52885"/>
                        <a:pt x="9764" y="40528"/>
                      </a:cubicBezTo>
                      <a:cubicBezTo>
                        <a:pt x="16188" y="28172"/>
                        <a:pt x="25267" y="18369"/>
                        <a:pt x="37001" y="11120"/>
                      </a:cubicBezTo>
                      <a:cubicBezTo>
                        <a:pt x="48735" y="3871"/>
                        <a:pt x="62609" y="164"/>
                        <a:pt x="7862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60" name="Полілінія: фігура 159">
                  <a:extLst>
                    <a:ext uri="{FF2B5EF4-FFF2-40B4-BE49-F238E27FC236}">
                      <a16:creationId xmlns:a16="http://schemas.microsoft.com/office/drawing/2014/main" id="{2ED861D5-2C15-BD9E-0CF6-7C393B9F40CA}"/>
                    </a:ext>
                  </a:extLst>
                </p:cNvPr>
                <p:cNvSpPr/>
                <p:nvPr/>
              </p:nvSpPr>
              <p:spPr>
                <a:xfrm>
                  <a:off x="5377214" y="6627653"/>
                  <a:ext cx="163191" cy="1645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3191" h="164563">
                      <a:moveTo>
                        <a:pt x="81595" y="0"/>
                      </a:moveTo>
                      <a:cubicBezTo>
                        <a:pt x="97215" y="113"/>
                        <a:pt x="111143" y="3617"/>
                        <a:pt x="123379" y="10509"/>
                      </a:cubicBezTo>
                      <a:cubicBezTo>
                        <a:pt x="135615" y="17401"/>
                        <a:pt x="145273" y="26999"/>
                        <a:pt x="152351" y="39303"/>
                      </a:cubicBezTo>
                      <a:cubicBezTo>
                        <a:pt x="159430" y="51607"/>
                        <a:pt x="163044" y="65933"/>
                        <a:pt x="163191" y="82281"/>
                      </a:cubicBezTo>
                      <a:cubicBezTo>
                        <a:pt x="163043" y="98269"/>
                        <a:pt x="159430" y="112426"/>
                        <a:pt x="152351" y="124751"/>
                      </a:cubicBezTo>
                      <a:cubicBezTo>
                        <a:pt x="145273" y="137076"/>
                        <a:pt x="135615" y="146759"/>
                        <a:pt x="123379" y="153799"/>
                      </a:cubicBezTo>
                      <a:cubicBezTo>
                        <a:pt x="111143" y="160840"/>
                        <a:pt x="97215" y="164428"/>
                        <a:pt x="81595" y="164563"/>
                      </a:cubicBezTo>
                      <a:cubicBezTo>
                        <a:pt x="65975" y="164449"/>
                        <a:pt x="52047" y="160946"/>
                        <a:pt x="39811" y="154053"/>
                      </a:cubicBezTo>
                      <a:cubicBezTo>
                        <a:pt x="27575" y="147161"/>
                        <a:pt x="17918" y="137563"/>
                        <a:pt x="10839" y="125259"/>
                      </a:cubicBezTo>
                      <a:cubicBezTo>
                        <a:pt x="3761" y="112955"/>
                        <a:pt x="147" y="98629"/>
                        <a:pt x="0" y="82281"/>
                      </a:cubicBezTo>
                      <a:cubicBezTo>
                        <a:pt x="126" y="66652"/>
                        <a:pt x="3655" y="52665"/>
                        <a:pt x="10585" y="40319"/>
                      </a:cubicBezTo>
                      <a:cubicBezTo>
                        <a:pt x="17516" y="27973"/>
                        <a:pt x="27088" y="18206"/>
                        <a:pt x="39303" y="11017"/>
                      </a:cubicBezTo>
                      <a:cubicBezTo>
                        <a:pt x="51518" y="3828"/>
                        <a:pt x="65615" y="156"/>
                        <a:pt x="81595" y="0"/>
                      </a:cubicBezTo>
                      <a:close/>
                      <a:moveTo>
                        <a:pt x="81595" y="18259"/>
                      </a:moveTo>
                      <a:cubicBezTo>
                        <a:pt x="63846" y="18597"/>
                        <a:pt x="49327" y="24609"/>
                        <a:pt x="38037" y="36294"/>
                      </a:cubicBezTo>
                      <a:cubicBezTo>
                        <a:pt x="26747" y="47978"/>
                        <a:pt x="20916" y="63308"/>
                        <a:pt x="20545" y="82281"/>
                      </a:cubicBezTo>
                      <a:cubicBezTo>
                        <a:pt x="20664" y="94517"/>
                        <a:pt x="23399" y="105435"/>
                        <a:pt x="28751" y="115037"/>
                      </a:cubicBezTo>
                      <a:cubicBezTo>
                        <a:pt x="34103" y="124639"/>
                        <a:pt x="41361" y="132222"/>
                        <a:pt x="50524" y="137784"/>
                      </a:cubicBezTo>
                      <a:cubicBezTo>
                        <a:pt x="59687" y="143347"/>
                        <a:pt x="70044" y="146186"/>
                        <a:pt x="81595" y="146304"/>
                      </a:cubicBezTo>
                      <a:cubicBezTo>
                        <a:pt x="93866" y="146182"/>
                        <a:pt x="104562" y="143325"/>
                        <a:pt x="113683" y="137733"/>
                      </a:cubicBezTo>
                      <a:cubicBezTo>
                        <a:pt x="122804" y="132141"/>
                        <a:pt x="129892" y="124542"/>
                        <a:pt x="134948" y="114936"/>
                      </a:cubicBezTo>
                      <a:cubicBezTo>
                        <a:pt x="140004" y="105330"/>
                        <a:pt x="142570" y="94445"/>
                        <a:pt x="142646" y="82281"/>
                      </a:cubicBezTo>
                      <a:cubicBezTo>
                        <a:pt x="142527" y="69757"/>
                        <a:pt x="139792" y="58703"/>
                        <a:pt x="134440" y="49118"/>
                      </a:cubicBezTo>
                      <a:cubicBezTo>
                        <a:pt x="129087" y="39533"/>
                        <a:pt x="121830" y="32019"/>
                        <a:pt x="112667" y="26575"/>
                      </a:cubicBezTo>
                      <a:cubicBezTo>
                        <a:pt x="103503" y="21131"/>
                        <a:pt x="93146" y="18359"/>
                        <a:pt x="81595" y="1825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61" name="Полілінія: фігура 160">
                  <a:extLst>
                    <a:ext uri="{FF2B5EF4-FFF2-40B4-BE49-F238E27FC236}">
                      <a16:creationId xmlns:a16="http://schemas.microsoft.com/office/drawing/2014/main" id="{DBB59E65-0B59-4387-4010-A5A8F4B2EDAD}"/>
                    </a:ext>
                  </a:extLst>
                </p:cNvPr>
                <p:cNvSpPr/>
                <p:nvPr/>
              </p:nvSpPr>
              <p:spPr>
                <a:xfrm>
                  <a:off x="5256437" y="6629481"/>
                  <a:ext cx="118386" cy="1604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386" h="160449">
                      <a:moveTo>
                        <a:pt x="42959" y="0"/>
                      </a:moveTo>
                      <a:cubicBezTo>
                        <a:pt x="64436" y="366"/>
                        <a:pt x="79380" y="5058"/>
                        <a:pt x="87790" y="14076"/>
                      </a:cubicBezTo>
                      <a:cubicBezTo>
                        <a:pt x="96201" y="23094"/>
                        <a:pt x="100227" y="34247"/>
                        <a:pt x="99869" y="47535"/>
                      </a:cubicBezTo>
                      <a:cubicBezTo>
                        <a:pt x="99522" y="60041"/>
                        <a:pt x="95935" y="70129"/>
                        <a:pt x="89108" y="77798"/>
                      </a:cubicBezTo>
                      <a:cubicBezTo>
                        <a:pt x="82281" y="85468"/>
                        <a:pt x="74292" y="90464"/>
                        <a:pt x="65144" y="92789"/>
                      </a:cubicBezTo>
                      <a:lnTo>
                        <a:pt x="118386" y="160449"/>
                      </a:lnTo>
                      <a:lnTo>
                        <a:pt x="94619" y="160449"/>
                      </a:lnTo>
                      <a:lnTo>
                        <a:pt x="45475" y="96441"/>
                      </a:lnTo>
                      <a:lnTo>
                        <a:pt x="19402" y="96441"/>
                      </a:lnTo>
                      <a:lnTo>
                        <a:pt x="19402" y="160449"/>
                      </a:lnTo>
                      <a:lnTo>
                        <a:pt x="0" y="160449"/>
                      </a:lnTo>
                      <a:lnTo>
                        <a:pt x="0" y="457"/>
                      </a:lnTo>
                      <a:cubicBezTo>
                        <a:pt x="3248" y="451"/>
                        <a:pt x="7940" y="412"/>
                        <a:pt x="14077" y="338"/>
                      </a:cubicBezTo>
                      <a:cubicBezTo>
                        <a:pt x="20214" y="265"/>
                        <a:pt x="26111" y="192"/>
                        <a:pt x="31767" y="119"/>
                      </a:cubicBezTo>
                      <a:cubicBezTo>
                        <a:pt x="37423" y="45"/>
                        <a:pt x="41153" y="6"/>
                        <a:pt x="42959" y="0"/>
                      </a:cubicBezTo>
                      <a:close/>
                      <a:moveTo>
                        <a:pt x="41815" y="18260"/>
                      </a:moveTo>
                      <a:cubicBezTo>
                        <a:pt x="39152" y="18265"/>
                        <a:pt x="35731" y="18312"/>
                        <a:pt x="31552" y="18403"/>
                      </a:cubicBezTo>
                      <a:cubicBezTo>
                        <a:pt x="27373" y="18493"/>
                        <a:pt x="23323" y="18598"/>
                        <a:pt x="19402" y="18717"/>
                      </a:cubicBezTo>
                      <a:lnTo>
                        <a:pt x="19402" y="78182"/>
                      </a:lnTo>
                      <a:lnTo>
                        <a:pt x="42959" y="78182"/>
                      </a:lnTo>
                      <a:cubicBezTo>
                        <a:pt x="52579" y="78101"/>
                        <a:pt x="60955" y="75404"/>
                        <a:pt x="68088" y="70091"/>
                      </a:cubicBezTo>
                      <a:cubicBezTo>
                        <a:pt x="75221" y="64778"/>
                        <a:pt x="78966" y="57336"/>
                        <a:pt x="79324" y="47763"/>
                      </a:cubicBezTo>
                      <a:cubicBezTo>
                        <a:pt x="79533" y="39330"/>
                        <a:pt x="76827" y="32354"/>
                        <a:pt x="71204" y="26836"/>
                      </a:cubicBezTo>
                      <a:cubicBezTo>
                        <a:pt x="65582" y="21319"/>
                        <a:pt x="55786" y="18460"/>
                        <a:pt x="41815" y="182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62" name="Полілінія: фігура 161">
                  <a:extLst>
                    <a:ext uri="{FF2B5EF4-FFF2-40B4-BE49-F238E27FC236}">
                      <a16:creationId xmlns:a16="http://schemas.microsoft.com/office/drawing/2014/main" id="{6375820F-B696-10BE-CA7D-310C4901D0A0}"/>
                    </a:ext>
                  </a:extLst>
                </p:cNvPr>
                <p:cNvSpPr/>
                <p:nvPr/>
              </p:nvSpPr>
              <p:spPr>
                <a:xfrm>
                  <a:off x="5751736" y="6629481"/>
                  <a:ext cx="101018" cy="1604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018" h="160449">
                      <a:moveTo>
                        <a:pt x="41816" y="0"/>
                      </a:moveTo>
                      <a:cubicBezTo>
                        <a:pt x="56943" y="151"/>
                        <a:pt x="68833" y="2593"/>
                        <a:pt x="77487" y="7327"/>
                      </a:cubicBezTo>
                      <a:cubicBezTo>
                        <a:pt x="86141" y="12061"/>
                        <a:pt x="92255" y="18185"/>
                        <a:pt x="95828" y="25699"/>
                      </a:cubicBezTo>
                      <a:cubicBezTo>
                        <a:pt x="99401" y="33213"/>
                        <a:pt x="101129" y="41215"/>
                        <a:pt x="101013" y="49705"/>
                      </a:cubicBezTo>
                      <a:cubicBezTo>
                        <a:pt x="101026" y="58565"/>
                        <a:pt x="98945" y="66796"/>
                        <a:pt x="94771" y="74400"/>
                      </a:cubicBezTo>
                      <a:cubicBezTo>
                        <a:pt x="90596" y="82003"/>
                        <a:pt x="84249" y="88152"/>
                        <a:pt x="75730" y="92848"/>
                      </a:cubicBezTo>
                      <a:cubicBezTo>
                        <a:pt x="67210" y="97544"/>
                        <a:pt x="56439" y="99961"/>
                        <a:pt x="43417" y="100099"/>
                      </a:cubicBezTo>
                      <a:cubicBezTo>
                        <a:pt x="40115" y="100103"/>
                        <a:pt x="36313" y="100037"/>
                        <a:pt x="32010" y="99899"/>
                      </a:cubicBezTo>
                      <a:cubicBezTo>
                        <a:pt x="27708" y="99761"/>
                        <a:pt x="23505" y="99523"/>
                        <a:pt x="19403" y="99186"/>
                      </a:cubicBezTo>
                      <a:lnTo>
                        <a:pt x="19403" y="160449"/>
                      </a:lnTo>
                      <a:lnTo>
                        <a:pt x="0" y="160449"/>
                      </a:lnTo>
                      <a:lnTo>
                        <a:pt x="0" y="457"/>
                      </a:lnTo>
                      <a:cubicBezTo>
                        <a:pt x="3133" y="451"/>
                        <a:pt x="7320" y="412"/>
                        <a:pt x="12562" y="338"/>
                      </a:cubicBezTo>
                      <a:cubicBezTo>
                        <a:pt x="17804" y="265"/>
                        <a:pt x="23110" y="192"/>
                        <a:pt x="28481" y="119"/>
                      </a:cubicBezTo>
                      <a:cubicBezTo>
                        <a:pt x="33852" y="45"/>
                        <a:pt x="38297" y="6"/>
                        <a:pt x="41816" y="0"/>
                      </a:cubicBezTo>
                      <a:close/>
                      <a:moveTo>
                        <a:pt x="43646" y="18260"/>
                      </a:moveTo>
                      <a:cubicBezTo>
                        <a:pt x="40306" y="18265"/>
                        <a:pt x="36408" y="18312"/>
                        <a:pt x="31953" y="18403"/>
                      </a:cubicBezTo>
                      <a:cubicBezTo>
                        <a:pt x="27498" y="18494"/>
                        <a:pt x="23315" y="18599"/>
                        <a:pt x="19403" y="18719"/>
                      </a:cubicBezTo>
                      <a:lnTo>
                        <a:pt x="19403" y="80691"/>
                      </a:lnTo>
                      <a:cubicBezTo>
                        <a:pt x="23277" y="81041"/>
                        <a:pt x="27136" y="81318"/>
                        <a:pt x="30981" y="81524"/>
                      </a:cubicBezTo>
                      <a:cubicBezTo>
                        <a:pt x="34826" y="81729"/>
                        <a:pt x="38743" y="81834"/>
                        <a:pt x="42731" y="81839"/>
                      </a:cubicBezTo>
                      <a:cubicBezTo>
                        <a:pt x="54610" y="81753"/>
                        <a:pt x="63844" y="78884"/>
                        <a:pt x="70433" y="73232"/>
                      </a:cubicBezTo>
                      <a:cubicBezTo>
                        <a:pt x="77023" y="67580"/>
                        <a:pt x="80368" y="59661"/>
                        <a:pt x="80468" y="49476"/>
                      </a:cubicBezTo>
                      <a:cubicBezTo>
                        <a:pt x="80520" y="39840"/>
                        <a:pt x="77557" y="32256"/>
                        <a:pt x="71577" y="26724"/>
                      </a:cubicBezTo>
                      <a:cubicBezTo>
                        <a:pt x="65597" y="21191"/>
                        <a:pt x="56287" y="18370"/>
                        <a:pt x="43646" y="182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63" name="Полілінія: фігура 162">
                  <a:extLst>
                    <a:ext uri="{FF2B5EF4-FFF2-40B4-BE49-F238E27FC236}">
                      <a16:creationId xmlns:a16="http://schemas.microsoft.com/office/drawing/2014/main" id="{5D4CBF87-C40B-3B6E-E9B5-6B5A7081758A}"/>
                    </a:ext>
                  </a:extLst>
                </p:cNvPr>
                <p:cNvSpPr/>
                <p:nvPr/>
              </p:nvSpPr>
              <p:spPr>
                <a:xfrm>
                  <a:off x="5578001" y="6629939"/>
                  <a:ext cx="128216" cy="16204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8216" h="162049">
                      <a:moveTo>
                        <a:pt x="0" y="0"/>
                      </a:moveTo>
                      <a:lnTo>
                        <a:pt x="19402" y="0"/>
                      </a:lnTo>
                      <a:lnTo>
                        <a:pt x="19402" y="88011"/>
                      </a:lnTo>
                      <a:cubicBezTo>
                        <a:pt x="19483" y="105537"/>
                        <a:pt x="23551" y="119176"/>
                        <a:pt x="31607" y="128930"/>
                      </a:cubicBezTo>
                      <a:cubicBezTo>
                        <a:pt x="39663" y="138684"/>
                        <a:pt x="51221" y="143637"/>
                        <a:pt x="66280" y="143789"/>
                      </a:cubicBezTo>
                      <a:cubicBezTo>
                        <a:pt x="79557" y="143794"/>
                        <a:pt x="89933" y="139269"/>
                        <a:pt x="97408" y="130216"/>
                      </a:cubicBezTo>
                      <a:cubicBezTo>
                        <a:pt x="104883" y="121162"/>
                        <a:pt x="108684" y="107551"/>
                        <a:pt x="108813" y="89382"/>
                      </a:cubicBezTo>
                      <a:lnTo>
                        <a:pt x="108813" y="0"/>
                      </a:lnTo>
                      <a:lnTo>
                        <a:pt x="128216" y="0"/>
                      </a:lnTo>
                      <a:lnTo>
                        <a:pt x="128216" y="93268"/>
                      </a:lnTo>
                      <a:cubicBezTo>
                        <a:pt x="128056" y="109518"/>
                        <a:pt x="125126" y="122710"/>
                        <a:pt x="119425" y="132843"/>
                      </a:cubicBezTo>
                      <a:cubicBezTo>
                        <a:pt x="113724" y="142975"/>
                        <a:pt x="106205" y="150390"/>
                        <a:pt x="96871" y="155088"/>
                      </a:cubicBezTo>
                      <a:cubicBezTo>
                        <a:pt x="87536" y="159785"/>
                        <a:pt x="77339" y="162105"/>
                        <a:pt x="66280" y="162048"/>
                      </a:cubicBezTo>
                      <a:cubicBezTo>
                        <a:pt x="46711" y="162045"/>
                        <a:pt x="30862" y="156173"/>
                        <a:pt x="18733" y="144432"/>
                      </a:cubicBezTo>
                      <a:cubicBezTo>
                        <a:pt x="6605" y="132691"/>
                        <a:pt x="360" y="115103"/>
                        <a:pt x="0" y="9166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grpSp>
            <p:nvGrpSpPr>
              <p:cNvPr id="146" name="Групувати 145">
                <a:extLst>
                  <a:ext uri="{FF2B5EF4-FFF2-40B4-BE49-F238E27FC236}">
                    <a16:creationId xmlns:a16="http://schemas.microsoft.com/office/drawing/2014/main" id="{EDD12E39-530F-D63B-8A51-98622526058F}"/>
                  </a:ext>
                </a:extLst>
              </p:cNvPr>
              <p:cNvGrpSpPr/>
              <p:nvPr/>
            </p:nvGrpSpPr>
            <p:grpSpPr>
              <a:xfrm>
                <a:off x="3199459" y="7146428"/>
                <a:ext cx="2552277" cy="309217"/>
                <a:chOff x="3199459" y="7146428"/>
                <a:chExt cx="2552277" cy="309217"/>
              </a:xfrm>
            </p:grpSpPr>
            <p:sp>
              <p:nvSpPr>
                <p:cNvPr id="151" name="TextBox 150">
                  <a:extLst>
                    <a:ext uri="{FF2B5EF4-FFF2-40B4-BE49-F238E27FC236}">
                      <a16:creationId xmlns:a16="http://schemas.microsoft.com/office/drawing/2014/main" id="{35CB1C5E-102E-7911-335F-F52E784F13B1}"/>
                    </a:ext>
                  </a:extLst>
                </p:cNvPr>
                <p:cNvSpPr txBox="1"/>
                <p:nvPr/>
              </p:nvSpPr>
              <p:spPr>
                <a:xfrm>
                  <a:off x="4451879" y="7146428"/>
                  <a:ext cx="317345" cy="3092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7196" h="96262">
                      <a:moveTo>
                        <a:pt x="48531" y="0"/>
                      </a:moveTo>
                      <a:cubicBezTo>
                        <a:pt x="57866" y="55"/>
                        <a:pt x="66182" y="2061"/>
                        <a:pt x="73479" y="6016"/>
                      </a:cubicBezTo>
                      <a:cubicBezTo>
                        <a:pt x="80775" y="9972"/>
                        <a:pt x="86530" y="15542"/>
                        <a:pt x="90744" y="22729"/>
                      </a:cubicBezTo>
                      <a:cubicBezTo>
                        <a:pt x="94958" y="29915"/>
                        <a:pt x="97109" y="38382"/>
                        <a:pt x="97196" y="48130"/>
                      </a:cubicBezTo>
                      <a:cubicBezTo>
                        <a:pt x="97109" y="57543"/>
                        <a:pt x="94958" y="65852"/>
                        <a:pt x="90744" y="73058"/>
                      </a:cubicBezTo>
                      <a:cubicBezTo>
                        <a:pt x="86530" y="80264"/>
                        <a:pt x="80775" y="85914"/>
                        <a:pt x="73479" y="90008"/>
                      </a:cubicBezTo>
                      <a:cubicBezTo>
                        <a:pt x="66182" y="94102"/>
                        <a:pt x="57866" y="96186"/>
                        <a:pt x="48531" y="96262"/>
                      </a:cubicBezTo>
                      <a:cubicBezTo>
                        <a:pt x="39198" y="96206"/>
                        <a:pt x="30894" y="94200"/>
                        <a:pt x="23618" y="90245"/>
                      </a:cubicBezTo>
                      <a:cubicBezTo>
                        <a:pt x="16343" y="86290"/>
                        <a:pt x="10610" y="80719"/>
                        <a:pt x="6417" y="73532"/>
                      </a:cubicBezTo>
                      <a:cubicBezTo>
                        <a:pt x="2225" y="66346"/>
                        <a:pt x="86" y="57879"/>
                        <a:pt x="0" y="48130"/>
                      </a:cubicBezTo>
                      <a:cubicBezTo>
                        <a:pt x="68" y="39012"/>
                        <a:pt x="2138" y="30841"/>
                        <a:pt x="6210" y="23618"/>
                      </a:cubicBezTo>
                      <a:cubicBezTo>
                        <a:pt x="10281" y="16395"/>
                        <a:pt x="15946" y="10676"/>
                        <a:pt x="23203" y="6461"/>
                      </a:cubicBezTo>
                      <a:cubicBezTo>
                        <a:pt x="30461" y="2246"/>
                        <a:pt x="38904" y="92"/>
                        <a:pt x="48531" y="0"/>
                      </a:cubicBezTo>
                      <a:close/>
                      <a:moveTo>
                        <a:pt x="48531" y="15318"/>
                      </a:moveTo>
                      <a:cubicBezTo>
                        <a:pt x="39411" y="15477"/>
                        <a:pt x="31975" y="18528"/>
                        <a:pt x="26223" y="24472"/>
                      </a:cubicBezTo>
                      <a:cubicBezTo>
                        <a:pt x="20470" y="30415"/>
                        <a:pt x="17503" y="38302"/>
                        <a:pt x="17319" y="48130"/>
                      </a:cubicBezTo>
                      <a:cubicBezTo>
                        <a:pt x="17528" y="57667"/>
                        <a:pt x="20545" y="65470"/>
                        <a:pt x="26373" y="71539"/>
                      </a:cubicBezTo>
                      <a:cubicBezTo>
                        <a:pt x="32200" y="77608"/>
                        <a:pt x="39586" y="80743"/>
                        <a:pt x="48531" y="80943"/>
                      </a:cubicBezTo>
                      <a:cubicBezTo>
                        <a:pt x="58415" y="80726"/>
                        <a:pt x="66091" y="77558"/>
                        <a:pt x="71557" y="71439"/>
                      </a:cubicBezTo>
                      <a:cubicBezTo>
                        <a:pt x="77023" y="65320"/>
                        <a:pt x="79796" y="57551"/>
                        <a:pt x="79877" y="48130"/>
                      </a:cubicBezTo>
                      <a:cubicBezTo>
                        <a:pt x="79671" y="38302"/>
                        <a:pt x="76648" y="30415"/>
                        <a:pt x="70807" y="24472"/>
                      </a:cubicBezTo>
                      <a:cubicBezTo>
                        <a:pt x="64965" y="18528"/>
                        <a:pt x="57540" y="15477"/>
                        <a:pt x="48531" y="15318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152" name="TextBox 151">
                  <a:extLst>
                    <a:ext uri="{FF2B5EF4-FFF2-40B4-BE49-F238E27FC236}">
                      <a16:creationId xmlns:a16="http://schemas.microsoft.com/office/drawing/2014/main" id="{06CFA94A-1F32-349D-B638-CE566D684093}"/>
                    </a:ext>
                  </a:extLst>
                </p:cNvPr>
                <p:cNvSpPr txBox="1"/>
                <p:nvPr/>
              </p:nvSpPr>
              <p:spPr>
                <a:xfrm>
                  <a:off x="4825068" y="7146428"/>
                  <a:ext cx="272934" cy="30921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3594" h="96262">
                      <a:moveTo>
                        <a:pt x="46532" y="0"/>
                      </a:moveTo>
                      <a:cubicBezTo>
                        <a:pt x="53144" y="19"/>
                        <a:pt x="58862" y="846"/>
                        <a:pt x="63688" y="2481"/>
                      </a:cubicBezTo>
                      <a:cubicBezTo>
                        <a:pt x="68514" y="4115"/>
                        <a:pt x="72796" y="6441"/>
                        <a:pt x="76534" y="9457"/>
                      </a:cubicBezTo>
                      <a:lnTo>
                        <a:pt x="69608" y="22523"/>
                      </a:lnTo>
                      <a:cubicBezTo>
                        <a:pt x="67196" y="20297"/>
                        <a:pt x="64117" y="18546"/>
                        <a:pt x="60371" y="17270"/>
                      </a:cubicBezTo>
                      <a:cubicBezTo>
                        <a:pt x="56625" y="15994"/>
                        <a:pt x="52679" y="15343"/>
                        <a:pt x="48533" y="15318"/>
                      </a:cubicBezTo>
                      <a:cubicBezTo>
                        <a:pt x="39354" y="15385"/>
                        <a:pt x="31901" y="18253"/>
                        <a:pt x="26173" y="23923"/>
                      </a:cubicBezTo>
                      <a:cubicBezTo>
                        <a:pt x="20446" y="29593"/>
                        <a:pt x="17494" y="37664"/>
                        <a:pt x="17319" y="48135"/>
                      </a:cubicBezTo>
                      <a:cubicBezTo>
                        <a:pt x="17453" y="58192"/>
                        <a:pt x="20354" y="66143"/>
                        <a:pt x="26023" y="71988"/>
                      </a:cubicBezTo>
                      <a:cubicBezTo>
                        <a:pt x="31692" y="77832"/>
                        <a:pt x="39329" y="80817"/>
                        <a:pt x="48933" y="80943"/>
                      </a:cubicBezTo>
                      <a:cubicBezTo>
                        <a:pt x="52674" y="80885"/>
                        <a:pt x="56364" y="80234"/>
                        <a:pt x="60005" y="78991"/>
                      </a:cubicBezTo>
                      <a:cubicBezTo>
                        <a:pt x="63645" y="77748"/>
                        <a:pt x="66402" y="76264"/>
                        <a:pt x="68276" y="74537"/>
                      </a:cubicBezTo>
                      <a:lnTo>
                        <a:pt x="68276" y="59857"/>
                      </a:lnTo>
                      <a:lnTo>
                        <a:pt x="45732" y="59857"/>
                      </a:lnTo>
                      <a:lnTo>
                        <a:pt x="45732" y="44539"/>
                      </a:lnTo>
                      <a:lnTo>
                        <a:pt x="83594" y="44539"/>
                      </a:lnTo>
                      <a:lnTo>
                        <a:pt x="83594" y="83208"/>
                      </a:lnTo>
                      <a:cubicBezTo>
                        <a:pt x="79251" y="87365"/>
                        <a:pt x="73848" y="90573"/>
                        <a:pt x="67385" y="92832"/>
                      </a:cubicBezTo>
                      <a:cubicBezTo>
                        <a:pt x="60922" y="95091"/>
                        <a:pt x="54683" y="96234"/>
                        <a:pt x="48666" y="96262"/>
                      </a:cubicBezTo>
                      <a:cubicBezTo>
                        <a:pt x="33274" y="96073"/>
                        <a:pt x="21345" y="91686"/>
                        <a:pt x="12878" y="83100"/>
                      </a:cubicBezTo>
                      <a:cubicBezTo>
                        <a:pt x="4412" y="74514"/>
                        <a:pt x="119" y="62859"/>
                        <a:pt x="0" y="48135"/>
                      </a:cubicBezTo>
                      <a:cubicBezTo>
                        <a:pt x="46" y="39100"/>
                        <a:pt x="1953" y="30968"/>
                        <a:pt x="5721" y="23739"/>
                      </a:cubicBezTo>
                      <a:cubicBezTo>
                        <a:pt x="9488" y="16510"/>
                        <a:pt x="14842" y="10771"/>
                        <a:pt x="21781" y="6521"/>
                      </a:cubicBezTo>
                      <a:cubicBezTo>
                        <a:pt x="28721" y="2271"/>
                        <a:pt x="36971" y="97"/>
                        <a:pt x="46532" y="0"/>
                      </a:cubicBezTo>
                      <a:close/>
                    </a:path>
                  </a:pathLst>
                </a:custGeom>
                <a:solidFill>
                  <a:srgbClr val="00A1DF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solidFill>
                      <a:srgbClr val="3399FF"/>
                    </a:solidFill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A25B1EB6-752C-992A-6437-6F9A6938FD38}"/>
                    </a:ext>
                  </a:extLst>
                </p:cNvPr>
                <p:cNvSpPr txBox="1"/>
                <p:nvPr/>
              </p:nvSpPr>
              <p:spPr>
                <a:xfrm>
                  <a:off x="3533439" y="7150286"/>
                  <a:ext cx="304771" cy="300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345" h="93595">
                      <a:moveTo>
                        <a:pt x="39471" y="0"/>
                      </a:moveTo>
                      <a:lnTo>
                        <a:pt x="53873" y="0"/>
                      </a:lnTo>
                      <a:lnTo>
                        <a:pt x="93345" y="93595"/>
                      </a:lnTo>
                      <a:lnTo>
                        <a:pt x="75876" y="93595"/>
                      </a:lnTo>
                      <a:lnTo>
                        <a:pt x="66141" y="69725"/>
                      </a:lnTo>
                      <a:lnTo>
                        <a:pt x="26270" y="69725"/>
                      </a:lnTo>
                      <a:lnTo>
                        <a:pt x="16535" y="93595"/>
                      </a:lnTo>
                      <a:lnTo>
                        <a:pt x="0" y="93595"/>
                      </a:lnTo>
                      <a:lnTo>
                        <a:pt x="39471" y="0"/>
                      </a:lnTo>
                      <a:close/>
                      <a:moveTo>
                        <a:pt x="46272" y="21202"/>
                      </a:moveTo>
                      <a:lnTo>
                        <a:pt x="32537" y="54407"/>
                      </a:lnTo>
                      <a:lnTo>
                        <a:pt x="59874" y="54407"/>
                      </a:lnTo>
                      <a:lnTo>
                        <a:pt x="46272" y="21202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154" name="TextBox 153">
                  <a:extLst>
                    <a:ext uri="{FF2B5EF4-FFF2-40B4-BE49-F238E27FC236}">
                      <a16:creationId xmlns:a16="http://schemas.microsoft.com/office/drawing/2014/main" id="{058D13AA-F28A-4611-4FE5-BA52DD71D13D}"/>
                    </a:ext>
                  </a:extLst>
                </p:cNvPr>
                <p:cNvSpPr txBox="1"/>
                <p:nvPr/>
              </p:nvSpPr>
              <p:spPr>
                <a:xfrm>
                  <a:off x="5150591" y="7150286"/>
                  <a:ext cx="304771" cy="300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345" h="93595">
                      <a:moveTo>
                        <a:pt x="39471" y="0"/>
                      </a:moveTo>
                      <a:lnTo>
                        <a:pt x="53873" y="0"/>
                      </a:lnTo>
                      <a:lnTo>
                        <a:pt x="93345" y="93595"/>
                      </a:lnTo>
                      <a:lnTo>
                        <a:pt x="75876" y="93595"/>
                      </a:lnTo>
                      <a:lnTo>
                        <a:pt x="66141" y="69725"/>
                      </a:lnTo>
                      <a:lnTo>
                        <a:pt x="26270" y="69725"/>
                      </a:lnTo>
                      <a:lnTo>
                        <a:pt x="16535" y="93595"/>
                      </a:lnTo>
                      <a:lnTo>
                        <a:pt x="0" y="93595"/>
                      </a:lnTo>
                      <a:lnTo>
                        <a:pt x="39471" y="0"/>
                      </a:lnTo>
                      <a:close/>
                      <a:moveTo>
                        <a:pt x="46272" y="21202"/>
                      </a:moveTo>
                      <a:lnTo>
                        <a:pt x="32537" y="54407"/>
                      </a:lnTo>
                      <a:lnTo>
                        <a:pt x="59874" y="54407"/>
                      </a:lnTo>
                      <a:lnTo>
                        <a:pt x="46272" y="21202"/>
                      </a:lnTo>
                      <a:close/>
                    </a:path>
                  </a:pathLst>
                </a:custGeom>
                <a:solidFill>
                  <a:srgbClr val="00A1DF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solidFill>
                      <a:srgbClr val="3399FF"/>
                    </a:solidFill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155" name="TextBox 154">
                  <a:extLst>
                    <a:ext uri="{FF2B5EF4-FFF2-40B4-BE49-F238E27FC236}">
                      <a16:creationId xmlns:a16="http://schemas.microsoft.com/office/drawing/2014/main" id="{D7DD446B-6E0C-8D65-A09A-DC4EE57E1B34}"/>
                    </a:ext>
                  </a:extLst>
                </p:cNvPr>
                <p:cNvSpPr txBox="1"/>
                <p:nvPr/>
              </p:nvSpPr>
              <p:spPr>
                <a:xfrm>
                  <a:off x="3199459" y="7151571"/>
                  <a:ext cx="260305" cy="299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726" h="93195">
                      <a:moveTo>
                        <a:pt x="0" y="0"/>
                      </a:moveTo>
                      <a:lnTo>
                        <a:pt x="13054" y="0"/>
                      </a:lnTo>
                      <a:lnTo>
                        <a:pt x="64408" y="64837"/>
                      </a:lnTo>
                      <a:lnTo>
                        <a:pt x="64408" y="0"/>
                      </a:lnTo>
                      <a:lnTo>
                        <a:pt x="79726" y="0"/>
                      </a:lnTo>
                      <a:lnTo>
                        <a:pt x="79726" y="93195"/>
                      </a:lnTo>
                      <a:lnTo>
                        <a:pt x="66672" y="93195"/>
                      </a:lnTo>
                      <a:lnTo>
                        <a:pt x="15318" y="28624"/>
                      </a:lnTo>
                      <a:lnTo>
                        <a:pt x="15318" y="93195"/>
                      </a:lnTo>
                      <a:lnTo>
                        <a:pt x="0" y="931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156" name="TextBox 155">
                  <a:extLst>
                    <a:ext uri="{FF2B5EF4-FFF2-40B4-BE49-F238E27FC236}">
                      <a16:creationId xmlns:a16="http://schemas.microsoft.com/office/drawing/2014/main" id="{5DA6483C-4AC1-FCC5-EAF4-0C5B5701BD88}"/>
                    </a:ext>
                  </a:extLst>
                </p:cNvPr>
                <p:cNvSpPr txBox="1"/>
                <p:nvPr/>
              </p:nvSpPr>
              <p:spPr>
                <a:xfrm>
                  <a:off x="3914742" y="7151571"/>
                  <a:ext cx="174099" cy="299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23" h="93195">
                      <a:moveTo>
                        <a:pt x="0" y="0"/>
                      </a:moveTo>
                      <a:lnTo>
                        <a:pt x="53323" y="0"/>
                      </a:lnTo>
                      <a:lnTo>
                        <a:pt x="53323" y="15318"/>
                      </a:lnTo>
                      <a:lnTo>
                        <a:pt x="16385" y="15318"/>
                      </a:lnTo>
                      <a:lnTo>
                        <a:pt x="16385" y="41605"/>
                      </a:lnTo>
                      <a:lnTo>
                        <a:pt x="49322" y="41605"/>
                      </a:lnTo>
                      <a:lnTo>
                        <a:pt x="49322" y="56924"/>
                      </a:lnTo>
                      <a:lnTo>
                        <a:pt x="16385" y="56924"/>
                      </a:lnTo>
                      <a:lnTo>
                        <a:pt x="16385" y="93195"/>
                      </a:lnTo>
                      <a:lnTo>
                        <a:pt x="0" y="9319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157" name="TextBox 156">
                  <a:extLst>
                    <a:ext uri="{FF2B5EF4-FFF2-40B4-BE49-F238E27FC236}">
                      <a16:creationId xmlns:a16="http://schemas.microsoft.com/office/drawing/2014/main" id="{ED85ACE1-C068-915D-BD59-9B63D489A2B4}"/>
                    </a:ext>
                  </a:extLst>
                </p:cNvPr>
                <p:cNvSpPr txBox="1"/>
                <p:nvPr/>
              </p:nvSpPr>
              <p:spPr>
                <a:xfrm>
                  <a:off x="4156750" y="7151571"/>
                  <a:ext cx="251163" cy="299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926" h="93195">
                      <a:moveTo>
                        <a:pt x="0" y="0"/>
                      </a:moveTo>
                      <a:lnTo>
                        <a:pt x="76926" y="0"/>
                      </a:lnTo>
                      <a:lnTo>
                        <a:pt x="76926" y="15318"/>
                      </a:lnTo>
                      <a:lnTo>
                        <a:pt x="46656" y="15318"/>
                      </a:lnTo>
                      <a:lnTo>
                        <a:pt x="46656" y="93195"/>
                      </a:lnTo>
                      <a:lnTo>
                        <a:pt x="30270" y="93195"/>
                      </a:lnTo>
                      <a:lnTo>
                        <a:pt x="30270" y="15318"/>
                      </a:lnTo>
                      <a:lnTo>
                        <a:pt x="0" y="153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latin typeface="Circe Bold" panose="020B0602020203020203" pitchFamily="34" charset="-52"/>
                  </a:endParaRPr>
                </a:p>
              </p:txBody>
            </p:sp>
            <p:sp>
              <p:nvSpPr>
                <p:cNvPr id="158" name="TextBox 157">
                  <a:extLst>
                    <a:ext uri="{FF2B5EF4-FFF2-40B4-BE49-F238E27FC236}">
                      <a16:creationId xmlns:a16="http://schemas.microsoft.com/office/drawing/2014/main" id="{842537FB-E83B-D166-E949-273088082973}"/>
                    </a:ext>
                  </a:extLst>
                </p:cNvPr>
                <p:cNvSpPr txBox="1"/>
                <p:nvPr/>
              </p:nvSpPr>
              <p:spPr>
                <a:xfrm>
                  <a:off x="5507047" y="7151571"/>
                  <a:ext cx="244689" cy="299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943" h="93195">
                      <a:moveTo>
                        <a:pt x="2667" y="0"/>
                      </a:moveTo>
                      <a:lnTo>
                        <a:pt x="73609" y="0"/>
                      </a:lnTo>
                      <a:lnTo>
                        <a:pt x="73609" y="11322"/>
                      </a:lnTo>
                      <a:lnTo>
                        <a:pt x="21870" y="77876"/>
                      </a:lnTo>
                      <a:lnTo>
                        <a:pt x="74943" y="77876"/>
                      </a:lnTo>
                      <a:lnTo>
                        <a:pt x="74943" y="93195"/>
                      </a:lnTo>
                      <a:lnTo>
                        <a:pt x="0" y="93195"/>
                      </a:lnTo>
                      <a:lnTo>
                        <a:pt x="0" y="82006"/>
                      </a:lnTo>
                      <a:lnTo>
                        <a:pt x="51607" y="15318"/>
                      </a:lnTo>
                      <a:lnTo>
                        <a:pt x="2667" y="15318"/>
                      </a:lnTo>
                      <a:lnTo>
                        <a:pt x="2667" y="0"/>
                      </a:lnTo>
                      <a:close/>
                    </a:path>
                  </a:pathLst>
                </a:custGeom>
                <a:solidFill>
                  <a:srgbClr val="00A1DF"/>
                </a:solidFill>
                <a:ln>
                  <a:noFill/>
                </a:ln>
                <a:effectLst/>
              </p:spPr>
              <p:txBody>
  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uk-UA" sz="476" spc="50" dirty="0">
                    <a:solidFill>
                      <a:srgbClr val="3399FF"/>
                    </a:solidFill>
                    <a:latin typeface="Circe Bold" panose="020B0602020203020203" pitchFamily="34" charset="-52"/>
                  </a:endParaRPr>
                </a:p>
              </p:txBody>
            </p:sp>
          </p:grpSp>
          <p:grpSp>
            <p:nvGrpSpPr>
              <p:cNvPr id="147" name="Групувати 146">
                <a:extLst>
                  <a:ext uri="{FF2B5EF4-FFF2-40B4-BE49-F238E27FC236}">
                    <a16:creationId xmlns:a16="http://schemas.microsoft.com/office/drawing/2014/main" id="{E3C9805D-5BFB-4DA6-7C67-2D1C56848AD8}"/>
                  </a:ext>
                </a:extLst>
              </p:cNvPr>
              <p:cNvGrpSpPr/>
              <p:nvPr/>
            </p:nvGrpSpPr>
            <p:grpSpPr>
              <a:xfrm>
                <a:off x="2413418" y="7087467"/>
                <a:ext cx="677921" cy="664025"/>
                <a:chOff x="5192198" y="3302281"/>
                <a:chExt cx="207633" cy="206717"/>
              </a:xfrm>
            </p:grpSpPr>
            <p:sp>
              <p:nvSpPr>
                <p:cNvPr id="148" name="Freeform 220">
                  <a:extLst>
                    <a:ext uri="{FF2B5EF4-FFF2-40B4-BE49-F238E27FC236}">
                      <a16:creationId xmlns:a16="http://schemas.microsoft.com/office/drawing/2014/main" id="{972A4BA0-C5A6-2CE4-F2B9-52A15F2AD1EE}"/>
                    </a:ext>
                  </a:extLst>
                </p:cNvPr>
                <p:cNvSpPr/>
                <p:nvPr/>
              </p:nvSpPr>
              <p:spPr>
                <a:xfrm>
                  <a:off x="5309209" y="3316368"/>
                  <a:ext cx="90622" cy="178639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68693" h="529665">
                      <a:moveTo>
                        <a:pt x="249186" y="162356"/>
                      </a:moveTo>
                      <a:cubicBezTo>
                        <a:pt x="249490" y="162482"/>
                        <a:pt x="249770" y="162521"/>
                        <a:pt x="250049" y="162724"/>
                      </a:cubicBezTo>
                      <a:cubicBezTo>
                        <a:pt x="233972" y="106400"/>
                        <a:pt x="199834" y="59042"/>
                        <a:pt x="150126" y="24841"/>
                      </a:cubicBezTo>
                      <a:cubicBezTo>
                        <a:pt x="127165" y="9055"/>
                        <a:pt x="100622" y="0"/>
                        <a:pt x="77356" y="0"/>
                      </a:cubicBezTo>
                      <a:cubicBezTo>
                        <a:pt x="63970" y="0"/>
                        <a:pt x="51701" y="2844"/>
                        <a:pt x="41008" y="8661"/>
                      </a:cubicBezTo>
                      <a:cubicBezTo>
                        <a:pt x="13894" y="24498"/>
                        <a:pt x="0" y="46990"/>
                        <a:pt x="0" y="75565"/>
                      </a:cubicBezTo>
                      <a:cubicBezTo>
                        <a:pt x="0" y="122174"/>
                        <a:pt x="27051" y="149669"/>
                        <a:pt x="67932" y="191324"/>
                      </a:cubicBezTo>
                      <a:cubicBezTo>
                        <a:pt x="89205" y="213003"/>
                        <a:pt x="113068" y="237336"/>
                        <a:pt x="136474" y="268591"/>
                      </a:cubicBezTo>
                      <a:cubicBezTo>
                        <a:pt x="174879" y="319785"/>
                        <a:pt x="184366" y="391375"/>
                        <a:pt x="161239" y="455687"/>
                      </a:cubicBezTo>
                      <a:cubicBezTo>
                        <a:pt x="151143" y="483754"/>
                        <a:pt x="135737" y="508431"/>
                        <a:pt x="115798" y="528992"/>
                      </a:cubicBezTo>
                      <a:cubicBezTo>
                        <a:pt x="115519" y="529068"/>
                        <a:pt x="115468" y="529462"/>
                        <a:pt x="115214" y="529665"/>
                      </a:cubicBezTo>
                      <a:cubicBezTo>
                        <a:pt x="163931" y="502233"/>
                        <a:pt x="200685" y="463269"/>
                        <a:pt x="223342" y="414768"/>
                      </a:cubicBezTo>
                      <a:cubicBezTo>
                        <a:pt x="268693" y="317359"/>
                        <a:pt x="235026" y="249795"/>
                        <a:pt x="214922" y="209384"/>
                      </a:cubicBezTo>
                      <a:cubicBezTo>
                        <a:pt x="204610" y="188670"/>
                        <a:pt x="197193" y="173531"/>
                        <a:pt x="204711" y="162191"/>
                      </a:cubicBezTo>
                      <a:cubicBezTo>
                        <a:pt x="213411" y="149098"/>
                        <a:pt x="229451" y="148463"/>
                        <a:pt x="249186" y="162356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  <p:sp>
              <p:nvSpPr>
                <p:cNvPr id="149" name="Freeform 221">
                  <a:extLst>
                    <a:ext uri="{FF2B5EF4-FFF2-40B4-BE49-F238E27FC236}">
                      <a16:creationId xmlns:a16="http://schemas.microsoft.com/office/drawing/2014/main" id="{06532026-C25D-E609-4B9D-1898D157F195}"/>
                    </a:ext>
                  </a:extLst>
                </p:cNvPr>
                <p:cNvSpPr/>
                <p:nvPr/>
              </p:nvSpPr>
              <p:spPr>
                <a:xfrm>
                  <a:off x="5192198" y="3326401"/>
                  <a:ext cx="131219" cy="17992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9064" h="533476">
                      <a:moveTo>
                        <a:pt x="374561" y="363639"/>
                      </a:moveTo>
                      <a:cubicBezTo>
                        <a:pt x="345733" y="318936"/>
                        <a:pt x="304800" y="303162"/>
                        <a:pt x="261519" y="286563"/>
                      </a:cubicBezTo>
                      <a:cubicBezTo>
                        <a:pt x="219050" y="270142"/>
                        <a:pt x="175095" y="253251"/>
                        <a:pt x="137757" y="209398"/>
                      </a:cubicBezTo>
                      <a:cubicBezTo>
                        <a:pt x="101156" y="166739"/>
                        <a:pt x="85764" y="111430"/>
                        <a:pt x="94044" y="53988"/>
                      </a:cubicBezTo>
                      <a:cubicBezTo>
                        <a:pt x="96635" y="36322"/>
                        <a:pt x="101651" y="19495"/>
                        <a:pt x="108243" y="3988"/>
                      </a:cubicBezTo>
                      <a:cubicBezTo>
                        <a:pt x="108509" y="3214"/>
                        <a:pt x="108801" y="2451"/>
                        <a:pt x="108827" y="2439"/>
                      </a:cubicBezTo>
                      <a:cubicBezTo>
                        <a:pt x="109182" y="1486"/>
                        <a:pt x="109386" y="788"/>
                        <a:pt x="109703" y="0"/>
                      </a:cubicBezTo>
                      <a:cubicBezTo>
                        <a:pt x="104902" y="3988"/>
                        <a:pt x="100559" y="8408"/>
                        <a:pt x="96063" y="12675"/>
                      </a:cubicBezTo>
                      <a:cubicBezTo>
                        <a:pt x="96139" y="12599"/>
                        <a:pt x="96241" y="12535"/>
                        <a:pt x="96330" y="12459"/>
                      </a:cubicBezTo>
                      <a:cubicBezTo>
                        <a:pt x="96241" y="12535"/>
                        <a:pt x="96139" y="12612"/>
                        <a:pt x="96063" y="12688"/>
                      </a:cubicBezTo>
                      <a:cubicBezTo>
                        <a:pt x="35345" y="69977"/>
                        <a:pt x="0" y="149556"/>
                        <a:pt x="0" y="234925"/>
                      </a:cubicBezTo>
                      <a:cubicBezTo>
                        <a:pt x="0" y="369468"/>
                        <a:pt x="90031" y="490258"/>
                        <a:pt x="218974" y="528586"/>
                      </a:cubicBezTo>
                      <a:cubicBezTo>
                        <a:pt x="231445" y="531837"/>
                        <a:pt x="244221" y="533476"/>
                        <a:pt x="256972" y="533476"/>
                      </a:cubicBezTo>
                      <a:cubicBezTo>
                        <a:pt x="300482" y="533476"/>
                        <a:pt x="339344" y="514349"/>
                        <a:pt x="363881" y="480910"/>
                      </a:cubicBezTo>
                      <a:cubicBezTo>
                        <a:pt x="376135" y="464070"/>
                        <a:pt x="383044" y="444995"/>
                        <a:pt x="385800" y="426034"/>
                      </a:cubicBezTo>
                      <a:cubicBezTo>
                        <a:pt x="389064" y="403453"/>
                        <a:pt x="385838" y="381190"/>
                        <a:pt x="374561" y="363639"/>
                      </a:cubicBezTo>
                    </a:path>
                  </a:pathLst>
                </a:cu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 dirty="0"/>
                </a:p>
              </p:txBody>
            </p:sp>
            <p:sp>
              <p:nvSpPr>
                <p:cNvPr id="150" name="Freeform 222">
                  <a:extLst>
                    <a:ext uri="{FF2B5EF4-FFF2-40B4-BE49-F238E27FC236}">
                      <a16:creationId xmlns:a16="http://schemas.microsoft.com/office/drawing/2014/main" id="{F58C061B-16FF-9177-177C-08E06D4E7F58}"/>
                    </a:ext>
                  </a:extLst>
                </p:cNvPr>
                <p:cNvSpPr/>
                <p:nvPr/>
              </p:nvSpPr>
              <p:spPr>
                <a:xfrm>
                  <a:off x="5231948" y="3302281"/>
                  <a:ext cx="129163" cy="20671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382967" h="612914">
                      <a:moveTo>
                        <a:pt x="342366" y="327609"/>
                      </a:moveTo>
                      <a:cubicBezTo>
                        <a:pt x="320078" y="297904"/>
                        <a:pt x="296850" y="274142"/>
                        <a:pt x="276352" y="253340"/>
                      </a:cubicBezTo>
                      <a:cubicBezTo>
                        <a:pt x="233743" y="209868"/>
                        <a:pt x="200215" y="175692"/>
                        <a:pt x="200215" y="117323"/>
                      </a:cubicBezTo>
                      <a:cubicBezTo>
                        <a:pt x="200215" y="57811"/>
                        <a:pt x="243726" y="25121"/>
                        <a:pt x="284543" y="15316"/>
                      </a:cubicBezTo>
                      <a:cubicBezTo>
                        <a:pt x="282499" y="14656"/>
                        <a:pt x="280162" y="14313"/>
                        <a:pt x="278054" y="13742"/>
                      </a:cubicBezTo>
                      <a:cubicBezTo>
                        <a:pt x="249555" y="5157"/>
                        <a:pt x="218605" y="0"/>
                        <a:pt x="188531" y="0"/>
                      </a:cubicBezTo>
                      <a:cubicBezTo>
                        <a:pt x="138582" y="0"/>
                        <a:pt x="99174" y="10275"/>
                        <a:pt x="60719" y="33389"/>
                      </a:cubicBezTo>
                      <a:cubicBezTo>
                        <a:pt x="32842" y="50127"/>
                        <a:pt x="10960" y="87922"/>
                        <a:pt x="4864" y="129718"/>
                      </a:cubicBezTo>
                      <a:cubicBezTo>
                        <a:pt x="686" y="158141"/>
                        <a:pt x="0" y="213157"/>
                        <a:pt x="41846" y="262065"/>
                      </a:cubicBezTo>
                      <a:cubicBezTo>
                        <a:pt x="74536" y="300393"/>
                        <a:pt x="114948" y="316002"/>
                        <a:pt x="153987" y="331038"/>
                      </a:cubicBezTo>
                      <a:cubicBezTo>
                        <a:pt x="199809" y="348652"/>
                        <a:pt x="247002" y="366953"/>
                        <a:pt x="280975" y="419442"/>
                      </a:cubicBezTo>
                      <a:cubicBezTo>
                        <a:pt x="304025" y="455091"/>
                        <a:pt x="303886" y="505104"/>
                        <a:pt x="282499" y="547801"/>
                      </a:cubicBezTo>
                      <a:cubicBezTo>
                        <a:pt x="281102" y="550659"/>
                        <a:pt x="279552" y="553415"/>
                        <a:pt x="277952" y="556132"/>
                      </a:cubicBezTo>
                      <a:cubicBezTo>
                        <a:pt x="277520" y="556932"/>
                        <a:pt x="277038" y="557745"/>
                        <a:pt x="276581" y="558545"/>
                      </a:cubicBezTo>
                      <a:cubicBezTo>
                        <a:pt x="259715" y="585304"/>
                        <a:pt x="231902" y="606069"/>
                        <a:pt x="204165" y="612914"/>
                      </a:cubicBezTo>
                      <a:cubicBezTo>
                        <a:pt x="219011" y="610793"/>
                        <a:pt x="233401" y="607555"/>
                        <a:pt x="247307" y="602856"/>
                      </a:cubicBezTo>
                      <a:cubicBezTo>
                        <a:pt x="248679" y="602462"/>
                        <a:pt x="250038" y="602043"/>
                        <a:pt x="251435" y="601649"/>
                      </a:cubicBezTo>
                      <a:cubicBezTo>
                        <a:pt x="253213" y="601001"/>
                        <a:pt x="254864" y="600100"/>
                        <a:pt x="256603" y="599427"/>
                      </a:cubicBezTo>
                      <a:cubicBezTo>
                        <a:pt x="259804" y="598157"/>
                        <a:pt x="262979" y="596823"/>
                        <a:pt x="266103" y="595375"/>
                      </a:cubicBezTo>
                      <a:cubicBezTo>
                        <a:pt x="268084" y="594448"/>
                        <a:pt x="270091" y="593559"/>
                        <a:pt x="272110" y="592505"/>
                      </a:cubicBezTo>
                      <a:cubicBezTo>
                        <a:pt x="276936" y="590092"/>
                        <a:pt x="281686" y="587336"/>
                        <a:pt x="286334" y="584453"/>
                      </a:cubicBezTo>
                      <a:cubicBezTo>
                        <a:pt x="287007" y="584022"/>
                        <a:pt x="287642" y="583590"/>
                        <a:pt x="288252" y="583183"/>
                      </a:cubicBezTo>
                      <a:cubicBezTo>
                        <a:pt x="293408" y="579894"/>
                        <a:pt x="298386" y="576198"/>
                        <a:pt x="303301" y="572274"/>
                      </a:cubicBezTo>
                      <a:cubicBezTo>
                        <a:pt x="303695" y="571944"/>
                        <a:pt x="304101" y="571601"/>
                        <a:pt x="304495" y="571296"/>
                      </a:cubicBezTo>
                      <a:cubicBezTo>
                        <a:pt x="308991" y="567575"/>
                        <a:pt x="313398" y="563587"/>
                        <a:pt x="317716" y="559282"/>
                      </a:cubicBezTo>
                      <a:cubicBezTo>
                        <a:pt x="318795" y="558139"/>
                        <a:pt x="319900" y="556932"/>
                        <a:pt x="321018" y="555789"/>
                      </a:cubicBezTo>
                      <a:cubicBezTo>
                        <a:pt x="323939" y="552703"/>
                        <a:pt x="326796" y="549477"/>
                        <a:pt x="329565" y="546087"/>
                      </a:cubicBezTo>
                      <a:cubicBezTo>
                        <a:pt x="331787" y="543470"/>
                        <a:pt x="333832" y="540753"/>
                        <a:pt x="335877" y="538022"/>
                      </a:cubicBezTo>
                      <a:cubicBezTo>
                        <a:pt x="338036" y="535114"/>
                        <a:pt x="340182" y="532091"/>
                        <a:pt x="342265" y="529005"/>
                      </a:cubicBezTo>
                      <a:cubicBezTo>
                        <a:pt x="343255" y="527494"/>
                        <a:pt x="344283" y="526046"/>
                        <a:pt x="345210" y="524535"/>
                      </a:cubicBezTo>
                      <a:cubicBezTo>
                        <a:pt x="345502" y="524141"/>
                        <a:pt x="345782" y="523709"/>
                        <a:pt x="346087" y="523239"/>
                      </a:cubicBezTo>
                      <a:lnTo>
                        <a:pt x="346036" y="523062"/>
                      </a:lnTo>
                      <a:cubicBezTo>
                        <a:pt x="352792" y="511949"/>
                        <a:pt x="358609" y="500176"/>
                        <a:pt x="363092" y="487616"/>
                      </a:cubicBezTo>
                      <a:cubicBezTo>
                        <a:pt x="382967" y="432472"/>
                        <a:pt x="374992" y="371144"/>
                        <a:pt x="342366" y="327609"/>
                      </a:cubicBezTo>
                    </a:path>
                  </a:pathLst>
                </a:custGeom>
                <a:solidFill>
                  <a:srgbClr val="00A1DF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uk-UA" sz="426"/>
                </a:p>
              </p:txBody>
            </p:sp>
          </p:grpSp>
        </p:grpSp>
        <p:grpSp>
          <p:nvGrpSpPr>
            <p:cNvPr id="89" name="Групувати 88">
              <a:extLst>
                <a:ext uri="{FF2B5EF4-FFF2-40B4-BE49-F238E27FC236}">
                  <a16:creationId xmlns:a16="http://schemas.microsoft.com/office/drawing/2014/main" id="{044E7155-EAA5-CB0C-1EC2-C2DC0214907A}"/>
                </a:ext>
              </a:extLst>
            </p:cNvPr>
            <p:cNvGrpSpPr/>
            <p:nvPr/>
          </p:nvGrpSpPr>
          <p:grpSpPr>
            <a:xfrm>
              <a:off x="10904975" y="4368852"/>
              <a:ext cx="922438" cy="405746"/>
              <a:chOff x="-114865" y="2924558"/>
              <a:chExt cx="4698118" cy="2066544"/>
            </a:xfrm>
          </p:grpSpPr>
          <p:grpSp>
            <p:nvGrpSpPr>
              <p:cNvPr id="112" name="Групувати 111">
                <a:extLst>
                  <a:ext uri="{FF2B5EF4-FFF2-40B4-BE49-F238E27FC236}">
                    <a16:creationId xmlns:a16="http://schemas.microsoft.com/office/drawing/2014/main" id="{EBCF9234-57F1-3A0F-C293-87B258612435}"/>
                  </a:ext>
                </a:extLst>
              </p:cNvPr>
              <p:cNvGrpSpPr/>
              <p:nvPr/>
            </p:nvGrpSpPr>
            <p:grpSpPr>
              <a:xfrm>
                <a:off x="1577799" y="2964553"/>
                <a:ext cx="3005454" cy="1986554"/>
                <a:chOff x="753910" y="4405326"/>
                <a:chExt cx="2206706" cy="1458592"/>
              </a:xfrm>
              <a:solidFill>
                <a:srgbClr val="14317D"/>
              </a:solidFill>
            </p:grpSpPr>
            <p:sp>
              <p:nvSpPr>
                <p:cNvPr id="117" name="Полілінія: фігура 116">
                  <a:extLst>
                    <a:ext uri="{FF2B5EF4-FFF2-40B4-BE49-F238E27FC236}">
                      <a16:creationId xmlns:a16="http://schemas.microsoft.com/office/drawing/2014/main" id="{1FC54653-DB8E-2004-758C-5C77CEE0BA8D}"/>
                    </a:ext>
                  </a:extLst>
                </p:cNvPr>
                <p:cNvSpPr/>
                <p:nvPr/>
              </p:nvSpPr>
              <p:spPr>
                <a:xfrm>
                  <a:off x="767974" y="4407694"/>
                  <a:ext cx="313633" cy="3552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6111" h="327273">
                      <a:moveTo>
                        <a:pt x="0" y="0"/>
                      </a:moveTo>
                      <a:lnTo>
                        <a:pt x="98897" y="0"/>
                      </a:lnTo>
                      <a:lnTo>
                        <a:pt x="158279" y="223242"/>
                      </a:lnTo>
                      <a:lnTo>
                        <a:pt x="216992" y="0"/>
                      </a:lnTo>
                      <a:lnTo>
                        <a:pt x="316111" y="0"/>
                      </a:lnTo>
                      <a:lnTo>
                        <a:pt x="316111" y="327273"/>
                      </a:lnTo>
                      <a:lnTo>
                        <a:pt x="254720" y="327273"/>
                      </a:lnTo>
                      <a:lnTo>
                        <a:pt x="254720" y="69652"/>
                      </a:lnTo>
                      <a:lnTo>
                        <a:pt x="189756" y="327273"/>
                      </a:lnTo>
                      <a:lnTo>
                        <a:pt x="126132" y="327273"/>
                      </a:lnTo>
                      <a:lnTo>
                        <a:pt x="61392" y="69652"/>
                      </a:lnTo>
                      <a:lnTo>
                        <a:pt x="61392" y="327273"/>
                      </a:lnTo>
                      <a:lnTo>
                        <a:pt x="0" y="32727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18" name="Полілінія: фігура 117">
                  <a:extLst>
                    <a:ext uri="{FF2B5EF4-FFF2-40B4-BE49-F238E27FC236}">
                      <a16:creationId xmlns:a16="http://schemas.microsoft.com/office/drawing/2014/main" id="{DBC8FCFE-E1E1-282C-2EAB-698433A10CCD}"/>
                    </a:ext>
                  </a:extLst>
                </p:cNvPr>
                <p:cNvSpPr/>
                <p:nvPr/>
              </p:nvSpPr>
              <p:spPr>
                <a:xfrm>
                  <a:off x="1158946" y="4405326"/>
                  <a:ext cx="62239" cy="630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31" h="58043">
                      <a:moveTo>
                        <a:pt x="0" y="0"/>
                      </a:moveTo>
                      <a:lnTo>
                        <a:pt x="62731" y="0"/>
                      </a:lnTo>
                      <a:lnTo>
                        <a:pt x="62731" y="58043"/>
                      </a:lnTo>
                      <a:lnTo>
                        <a:pt x="0" y="580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19" name="Полілінія: фігура 118">
                  <a:extLst>
                    <a:ext uri="{FF2B5EF4-FFF2-40B4-BE49-F238E27FC236}">
                      <a16:creationId xmlns:a16="http://schemas.microsoft.com/office/drawing/2014/main" id="{EDCCA947-520C-5B36-E662-7E58C38663C5}"/>
                    </a:ext>
                  </a:extLst>
                </p:cNvPr>
                <p:cNvSpPr/>
                <p:nvPr/>
              </p:nvSpPr>
              <p:spPr>
                <a:xfrm>
                  <a:off x="1558996" y="4405326"/>
                  <a:ext cx="62239" cy="630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31" h="58043">
                      <a:moveTo>
                        <a:pt x="0" y="0"/>
                      </a:moveTo>
                      <a:lnTo>
                        <a:pt x="62731" y="0"/>
                      </a:lnTo>
                      <a:lnTo>
                        <a:pt x="62731" y="58043"/>
                      </a:lnTo>
                      <a:lnTo>
                        <a:pt x="0" y="580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0" name="Полілінія: фігура 119">
                  <a:extLst>
                    <a:ext uri="{FF2B5EF4-FFF2-40B4-BE49-F238E27FC236}">
                      <a16:creationId xmlns:a16="http://schemas.microsoft.com/office/drawing/2014/main" id="{2762C121-DA9C-FF76-5C45-167DAA696427}"/>
                    </a:ext>
                  </a:extLst>
                </p:cNvPr>
                <p:cNvSpPr/>
                <p:nvPr/>
              </p:nvSpPr>
              <p:spPr>
                <a:xfrm>
                  <a:off x="1914101" y="4414264"/>
                  <a:ext cx="138654" cy="3540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9749" h="326157">
                      <a:moveTo>
                        <a:pt x="91752" y="0"/>
                      </a:moveTo>
                      <a:lnTo>
                        <a:pt x="91752" y="83716"/>
                      </a:lnTo>
                      <a:lnTo>
                        <a:pt x="134615" y="83716"/>
                      </a:lnTo>
                      <a:lnTo>
                        <a:pt x="134615" y="133722"/>
                      </a:lnTo>
                      <a:lnTo>
                        <a:pt x="91752" y="133722"/>
                      </a:lnTo>
                      <a:lnTo>
                        <a:pt x="91752" y="229270"/>
                      </a:lnTo>
                      <a:cubicBezTo>
                        <a:pt x="91752" y="248618"/>
                        <a:pt x="92161" y="259891"/>
                        <a:pt x="92980" y="263091"/>
                      </a:cubicBezTo>
                      <a:cubicBezTo>
                        <a:pt x="93799" y="266291"/>
                        <a:pt x="95659" y="268933"/>
                        <a:pt x="98561" y="271016"/>
                      </a:cubicBezTo>
                      <a:cubicBezTo>
                        <a:pt x="101463" y="273100"/>
                        <a:pt x="104998" y="274142"/>
                        <a:pt x="109165" y="274142"/>
                      </a:cubicBezTo>
                      <a:cubicBezTo>
                        <a:pt x="114969" y="274142"/>
                        <a:pt x="123378" y="272132"/>
                        <a:pt x="134391" y="268114"/>
                      </a:cubicBezTo>
                      <a:lnTo>
                        <a:pt x="139749" y="316781"/>
                      </a:lnTo>
                      <a:cubicBezTo>
                        <a:pt x="125164" y="323032"/>
                        <a:pt x="108644" y="326157"/>
                        <a:pt x="90189" y="326157"/>
                      </a:cubicBezTo>
                      <a:cubicBezTo>
                        <a:pt x="78879" y="326157"/>
                        <a:pt x="68684" y="324259"/>
                        <a:pt x="59605" y="320464"/>
                      </a:cubicBezTo>
                      <a:cubicBezTo>
                        <a:pt x="50527" y="316669"/>
                        <a:pt x="43867" y="311758"/>
                        <a:pt x="39625" y="305730"/>
                      </a:cubicBezTo>
                      <a:cubicBezTo>
                        <a:pt x="35384" y="299703"/>
                        <a:pt x="32444" y="291555"/>
                        <a:pt x="30807" y="281285"/>
                      </a:cubicBezTo>
                      <a:cubicBezTo>
                        <a:pt x="29468" y="273993"/>
                        <a:pt x="28798" y="259259"/>
                        <a:pt x="28798" y="237083"/>
                      </a:cubicBezTo>
                      <a:lnTo>
                        <a:pt x="28798" y="133722"/>
                      </a:lnTo>
                      <a:lnTo>
                        <a:pt x="0" y="133722"/>
                      </a:lnTo>
                      <a:lnTo>
                        <a:pt x="0" y="83716"/>
                      </a:lnTo>
                      <a:lnTo>
                        <a:pt x="28798" y="83716"/>
                      </a:lnTo>
                      <a:lnTo>
                        <a:pt x="28798" y="36612"/>
                      </a:lnTo>
                      <a:lnTo>
                        <a:pt x="9175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1" name="Полілінія: фігура 120">
                  <a:extLst>
                    <a:ext uri="{FF2B5EF4-FFF2-40B4-BE49-F238E27FC236}">
                      <a16:creationId xmlns:a16="http://schemas.microsoft.com/office/drawing/2014/main" id="{597B7B34-0EC8-C2FC-4D65-6FB5A56A41D4}"/>
                    </a:ext>
                  </a:extLst>
                </p:cNvPr>
                <p:cNvSpPr/>
                <p:nvPr/>
              </p:nvSpPr>
              <p:spPr>
                <a:xfrm>
                  <a:off x="1282324" y="4499784"/>
                  <a:ext cx="214405" cy="2631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99" h="242441">
                      <a:moveTo>
                        <a:pt x="136401" y="0"/>
                      </a:moveTo>
                      <a:cubicBezTo>
                        <a:pt x="150242" y="0"/>
                        <a:pt x="162893" y="2493"/>
                        <a:pt x="174352" y="7479"/>
                      </a:cubicBezTo>
                      <a:cubicBezTo>
                        <a:pt x="185812" y="12465"/>
                        <a:pt x="194481" y="18827"/>
                        <a:pt x="200360" y="26566"/>
                      </a:cubicBezTo>
                      <a:cubicBezTo>
                        <a:pt x="206239" y="34305"/>
                        <a:pt x="210332" y="43086"/>
                        <a:pt x="212638" y="52909"/>
                      </a:cubicBezTo>
                      <a:cubicBezTo>
                        <a:pt x="214945" y="62731"/>
                        <a:pt x="216099" y="76796"/>
                        <a:pt x="216099" y="95101"/>
                      </a:cubicBezTo>
                      <a:lnTo>
                        <a:pt x="216099" y="242441"/>
                      </a:lnTo>
                      <a:lnTo>
                        <a:pt x="153368" y="242441"/>
                      </a:lnTo>
                      <a:lnTo>
                        <a:pt x="153368" y="121444"/>
                      </a:lnTo>
                      <a:cubicBezTo>
                        <a:pt x="153368" y="95846"/>
                        <a:pt x="152028" y="79288"/>
                        <a:pt x="149349" y="71773"/>
                      </a:cubicBezTo>
                      <a:cubicBezTo>
                        <a:pt x="146670" y="64257"/>
                        <a:pt x="142317" y="58415"/>
                        <a:pt x="136290" y="54248"/>
                      </a:cubicBezTo>
                      <a:cubicBezTo>
                        <a:pt x="130262" y="50081"/>
                        <a:pt x="123007" y="47997"/>
                        <a:pt x="114523" y="47997"/>
                      </a:cubicBezTo>
                      <a:cubicBezTo>
                        <a:pt x="103659" y="47997"/>
                        <a:pt x="93911" y="50974"/>
                        <a:pt x="85279" y="56927"/>
                      </a:cubicBezTo>
                      <a:cubicBezTo>
                        <a:pt x="76647" y="62880"/>
                        <a:pt x="70731" y="70768"/>
                        <a:pt x="67531" y="80591"/>
                      </a:cubicBezTo>
                      <a:cubicBezTo>
                        <a:pt x="64331" y="90413"/>
                        <a:pt x="62731" y="108570"/>
                        <a:pt x="62731" y="135062"/>
                      </a:cubicBezTo>
                      <a:lnTo>
                        <a:pt x="62731" y="242441"/>
                      </a:lnTo>
                      <a:lnTo>
                        <a:pt x="0" y="242441"/>
                      </a:lnTo>
                      <a:lnTo>
                        <a:pt x="0" y="5358"/>
                      </a:lnTo>
                      <a:lnTo>
                        <a:pt x="58266" y="5358"/>
                      </a:lnTo>
                      <a:lnTo>
                        <a:pt x="58266" y="40184"/>
                      </a:lnTo>
                      <a:cubicBezTo>
                        <a:pt x="78954" y="13395"/>
                        <a:pt x="104998" y="0"/>
                        <a:pt x="1364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2" name="Полілінія: фігура 121">
                  <a:extLst>
                    <a:ext uri="{FF2B5EF4-FFF2-40B4-BE49-F238E27FC236}">
                      <a16:creationId xmlns:a16="http://schemas.microsoft.com/office/drawing/2014/main" id="{AA695EE3-4645-6186-F3C8-67087F376697}"/>
                    </a:ext>
                  </a:extLst>
                </p:cNvPr>
                <p:cNvSpPr/>
                <p:nvPr/>
              </p:nvSpPr>
              <p:spPr>
                <a:xfrm>
                  <a:off x="1660720" y="4499324"/>
                  <a:ext cx="219720" cy="2689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456" h="247799">
                      <a:moveTo>
                        <a:pt x="108495" y="0"/>
                      </a:moveTo>
                      <a:cubicBezTo>
                        <a:pt x="140940" y="0"/>
                        <a:pt x="165050" y="5284"/>
                        <a:pt x="180826" y="15850"/>
                      </a:cubicBezTo>
                      <a:cubicBezTo>
                        <a:pt x="196602" y="26417"/>
                        <a:pt x="207466" y="42044"/>
                        <a:pt x="213419" y="62731"/>
                      </a:cubicBezTo>
                      <a:lnTo>
                        <a:pt x="154260" y="73670"/>
                      </a:lnTo>
                      <a:cubicBezTo>
                        <a:pt x="151730" y="64443"/>
                        <a:pt x="146930" y="57373"/>
                        <a:pt x="139861" y="52462"/>
                      </a:cubicBezTo>
                      <a:cubicBezTo>
                        <a:pt x="132792" y="47551"/>
                        <a:pt x="122708" y="45095"/>
                        <a:pt x="109612" y="45095"/>
                      </a:cubicBezTo>
                      <a:cubicBezTo>
                        <a:pt x="93092" y="45095"/>
                        <a:pt x="81260" y="47402"/>
                        <a:pt x="74116" y="52016"/>
                      </a:cubicBezTo>
                      <a:cubicBezTo>
                        <a:pt x="69354" y="55290"/>
                        <a:pt x="66972" y="59531"/>
                        <a:pt x="66972" y="64740"/>
                      </a:cubicBezTo>
                      <a:cubicBezTo>
                        <a:pt x="66972" y="69205"/>
                        <a:pt x="69056" y="73000"/>
                        <a:pt x="73223" y="76126"/>
                      </a:cubicBezTo>
                      <a:cubicBezTo>
                        <a:pt x="78879" y="80293"/>
                        <a:pt x="98412" y="86172"/>
                        <a:pt x="131824" y="93762"/>
                      </a:cubicBezTo>
                      <a:cubicBezTo>
                        <a:pt x="165236" y="101352"/>
                        <a:pt x="188565" y="110654"/>
                        <a:pt x="201811" y="121667"/>
                      </a:cubicBezTo>
                      <a:cubicBezTo>
                        <a:pt x="214908" y="132829"/>
                        <a:pt x="221456" y="148382"/>
                        <a:pt x="221456" y="168325"/>
                      </a:cubicBezTo>
                      <a:cubicBezTo>
                        <a:pt x="221456" y="190054"/>
                        <a:pt x="212377" y="208732"/>
                        <a:pt x="194220" y="224359"/>
                      </a:cubicBezTo>
                      <a:cubicBezTo>
                        <a:pt x="176063" y="239986"/>
                        <a:pt x="149200" y="247799"/>
                        <a:pt x="113630" y="247799"/>
                      </a:cubicBezTo>
                      <a:cubicBezTo>
                        <a:pt x="81334" y="247799"/>
                        <a:pt x="55773" y="241251"/>
                        <a:pt x="36946" y="228154"/>
                      </a:cubicBezTo>
                      <a:cubicBezTo>
                        <a:pt x="18120" y="215057"/>
                        <a:pt x="5804" y="197272"/>
                        <a:pt x="0" y="174799"/>
                      </a:cubicBezTo>
                      <a:lnTo>
                        <a:pt x="62954" y="165199"/>
                      </a:lnTo>
                      <a:cubicBezTo>
                        <a:pt x="65633" y="177403"/>
                        <a:pt x="71065" y="186668"/>
                        <a:pt x="79251" y="192993"/>
                      </a:cubicBezTo>
                      <a:cubicBezTo>
                        <a:pt x="87436" y="199318"/>
                        <a:pt x="98896" y="202481"/>
                        <a:pt x="113630" y="202481"/>
                      </a:cubicBezTo>
                      <a:cubicBezTo>
                        <a:pt x="129852" y="202481"/>
                        <a:pt x="142056" y="199504"/>
                        <a:pt x="150242" y="193551"/>
                      </a:cubicBezTo>
                      <a:cubicBezTo>
                        <a:pt x="155748" y="189384"/>
                        <a:pt x="158502" y="183803"/>
                        <a:pt x="158502" y="176808"/>
                      </a:cubicBezTo>
                      <a:cubicBezTo>
                        <a:pt x="158502" y="172046"/>
                        <a:pt x="157013" y="168102"/>
                        <a:pt x="154037" y="164976"/>
                      </a:cubicBezTo>
                      <a:cubicBezTo>
                        <a:pt x="150911" y="162000"/>
                        <a:pt x="143916" y="159246"/>
                        <a:pt x="133052" y="156716"/>
                      </a:cubicBezTo>
                      <a:cubicBezTo>
                        <a:pt x="82450" y="145554"/>
                        <a:pt x="50378" y="135359"/>
                        <a:pt x="36835" y="126132"/>
                      </a:cubicBezTo>
                      <a:cubicBezTo>
                        <a:pt x="18082" y="113333"/>
                        <a:pt x="8706" y="95548"/>
                        <a:pt x="8706" y="72777"/>
                      </a:cubicBezTo>
                      <a:cubicBezTo>
                        <a:pt x="8706" y="52239"/>
                        <a:pt x="16817" y="34975"/>
                        <a:pt x="33040" y="20985"/>
                      </a:cubicBezTo>
                      <a:cubicBezTo>
                        <a:pt x="49262" y="6995"/>
                        <a:pt x="74414" y="0"/>
                        <a:pt x="10849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3" name="Полілінія: фігура 122">
                  <a:extLst>
                    <a:ext uri="{FF2B5EF4-FFF2-40B4-BE49-F238E27FC236}">
                      <a16:creationId xmlns:a16="http://schemas.microsoft.com/office/drawing/2014/main" id="{84BEC148-3074-5EE9-4B9B-A8088DAC671F}"/>
                    </a:ext>
                  </a:extLst>
                </p:cNvPr>
                <p:cNvSpPr/>
                <p:nvPr/>
              </p:nvSpPr>
              <p:spPr>
                <a:xfrm>
                  <a:off x="2089717" y="4499784"/>
                  <a:ext cx="152387" cy="2631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91" h="242441">
                      <a:moveTo>
                        <a:pt x="112291" y="0"/>
                      </a:moveTo>
                      <a:cubicBezTo>
                        <a:pt x="126578" y="0"/>
                        <a:pt x="140345" y="3944"/>
                        <a:pt x="153591" y="11832"/>
                      </a:cubicBezTo>
                      <a:lnTo>
                        <a:pt x="134168" y="66526"/>
                      </a:lnTo>
                      <a:cubicBezTo>
                        <a:pt x="123602" y="59680"/>
                        <a:pt x="113779" y="56257"/>
                        <a:pt x="104701" y="56257"/>
                      </a:cubicBezTo>
                      <a:cubicBezTo>
                        <a:pt x="95920" y="56257"/>
                        <a:pt x="88478" y="58676"/>
                        <a:pt x="82376" y="63513"/>
                      </a:cubicBezTo>
                      <a:cubicBezTo>
                        <a:pt x="76274" y="68350"/>
                        <a:pt x="71475" y="77093"/>
                        <a:pt x="67977" y="89744"/>
                      </a:cubicBezTo>
                      <a:cubicBezTo>
                        <a:pt x="64480" y="102394"/>
                        <a:pt x="62731" y="128885"/>
                        <a:pt x="62731" y="169218"/>
                      </a:cubicBezTo>
                      <a:lnTo>
                        <a:pt x="62731" y="242441"/>
                      </a:lnTo>
                      <a:lnTo>
                        <a:pt x="0" y="242441"/>
                      </a:lnTo>
                      <a:lnTo>
                        <a:pt x="0" y="5358"/>
                      </a:lnTo>
                      <a:lnTo>
                        <a:pt x="58266" y="5358"/>
                      </a:lnTo>
                      <a:lnTo>
                        <a:pt x="58266" y="39068"/>
                      </a:lnTo>
                      <a:cubicBezTo>
                        <a:pt x="68238" y="23143"/>
                        <a:pt x="77205" y="12651"/>
                        <a:pt x="85167" y="7590"/>
                      </a:cubicBezTo>
                      <a:cubicBezTo>
                        <a:pt x="93129" y="2530"/>
                        <a:pt x="102170" y="0"/>
                        <a:pt x="11229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4" name="Полілінія: фігура 123">
                  <a:extLst>
                    <a:ext uri="{FF2B5EF4-FFF2-40B4-BE49-F238E27FC236}">
                      <a16:creationId xmlns:a16="http://schemas.microsoft.com/office/drawing/2014/main" id="{58935755-5A53-ECDF-F678-0CB595DEB05E}"/>
                    </a:ext>
                  </a:extLst>
                </p:cNvPr>
                <p:cNvSpPr/>
                <p:nvPr/>
              </p:nvSpPr>
              <p:spPr>
                <a:xfrm>
                  <a:off x="1158946" y="4505600"/>
                  <a:ext cx="62239" cy="257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31" h="237083">
                      <a:moveTo>
                        <a:pt x="0" y="0"/>
                      </a:moveTo>
                      <a:lnTo>
                        <a:pt x="62731" y="0"/>
                      </a:lnTo>
                      <a:lnTo>
                        <a:pt x="62731" y="237083"/>
                      </a:lnTo>
                      <a:lnTo>
                        <a:pt x="0" y="23708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5" name="Полілінія: фігура 124">
                  <a:extLst>
                    <a:ext uri="{FF2B5EF4-FFF2-40B4-BE49-F238E27FC236}">
                      <a16:creationId xmlns:a16="http://schemas.microsoft.com/office/drawing/2014/main" id="{FD4C2C6D-3C1B-EB5D-5A61-475F5A58A145}"/>
                    </a:ext>
                  </a:extLst>
                </p:cNvPr>
                <p:cNvSpPr/>
                <p:nvPr/>
              </p:nvSpPr>
              <p:spPr>
                <a:xfrm>
                  <a:off x="1558996" y="4505600"/>
                  <a:ext cx="62239" cy="257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31" h="237083">
                      <a:moveTo>
                        <a:pt x="0" y="0"/>
                      </a:moveTo>
                      <a:lnTo>
                        <a:pt x="62731" y="0"/>
                      </a:lnTo>
                      <a:lnTo>
                        <a:pt x="62731" y="237083"/>
                      </a:lnTo>
                      <a:lnTo>
                        <a:pt x="0" y="23708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6" name="Полілінія: фігура 125">
                  <a:extLst>
                    <a:ext uri="{FF2B5EF4-FFF2-40B4-BE49-F238E27FC236}">
                      <a16:creationId xmlns:a16="http://schemas.microsoft.com/office/drawing/2014/main" id="{5A54F524-6B9A-A593-C68A-C74638D13805}"/>
                    </a:ext>
                  </a:extLst>
                </p:cNvPr>
                <p:cNvSpPr/>
                <p:nvPr/>
              </p:nvSpPr>
              <p:spPr>
                <a:xfrm>
                  <a:off x="2243680" y="4497368"/>
                  <a:ext cx="241869" cy="3618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3780" h="333301">
                      <a:moveTo>
                        <a:pt x="0" y="0"/>
                      </a:moveTo>
                      <a:lnTo>
                        <a:pt x="66749" y="0"/>
                      </a:lnTo>
                      <a:lnTo>
                        <a:pt x="123453" y="168325"/>
                      </a:lnTo>
                      <a:lnTo>
                        <a:pt x="178817" y="0"/>
                      </a:lnTo>
                      <a:lnTo>
                        <a:pt x="243780" y="0"/>
                      </a:lnTo>
                      <a:lnTo>
                        <a:pt x="160064" y="228154"/>
                      </a:lnTo>
                      <a:lnTo>
                        <a:pt x="145107" y="269453"/>
                      </a:lnTo>
                      <a:cubicBezTo>
                        <a:pt x="139600" y="283294"/>
                        <a:pt x="134354" y="293861"/>
                        <a:pt x="129368" y="301154"/>
                      </a:cubicBezTo>
                      <a:cubicBezTo>
                        <a:pt x="124383" y="308446"/>
                        <a:pt x="118653" y="314362"/>
                        <a:pt x="112179" y="318901"/>
                      </a:cubicBezTo>
                      <a:cubicBezTo>
                        <a:pt x="105705" y="323441"/>
                        <a:pt x="97743" y="326975"/>
                        <a:pt x="88292" y="329505"/>
                      </a:cubicBezTo>
                      <a:cubicBezTo>
                        <a:pt x="78841" y="332036"/>
                        <a:pt x="68163" y="333301"/>
                        <a:pt x="56257" y="333301"/>
                      </a:cubicBezTo>
                      <a:cubicBezTo>
                        <a:pt x="44202" y="333301"/>
                        <a:pt x="32370" y="332036"/>
                        <a:pt x="20761" y="329505"/>
                      </a:cubicBezTo>
                      <a:lnTo>
                        <a:pt x="15180" y="280392"/>
                      </a:lnTo>
                      <a:cubicBezTo>
                        <a:pt x="25003" y="282327"/>
                        <a:pt x="33858" y="283294"/>
                        <a:pt x="41746" y="283294"/>
                      </a:cubicBezTo>
                      <a:cubicBezTo>
                        <a:pt x="56331" y="283294"/>
                        <a:pt x="67121" y="279016"/>
                        <a:pt x="74116" y="270458"/>
                      </a:cubicBezTo>
                      <a:cubicBezTo>
                        <a:pt x="81111" y="261900"/>
                        <a:pt x="86469" y="250999"/>
                        <a:pt x="90189" y="23775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7" name="Полілінія: фігура 126">
                  <a:extLst>
                    <a:ext uri="{FF2B5EF4-FFF2-40B4-BE49-F238E27FC236}">
                      <a16:creationId xmlns:a16="http://schemas.microsoft.com/office/drawing/2014/main" id="{FE57A4D0-B585-93C6-9300-62330409B0F5}"/>
                    </a:ext>
                  </a:extLst>
                </p:cNvPr>
                <p:cNvSpPr/>
                <p:nvPr/>
              </p:nvSpPr>
              <p:spPr>
                <a:xfrm>
                  <a:off x="1017187" y="4944560"/>
                  <a:ext cx="159032" cy="3613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288" h="332854">
                      <a:moveTo>
                        <a:pt x="107826" y="0"/>
                      </a:moveTo>
                      <a:cubicBezTo>
                        <a:pt x="125685" y="0"/>
                        <a:pt x="143173" y="2679"/>
                        <a:pt x="160288" y="8037"/>
                      </a:cubicBezTo>
                      <a:lnTo>
                        <a:pt x="151805" y="51792"/>
                      </a:lnTo>
                      <a:cubicBezTo>
                        <a:pt x="141833" y="49411"/>
                        <a:pt x="132234" y="48220"/>
                        <a:pt x="123006" y="48220"/>
                      </a:cubicBezTo>
                      <a:cubicBezTo>
                        <a:pt x="113928" y="48220"/>
                        <a:pt x="107417" y="50341"/>
                        <a:pt x="103473" y="54583"/>
                      </a:cubicBezTo>
                      <a:cubicBezTo>
                        <a:pt x="99529" y="58824"/>
                        <a:pt x="97557" y="66973"/>
                        <a:pt x="97557" y="79028"/>
                      </a:cubicBezTo>
                      <a:lnTo>
                        <a:pt x="97557" y="95771"/>
                      </a:lnTo>
                      <a:lnTo>
                        <a:pt x="144438" y="95771"/>
                      </a:lnTo>
                      <a:lnTo>
                        <a:pt x="144438" y="145108"/>
                      </a:lnTo>
                      <a:lnTo>
                        <a:pt x="97557" y="145108"/>
                      </a:lnTo>
                      <a:lnTo>
                        <a:pt x="97557" y="332854"/>
                      </a:lnTo>
                      <a:lnTo>
                        <a:pt x="34826" y="332854"/>
                      </a:lnTo>
                      <a:lnTo>
                        <a:pt x="34826" y="145108"/>
                      </a:lnTo>
                      <a:lnTo>
                        <a:pt x="0" y="145108"/>
                      </a:lnTo>
                      <a:lnTo>
                        <a:pt x="0" y="95771"/>
                      </a:lnTo>
                      <a:lnTo>
                        <a:pt x="34826" y="95771"/>
                      </a:lnTo>
                      <a:lnTo>
                        <a:pt x="34826" y="77912"/>
                      </a:lnTo>
                      <a:cubicBezTo>
                        <a:pt x="34826" y="57969"/>
                        <a:pt x="36946" y="43086"/>
                        <a:pt x="41188" y="33263"/>
                      </a:cubicBezTo>
                      <a:cubicBezTo>
                        <a:pt x="45430" y="23441"/>
                        <a:pt x="53243" y="15441"/>
                        <a:pt x="64628" y="9265"/>
                      </a:cubicBezTo>
                      <a:cubicBezTo>
                        <a:pt x="76014" y="3088"/>
                        <a:pt x="90413" y="0"/>
                        <a:pt x="10782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8" name="Полілінія: фігура 127">
                  <a:extLst>
                    <a:ext uri="{FF2B5EF4-FFF2-40B4-BE49-F238E27FC236}">
                      <a16:creationId xmlns:a16="http://schemas.microsoft.com/office/drawing/2014/main" id="{A640A48B-7C3C-5CD7-9CE6-DD6807BF13A0}"/>
                    </a:ext>
                  </a:extLst>
                </p:cNvPr>
                <p:cNvSpPr/>
                <p:nvPr/>
              </p:nvSpPr>
              <p:spPr>
                <a:xfrm>
                  <a:off x="1330843" y="4950619"/>
                  <a:ext cx="246964" cy="3552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8915" h="327273">
                      <a:moveTo>
                        <a:pt x="0" y="0"/>
                      </a:moveTo>
                      <a:lnTo>
                        <a:pt x="242664" y="0"/>
                      </a:lnTo>
                      <a:lnTo>
                        <a:pt x="242664" y="55364"/>
                      </a:lnTo>
                      <a:lnTo>
                        <a:pt x="66080" y="55364"/>
                      </a:lnTo>
                      <a:lnTo>
                        <a:pt x="66080" y="127918"/>
                      </a:lnTo>
                      <a:lnTo>
                        <a:pt x="230386" y="127918"/>
                      </a:lnTo>
                      <a:lnTo>
                        <a:pt x="230386" y="183059"/>
                      </a:lnTo>
                      <a:lnTo>
                        <a:pt x="66080" y="183059"/>
                      </a:lnTo>
                      <a:lnTo>
                        <a:pt x="66080" y="272132"/>
                      </a:lnTo>
                      <a:lnTo>
                        <a:pt x="248915" y="272132"/>
                      </a:lnTo>
                      <a:lnTo>
                        <a:pt x="248915" y="327273"/>
                      </a:lnTo>
                      <a:lnTo>
                        <a:pt x="0" y="32727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9" name="Полілінія: фігура 128">
                  <a:extLst>
                    <a:ext uri="{FF2B5EF4-FFF2-40B4-BE49-F238E27FC236}">
                      <a16:creationId xmlns:a16="http://schemas.microsoft.com/office/drawing/2014/main" id="{97C2C16B-9BA0-1D60-8A31-A067BD831878}"/>
                    </a:ext>
                  </a:extLst>
                </p:cNvPr>
                <p:cNvSpPr/>
                <p:nvPr/>
              </p:nvSpPr>
              <p:spPr>
                <a:xfrm>
                  <a:off x="753910" y="5042249"/>
                  <a:ext cx="242755" cy="2689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673" h="247799">
                      <a:moveTo>
                        <a:pt x="122113" y="0"/>
                      </a:moveTo>
                      <a:cubicBezTo>
                        <a:pt x="157981" y="0"/>
                        <a:pt x="187375" y="11646"/>
                        <a:pt x="210294" y="34938"/>
                      </a:cubicBezTo>
                      <a:cubicBezTo>
                        <a:pt x="233214" y="58229"/>
                        <a:pt x="244673" y="87660"/>
                        <a:pt x="244673" y="123230"/>
                      </a:cubicBezTo>
                      <a:cubicBezTo>
                        <a:pt x="244673" y="159097"/>
                        <a:pt x="233102" y="188826"/>
                        <a:pt x="209959" y="212415"/>
                      </a:cubicBezTo>
                      <a:cubicBezTo>
                        <a:pt x="186816" y="236004"/>
                        <a:pt x="157683" y="247799"/>
                        <a:pt x="122560" y="247799"/>
                      </a:cubicBezTo>
                      <a:cubicBezTo>
                        <a:pt x="100831" y="247799"/>
                        <a:pt x="80107" y="242888"/>
                        <a:pt x="60387" y="233065"/>
                      </a:cubicBezTo>
                      <a:cubicBezTo>
                        <a:pt x="40667" y="223242"/>
                        <a:pt x="25673" y="208843"/>
                        <a:pt x="15404" y="189868"/>
                      </a:cubicBezTo>
                      <a:cubicBezTo>
                        <a:pt x="5135" y="170892"/>
                        <a:pt x="0" y="147787"/>
                        <a:pt x="0" y="120551"/>
                      </a:cubicBezTo>
                      <a:cubicBezTo>
                        <a:pt x="0" y="99715"/>
                        <a:pt x="5135" y="79549"/>
                        <a:pt x="15404" y="60052"/>
                      </a:cubicBezTo>
                      <a:cubicBezTo>
                        <a:pt x="25673" y="40556"/>
                        <a:pt x="40221" y="25673"/>
                        <a:pt x="59048" y="15404"/>
                      </a:cubicBezTo>
                      <a:cubicBezTo>
                        <a:pt x="77874" y="5135"/>
                        <a:pt x="98896" y="0"/>
                        <a:pt x="122113" y="0"/>
                      </a:cubicBezTo>
                      <a:close/>
                      <a:moveTo>
                        <a:pt x="122337" y="51123"/>
                      </a:moveTo>
                      <a:cubicBezTo>
                        <a:pt x="105966" y="51123"/>
                        <a:pt x="92199" y="57373"/>
                        <a:pt x="81037" y="69875"/>
                      </a:cubicBezTo>
                      <a:cubicBezTo>
                        <a:pt x="69875" y="82377"/>
                        <a:pt x="64294" y="100385"/>
                        <a:pt x="64294" y="123900"/>
                      </a:cubicBezTo>
                      <a:cubicBezTo>
                        <a:pt x="64294" y="147414"/>
                        <a:pt x="69875" y="165423"/>
                        <a:pt x="81037" y="177924"/>
                      </a:cubicBezTo>
                      <a:cubicBezTo>
                        <a:pt x="92199" y="190426"/>
                        <a:pt x="105966" y="196677"/>
                        <a:pt x="122337" y="196677"/>
                      </a:cubicBezTo>
                      <a:cubicBezTo>
                        <a:pt x="138708" y="196677"/>
                        <a:pt x="152437" y="190426"/>
                        <a:pt x="163525" y="177924"/>
                      </a:cubicBezTo>
                      <a:cubicBezTo>
                        <a:pt x="174613" y="165423"/>
                        <a:pt x="180156" y="147266"/>
                        <a:pt x="180156" y="123453"/>
                      </a:cubicBezTo>
                      <a:cubicBezTo>
                        <a:pt x="180156" y="100236"/>
                        <a:pt x="174613" y="82377"/>
                        <a:pt x="163525" y="69875"/>
                      </a:cubicBezTo>
                      <a:cubicBezTo>
                        <a:pt x="152437" y="57373"/>
                        <a:pt x="138708" y="51123"/>
                        <a:pt x="122337" y="51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0" name="Полілінія: фігура 129">
                  <a:extLst>
                    <a:ext uri="{FF2B5EF4-FFF2-40B4-BE49-F238E27FC236}">
                      <a16:creationId xmlns:a16="http://schemas.microsoft.com/office/drawing/2014/main" id="{67D02E84-F0F2-FC91-1052-142A25C25E2B}"/>
                    </a:ext>
                  </a:extLst>
                </p:cNvPr>
                <p:cNvSpPr/>
                <p:nvPr/>
              </p:nvSpPr>
              <p:spPr>
                <a:xfrm>
                  <a:off x="1634749" y="5042709"/>
                  <a:ext cx="214405" cy="2631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99" h="242441">
                      <a:moveTo>
                        <a:pt x="136401" y="0"/>
                      </a:moveTo>
                      <a:cubicBezTo>
                        <a:pt x="150242" y="0"/>
                        <a:pt x="162893" y="2493"/>
                        <a:pt x="174352" y="7479"/>
                      </a:cubicBezTo>
                      <a:cubicBezTo>
                        <a:pt x="185812" y="12465"/>
                        <a:pt x="194481" y="18827"/>
                        <a:pt x="200360" y="26566"/>
                      </a:cubicBezTo>
                      <a:cubicBezTo>
                        <a:pt x="206239" y="34305"/>
                        <a:pt x="210332" y="43086"/>
                        <a:pt x="212638" y="52909"/>
                      </a:cubicBezTo>
                      <a:cubicBezTo>
                        <a:pt x="214945" y="62731"/>
                        <a:pt x="216099" y="76796"/>
                        <a:pt x="216099" y="95101"/>
                      </a:cubicBezTo>
                      <a:lnTo>
                        <a:pt x="216099" y="242441"/>
                      </a:lnTo>
                      <a:lnTo>
                        <a:pt x="153368" y="242441"/>
                      </a:lnTo>
                      <a:lnTo>
                        <a:pt x="153368" y="121444"/>
                      </a:lnTo>
                      <a:cubicBezTo>
                        <a:pt x="153368" y="95846"/>
                        <a:pt x="152028" y="79288"/>
                        <a:pt x="149349" y="71773"/>
                      </a:cubicBezTo>
                      <a:cubicBezTo>
                        <a:pt x="146670" y="64257"/>
                        <a:pt x="142317" y="58415"/>
                        <a:pt x="136290" y="54248"/>
                      </a:cubicBezTo>
                      <a:cubicBezTo>
                        <a:pt x="130262" y="50081"/>
                        <a:pt x="123007" y="47997"/>
                        <a:pt x="114523" y="47997"/>
                      </a:cubicBezTo>
                      <a:cubicBezTo>
                        <a:pt x="103659" y="47997"/>
                        <a:pt x="93911" y="50974"/>
                        <a:pt x="85279" y="56927"/>
                      </a:cubicBezTo>
                      <a:cubicBezTo>
                        <a:pt x="76647" y="62880"/>
                        <a:pt x="70731" y="70768"/>
                        <a:pt x="67531" y="80591"/>
                      </a:cubicBezTo>
                      <a:cubicBezTo>
                        <a:pt x="64331" y="90413"/>
                        <a:pt x="62731" y="108570"/>
                        <a:pt x="62731" y="135062"/>
                      </a:cubicBezTo>
                      <a:lnTo>
                        <a:pt x="62731" y="242441"/>
                      </a:lnTo>
                      <a:lnTo>
                        <a:pt x="0" y="242441"/>
                      </a:lnTo>
                      <a:lnTo>
                        <a:pt x="0" y="5358"/>
                      </a:lnTo>
                      <a:lnTo>
                        <a:pt x="58266" y="5358"/>
                      </a:lnTo>
                      <a:lnTo>
                        <a:pt x="58266" y="40184"/>
                      </a:lnTo>
                      <a:cubicBezTo>
                        <a:pt x="78953" y="13395"/>
                        <a:pt x="104998" y="0"/>
                        <a:pt x="1364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1" name="Полілінія: фігура 130">
                  <a:extLst>
                    <a:ext uri="{FF2B5EF4-FFF2-40B4-BE49-F238E27FC236}">
                      <a16:creationId xmlns:a16="http://schemas.microsoft.com/office/drawing/2014/main" id="{1E222939-085A-BFBE-C148-BF99CEADFC3C}"/>
                    </a:ext>
                  </a:extLst>
                </p:cNvPr>
                <p:cNvSpPr/>
                <p:nvPr/>
              </p:nvSpPr>
              <p:spPr>
                <a:xfrm>
                  <a:off x="1893115" y="5042249"/>
                  <a:ext cx="219776" cy="2689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512" h="247799">
                      <a:moveTo>
                        <a:pt x="108719" y="0"/>
                      </a:moveTo>
                      <a:cubicBezTo>
                        <a:pt x="143991" y="0"/>
                        <a:pt x="171822" y="11646"/>
                        <a:pt x="192211" y="34938"/>
                      </a:cubicBezTo>
                      <a:cubicBezTo>
                        <a:pt x="212601" y="58229"/>
                        <a:pt x="222349" y="93911"/>
                        <a:pt x="221456" y="141982"/>
                      </a:cubicBezTo>
                      <a:lnTo>
                        <a:pt x="64294" y="141982"/>
                      </a:lnTo>
                      <a:cubicBezTo>
                        <a:pt x="64740" y="160586"/>
                        <a:pt x="69800" y="175059"/>
                        <a:pt x="79474" y="185403"/>
                      </a:cubicBezTo>
                      <a:cubicBezTo>
                        <a:pt x="89148" y="195746"/>
                        <a:pt x="101203" y="200918"/>
                        <a:pt x="115639" y="200918"/>
                      </a:cubicBezTo>
                      <a:cubicBezTo>
                        <a:pt x="125462" y="200918"/>
                        <a:pt x="133722" y="198239"/>
                        <a:pt x="140419" y="192881"/>
                      </a:cubicBezTo>
                      <a:cubicBezTo>
                        <a:pt x="147116" y="187524"/>
                        <a:pt x="152177" y="178892"/>
                        <a:pt x="155600" y="166985"/>
                      </a:cubicBezTo>
                      <a:lnTo>
                        <a:pt x="218108" y="177478"/>
                      </a:lnTo>
                      <a:cubicBezTo>
                        <a:pt x="210071" y="200397"/>
                        <a:pt x="197383" y="217847"/>
                        <a:pt x="180045" y="229828"/>
                      </a:cubicBezTo>
                      <a:cubicBezTo>
                        <a:pt x="162706" y="241809"/>
                        <a:pt x="141015" y="247799"/>
                        <a:pt x="114970" y="247799"/>
                      </a:cubicBezTo>
                      <a:cubicBezTo>
                        <a:pt x="73744" y="247799"/>
                        <a:pt x="43234" y="234330"/>
                        <a:pt x="23440" y="207392"/>
                      </a:cubicBezTo>
                      <a:cubicBezTo>
                        <a:pt x="7813" y="185812"/>
                        <a:pt x="0" y="158577"/>
                        <a:pt x="0" y="125686"/>
                      </a:cubicBezTo>
                      <a:cubicBezTo>
                        <a:pt x="0" y="86395"/>
                        <a:pt x="10269" y="55625"/>
                        <a:pt x="30807" y="33375"/>
                      </a:cubicBezTo>
                      <a:cubicBezTo>
                        <a:pt x="51346" y="11125"/>
                        <a:pt x="77316" y="0"/>
                        <a:pt x="108719" y="0"/>
                      </a:cubicBezTo>
                      <a:close/>
                      <a:moveTo>
                        <a:pt x="112514" y="47997"/>
                      </a:moveTo>
                      <a:cubicBezTo>
                        <a:pt x="98822" y="47997"/>
                        <a:pt x="87511" y="52983"/>
                        <a:pt x="78581" y="62955"/>
                      </a:cubicBezTo>
                      <a:cubicBezTo>
                        <a:pt x="69651" y="72926"/>
                        <a:pt x="65261" y="86469"/>
                        <a:pt x="65410" y="103585"/>
                      </a:cubicBezTo>
                      <a:lnTo>
                        <a:pt x="159172" y="103585"/>
                      </a:lnTo>
                      <a:cubicBezTo>
                        <a:pt x="158725" y="85428"/>
                        <a:pt x="154037" y="71624"/>
                        <a:pt x="145107" y="62173"/>
                      </a:cubicBezTo>
                      <a:cubicBezTo>
                        <a:pt x="136178" y="52723"/>
                        <a:pt x="125313" y="47997"/>
                        <a:pt x="112514" y="479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2" name="Полілінія: фігура 131">
                  <a:extLst>
                    <a:ext uri="{FF2B5EF4-FFF2-40B4-BE49-F238E27FC236}">
                      <a16:creationId xmlns:a16="http://schemas.microsoft.com/office/drawing/2014/main" id="{8CEDB6AB-57FB-F541-411F-440A526DEB18}"/>
                    </a:ext>
                  </a:extLst>
                </p:cNvPr>
                <p:cNvSpPr/>
                <p:nvPr/>
              </p:nvSpPr>
              <p:spPr>
                <a:xfrm>
                  <a:off x="2165917" y="5042709"/>
                  <a:ext cx="152387" cy="2631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91" h="242441">
                      <a:moveTo>
                        <a:pt x="112291" y="0"/>
                      </a:moveTo>
                      <a:cubicBezTo>
                        <a:pt x="126578" y="0"/>
                        <a:pt x="140345" y="3944"/>
                        <a:pt x="153591" y="11832"/>
                      </a:cubicBezTo>
                      <a:lnTo>
                        <a:pt x="134168" y="66526"/>
                      </a:lnTo>
                      <a:cubicBezTo>
                        <a:pt x="123602" y="59680"/>
                        <a:pt x="113779" y="56257"/>
                        <a:pt x="104701" y="56257"/>
                      </a:cubicBezTo>
                      <a:cubicBezTo>
                        <a:pt x="95920" y="56257"/>
                        <a:pt x="88478" y="58676"/>
                        <a:pt x="82376" y="63513"/>
                      </a:cubicBezTo>
                      <a:cubicBezTo>
                        <a:pt x="76274" y="68350"/>
                        <a:pt x="71475" y="77093"/>
                        <a:pt x="67977" y="89744"/>
                      </a:cubicBezTo>
                      <a:cubicBezTo>
                        <a:pt x="64480" y="102394"/>
                        <a:pt x="62731" y="128885"/>
                        <a:pt x="62731" y="169218"/>
                      </a:cubicBezTo>
                      <a:lnTo>
                        <a:pt x="62731" y="242441"/>
                      </a:lnTo>
                      <a:lnTo>
                        <a:pt x="0" y="242441"/>
                      </a:lnTo>
                      <a:lnTo>
                        <a:pt x="0" y="5358"/>
                      </a:lnTo>
                      <a:lnTo>
                        <a:pt x="58266" y="5358"/>
                      </a:lnTo>
                      <a:lnTo>
                        <a:pt x="58266" y="39068"/>
                      </a:lnTo>
                      <a:cubicBezTo>
                        <a:pt x="68238" y="23143"/>
                        <a:pt x="77205" y="12651"/>
                        <a:pt x="85167" y="7590"/>
                      </a:cubicBezTo>
                      <a:cubicBezTo>
                        <a:pt x="93129" y="2530"/>
                        <a:pt x="102170" y="0"/>
                        <a:pt x="11229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3" name="Полілінія: фігура 132">
                  <a:extLst>
                    <a:ext uri="{FF2B5EF4-FFF2-40B4-BE49-F238E27FC236}">
                      <a16:creationId xmlns:a16="http://schemas.microsoft.com/office/drawing/2014/main" id="{D0966FC3-05C5-32E3-77CF-83EA1E1FABAC}"/>
                    </a:ext>
                  </a:extLst>
                </p:cNvPr>
                <p:cNvSpPr/>
                <p:nvPr/>
              </p:nvSpPr>
              <p:spPr>
                <a:xfrm>
                  <a:off x="2335507" y="5034477"/>
                  <a:ext cx="229465" cy="3676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1278" h="338659">
                      <a:moveTo>
                        <a:pt x="100012" y="0"/>
                      </a:moveTo>
                      <a:cubicBezTo>
                        <a:pt x="129331" y="0"/>
                        <a:pt x="153516" y="12874"/>
                        <a:pt x="172566" y="38621"/>
                      </a:cubicBezTo>
                      <a:lnTo>
                        <a:pt x="172566" y="5358"/>
                      </a:lnTo>
                      <a:lnTo>
                        <a:pt x="231278" y="5358"/>
                      </a:lnTo>
                      <a:lnTo>
                        <a:pt x="231278" y="218108"/>
                      </a:lnTo>
                      <a:cubicBezTo>
                        <a:pt x="231278" y="246088"/>
                        <a:pt x="228972" y="266998"/>
                        <a:pt x="224358" y="280839"/>
                      </a:cubicBezTo>
                      <a:cubicBezTo>
                        <a:pt x="219744" y="294680"/>
                        <a:pt x="213270" y="305544"/>
                        <a:pt x="204936" y="313432"/>
                      </a:cubicBezTo>
                      <a:cubicBezTo>
                        <a:pt x="196602" y="321320"/>
                        <a:pt x="185477" y="327496"/>
                        <a:pt x="171561" y="331961"/>
                      </a:cubicBezTo>
                      <a:cubicBezTo>
                        <a:pt x="157646" y="336426"/>
                        <a:pt x="140047" y="338659"/>
                        <a:pt x="118764" y="338659"/>
                      </a:cubicBezTo>
                      <a:cubicBezTo>
                        <a:pt x="78581" y="338659"/>
                        <a:pt x="50080" y="331775"/>
                        <a:pt x="33263" y="318009"/>
                      </a:cubicBezTo>
                      <a:cubicBezTo>
                        <a:pt x="16445" y="304242"/>
                        <a:pt x="8036" y="286792"/>
                        <a:pt x="8036" y="265658"/>
                      </a:cubicBezTo>
                      <a:cubicBezTo>
                        <a:pt x="8036" y="263575"/>
                        <a:pt x="8111" y="261045"/>
                        <a:pt x="8260" y="258068"/>
                      </a:cubicBezTo>
                      <a:lnTo>
                        <a:pt x="79920" y="266775"/>
                      </a:lnTo>
                      <a:cubicBezTo>
                        <a:pt x="81111" y="275109"/>
                        <a:pt x="83864" y="280839"/>
                        <a:pt x="88180" y="283964"/>
                      </a:cubicBezTo>
                      <a:cubicBezTo>
                        <a:pt x="94133" y="288429"/>
                        <a:pt x="103510" y="290662"/>
                        <a:pt x="116309" y="290662"/>
                      </a:cubicBezTo>
                      <a:cubicBezTo>
                        <a:pt x="132680" y="290662"/>
                        <a:pt x="144958" y="288206"/>
                        <a:pt x="153144" y="283295"/>
                      </a:cubicBezTo>
                      <a:cubicBezTo>
                        <a:pt x="158650" y="280020"/>
                        <a:pt x="162818" y="274737"/>
                        <a:pt x="165645" y="267444"/>
                      </a:cubicBezTo>
                      <a:cubicBezTo>
                        <a:pt x="167580" y="262235"/>
                        <a:pt x="168547" y="252636"/>
                        <a:pt x="168547" y="238646"/>
                      </a:cubicBezTo>
                      <a:lnTo>
                        <a:pt x="168547" y="204044"/>
                      </a:lnTo>
                      <a:cubicBezTo>
                        <a:pt x="149795" y="229642"/>
                        <a:pt x="126131" y="242441"/>
                        <a:pt x="97556" y="242441"/>
                      </a:cubicBezTo>
                      <a:cubicBezTo>
                        <a:pt x="65707" y="242441"/>
                        <a:pt x="40481" y="228972"/>
                        <a:pt x="21877" y="202034"/>
                      </a:cubicBezTo>
                      <a:cubicBezTo>
                        <a:pt x="7292" y="180752"/>
                        <a:pt x="0" y="154261"/>
                        <a:pt x="0" y="122560"/>
                      </a:cubicBezTo>
                      <a:cubicBezTo>
                        <a:pt x="0" y="82823"/>
                        <a:pt x="9562" y="52462"/>
                        <a:pt x="28686" y="31477"/>
                      </a:cubicBezTo>
                      <a:cubicBezTo>
                        <a:pt x="47811" y="10493"/>
                        <a:pt x="71586" y="0"/>
                        <a:pt x="100012" y="0"/>
                      </a:cubicBezTo>
                      <a:close/>
                      <a:moveTo>
                        <a:pt x="116086" y="47997"/>
                      </a:moveTo>
                      <a:cubicBezTo>
                        <a:pt x="101054" y="47997"/>
                        <a:pt x="88664" y="53839"/>
                        <a:pt x="78916" y="65522"/>
                      </a:cubicBezTo>
                      <a:cubicBezTo>
                        <a:pt x="69167" y="77205"/>
                        <a:pt x="64293" y="95027"/>
                        <a:pt x="64293" y="118988"/>
                      </a:cubicBezTo>
                      <a:cubicBezTo>
                        <a:pt x="64293" y="144140"/>
                        <a:pt x="69167" y="162558"/>
                        <a:pt x="78916" y="174241"/>
                      </a:cubicBezTo>
                      <a:cubicBezTo>
                        <a:pt x="88664" y="185924"/>
                        <a:pt x="100682" y="191765"/>
                        <a:pt x="114969" y="191765"/>
                      </a:cubicBezTo>
                      <a:cubicBezTo>
                        <a:pt x="130299" y="191765"/>
                        <a:pt x="143247" y="185775"/>
                        <a:pt x="153813" y="173794"/>
                      </a:cubicBezTo>
                      <a:cubicBezTo>
                        <a:pt x="164380" y="161814"/>
                        <a:pt x="169664" y="144066"/>
                        <a:pt x="169664" y="120551"/>
                      </a:cubicBezTo>
                      <a:cubicBezTo>
                        <a:pt x="169664" y="95994"/>
                        <a:pt x="164603" y="77763"/>
                        <a:pt x="154483" y="65857"/>
                      </a:cubicBezTo>
                      <a:cubicBezTo>
                        <a:pt x="144363" y="53950"/>
                        <a:pt x="131564" y="47997"/>
                        <a:pt x="116086" y="479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4" name="Полілінія: фігура 133">
                  <a:extLst>
                    <a:ext uri="{FF2B5EF4-FFF2-40B4-BE49-F238E27FC236}">
                      <a16:creationId xmlns:a16="http://schemas.microsoft.com/office/drawing/2014/main" id="{A1B89728-A9D2-1B9A-C916-8068FC114EE6}"/>
                    </a:ext>
                  </a:extLst>
                </p:cNvPr>
                <p:cNvSpPr/>
                <p:nvPr/>
              </p:nvSpPr>
              <p:spPr>
                <a:xfrm>
                  <a:off x="2596105" y="5040293"/>
                  <a:ext cx="241869" cy="3618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3780" h="333301">
                      <a:moveTo>
                        <a:pt x="0" y="0"/>
                      </a:moveTo>
                      <a:lnTo>
                        <a:pt x="66749" y="0"/>
                      </a:lnTo>
                      <a:lnTo>
                        <a:pt x="123453" y="168325"/>
                      </a:lnTo>
                      <a:lnTo>
                        <a:pt x="178817" y="0"/>
                      </a:lnTo>
                      <a:lnTo>
                        <a:pt x="243780" y="0"/>
                      </a:lnTo>
                      <a:lnTo>
                        <a:pt x="160064" y="228154"/>
                      </a:lnTo>
                      <a:lnTo>
                        <a:pt x="145107" y="269453"/>
                      </a:lnTo>
                      <a:cubicBezTo>
                        <a:pt x="139600" y="283294"/>
                        <a:pt x="134354" y="293861"/>
                        <a:pt x="129368" y="301154"/>
                      </a:cubicBezTo>
                      <a:cubicBezTo>
                        <a:pt x="124383" y="308446"/>
                        <a:pt x="118653" y="314362"/>
                        <a:pt x="112179" y="318901"/>
                      </a:cubicBezTo>
                      <a:cubicBezTo>
                        <a:pt x="105705" y="323441"/>
                        <a:pt x="97743" y="326975"/>
                        <a:pt x="88292" y="329505"/>
                      </a:cubicBezTo>
                      <a:cubicBezTo>
                        <a:pt x="78841" y="332036"/>
                        <a:pt x="68163" y="333301"/>
                        <a:pt x="56257" y="333301"/>
                      </a:cubicBezTo>
                      <a:cubicBezTo>
                        <a:pt x="44202" y="333301"/>
                        <a:pt x="32370" y="332036"/>
                        <a:pt x="20761" y="329505"/>
                      </a:cubicBezTo>
                      <a:lnTo>
                        <a:pt x="15180" y="280392"/>
                      </a:lnTo>
                      <a:cubicBezTo>
                        <a:pt x="25003" y="282327"/>
                        <a:pt x="33858" y="283294"/>
                        <a:pt x="41746" y="283294"/>
                      </a:cubicBezTo>
                      <a:cubicBezTo>
                        <a:pt x="56331" y="283294"/>
                        <a:pt x="67121" y="279016"/>
                        <a:pt x="74116" y="270458"/>
                      </a:cubicBezTo>
                      <a:cubicBezTo>
                        <a:pt x="81111" y="261900"/>
                        <a:pt x="86469" y="250999"/>
                        <a:pt x="90189" y="23775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5" name="Полілінія: фігура 134">
                  <a:extLst>
                    <a:ext uri="{FF2B5EF4-FFF2-40B4-BE49-F238E27FC236}">
                      <a16:creationId xmlns:a16="http://schemas.microsoft.com/office/drawing/2014/main" id="{4CEFAC7C-F785-34CF-47BB-18EDD5341686}"/>
                    </a:ext>
                  </a:extLst>
                </p:cNvPr>
                <p:cNvSpPr/>
                <p:nvPr/>
              </p:nvSpPr>
              <p:spPr>
                <a:xfrm>
                  <a:off x="1017187" y="5497010"/>
                  <a:ext cx="159032" cy="3613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288" h="332854">
                      <a:moveTo>
                        <a:pt x="107826" y="0"/>
                      </a:moveTo>
                      <a:cubicBezTo>
                        <a:pt x="125685" y="0"/>
                        <a:pt x="143173" y="2679"/>
                        <a:pt x="160288" y="8037"/>
                      </a:cubicBezTo>
                      <a:lnTo>
                        <a:pt x="151805" y="51792"/>
                      </a:lnTo>
                      <a:cubicBezTo>
                        <a:pt x="141833" y="49411"/>
                        <a:pt x="132234" y="48220"/>
                        <a:pt x="123006" y="48220"/>
                      </a:cubicBezTo>
                      <a:cubicBezTo>
                        <a:pt x="113928" y="48220"/>
                        <a:pt x="107417" y="50341"/>
                        <a:pt x="103473" y="54583"/>
                      </a:cubicBezTo>
                      <a:cubicBezTo>
                        <a:pt x="99529" y="58824"/>
                        <a:pt x="97557" y="66973"/>
                        <a:pt x="97557" y="79028"/>
                      </a:cubicBezTo>
                      <a:lnTo>
                        <a:pt x="97557" y="95771"/>
                      </a:lnTo>
                      <a:lnTo>
                        <a:pt x="144438" y="95771"/>
                      </a:lnTo>
                      <a:lnTo>
                        <a:pt x="144438" y="145108"/>
                      </a:lnTo>
                      <a:lnTo>
                        <a:pt x="97557" y="145108"/>
                      </a:lnTo>
                      <a:lnTo>
                        <a:pt x="97557" y="332854"/>
                      </a:lnTo>
                      <a:lnTo>
                        <a:pt x="34826" y="332854"/>
                      </a:lnTo>
                      <a:lnTo>
                        <a:pt x="34826" y="145108"/>
                      </a:lnTo>
                      <a:lnTo>
                        <a:pt x="0" y="145108"/>
                      </a:lnTo>
                      <a:lnTo>
                        <a:pt x="0" y="95771"/>
                      </a:lnTo>
                      <a:lnTo>
                        <a:pt x="34826" y="95771"/>
                      </a:lnTo>
                      <a:lnTo>
                        <a:pt x="34826" y="77912"/>
                      </a:lnTo>
                      <a:cubicBezTo>
                        <a:pt x="34826" y="57969"/>
                        <a:pt x="36946" y="43086"/>
                        <a:pt x="41188" y="33263"/>
                      </a:cubicBezTo>
                      <a:cubicBezTo>
                        <a:pt x="45430" y="23441"/>
                        <a:pt x="53243" y="15441"/>
                        <a:pt x="64628" y="9265"/>
                      </a:cubicBezTo>
                      <a:cubicBezTo>
                        <a:pt x="76014" y="3088"/>
                        <a:pt x="90413" y="0"/>
                        <a:pt x="10782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6" name="Полілінія: фігура 135">
                  <a:extLst>
                    <a:ext uri="{FF2B5EF4-FFF2-40B4-BE49-F238E27FC236}">
                      <a16:creationId xmlns:a16="http://schemas.microsoft.com/office/drawing/2014/main" id="{C4CA44A6-180D-6921-7F38-A7E24F1CC714}"/>
                    </a:ext>
                  </a:extLst>
                </p:cNvPr>
                <p:cNvSpPr/>
                <p:nvPr/>
              </p:nvSpPr>
              <p:spPr>
                <a:xfrm>
                  <a:off x="1330396" y="5502591"/>
                  <a:ext cx="258925" cy="36132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0970" h="332854">
                      <a:moveTo>
                        <a:pt x="0" y="0"/>
                      </a:moveTo>
                      <a:lnTo>
                        <a:pt x="66079" y="0"/>
                      </a:lnTo>
                      <a:lnTo>
                        <a:pt x="66079" y="177254"/>
                      </a:lnTo>
                      <a:cubicBezTo>
                        <a:pt x="66079" y="205383"/>
                        <a:pt x="66898" y="223614"/>
                        <a:pt x="68535" y="231949"/>
                      </a:cubicBezTo>
                      <a:cubicBezTo>
                        <a:pt x="71363" y="245343"/>
                        <a:pt x="78097" y="256096"/>
                        <a:pt x="88738" y="264207"/>
                      </a:cubicBezTo>
                      <a:cubicBezTo>
                        <a:pt x="99380" y="272318"/>
                        <a:pt x="113928" y="276374"/>
                        <a:pt x="132382" y="276374"/>
                      </a:cubicBezTo>
                      <a:cubicBezTo>
                        <a:pt x="151135" y="276374"/>
                        <a:pt x="165273" y="272542"/>
                        <a:pt x="174798" y="264877"/>
                      </a:cubicBezTo>
                      <a:cubicBezTo>
                        <a:pt x="184323" y="257212"/>
                        <a:pt x="190053" y="247799"/>
                        <a:pt x="191988" y="236637"/>
                      </a:cubicBezTo>
                      <a:cubicBezTo>
                        <a:pt x="193923" y="225475"/>
                        <a:pt x="194890" y="206946"/>
                        <a:pt x="194890" y="181050"/>
                      </a:cubicBezTo>
                      <a:lnTo>
                        <a:pt x="194890" y="0"/>
                      </a:lnTo>
                      <a:lnTo>
                        <a:pt x="260970" y="0"/>
                      </a:lnTo>
                      <a:lnTo>
                        <a:pt x="260970" y="171897"/>
                      </a:lnTo>
                      <a:cubicBezTo>
                        <a:pt x="260970" y="211187"/>
                        <a:pt x="259184" y="238944"/>
                        <a:pt x="255612" y="255166"/>
                      </a:cubicBezTo>
                      <a:cubicBezTo>
                        <a:pt x="252040" y="271388"/>
                        <a:pt x="245454" y="285080"/>
                        <a:pt x="235855" y="296243"/>
                      </a:cubicBezTo>
                      <a:cubicBezTo>
                        <a:pt x="226256" y="307405"/>
                        <a:pt x="213419" y="316297"/>
                        <a:pt x="197346" y="322920"/>
                      </a:cubicBezTo>
                      <a:cubicBezTo>
                        <a:pt x="181272" y="329543"/>
                        <a:pt x="160288" y="332854"/>
                        <a:pt x="134391" y="332854"/>
                      </a:cubicBezTo>
                      <a:cubicBezTo>
                        <a:pt x="103138" y="332854"/>
                        <a:pt x="79437" y="329245"/>
                        <a:pt x="63289" y="322027"/>
                      </a:cubicBezTo>
                      <a:cubicBezTo>
                        <a:pt x="47141" y="314809"/>
                        <a:pt x="34379" y="305433"/>
                        <a:pt x="25003" y="293899"/>
                      </a:cubicBezTo>
                      <a:cubicBezTo>
                        <a:pt x="15627" y="282364"/>
                        <a:pt x="9450" y="270272"/>
                        <a:pt x="6474" y="257622"/>
                      </a:cubicBezTo>
                      <a:cubicBezTo>
                        <a:pt x="2158" y="238869"/>
                        <a:pt x="0" y="211187"/>
                        <a:pt x="0" y="17457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7" name="Полілінія: фігура 136">
                  <a:extLst>
                    <a:ext uri="{FF2B5EF4-FFF2-40B4-BE49-F238E27FC236}">
                      <a16:creationId xmlns:a16="http://schemas.microsoft.com/office/drawing/2014/main" id="{F391C6E2-62C7-D013-E30F-B43A9C1D13F6}"/>
                    </a:ext>
                  </a:extLst>
                </p:cNvPr>
                <p:cNvSpPr/>
                <p:nvPr/>
              </p:nvSpPr>
              <p:spPr>
                <a:xfrm>
                  <a:off x="1661538" y="5503069"/>
                  <a:ext cx="217506" cy="35526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9224" h="327273">
                      <a:moveTo>
                        <a:pt x="0" y="0"/>
                      </a:moveTo>
                      <a:lnTo>
                        <a:pt x="62731" y="0"/>
                      </a:lnTo>
                      <a:lnTo>
                        <a:pt x="62731" y="173683"/>
                      </a:lnTo>
                      <a:lnTo>
                        <a:pt x="136178" y="90190"/>
                      </a:lnTo>
                      <a:lnTo>
                        <a:pt x="213420" y="90190"/>
                      </a:lnTo>
                      <a:lnTo>
                        <a:pt x="132383" y="176808"/>
                      </a:lnTo>
                      <a:lnTo>
                        <a:pt x="219224" y="327273"/>
                      </a:lnTo>
                      <a:lnTo>
                        <a:pt x="151582" y="327273"/>
                      </a:lnTo>
                      <a:lnTo>
                        <a:pt x="91976" y="220787"/>
                      </a:lnTo>
                      <a:lnTo>
                        <a:pt x="62731" y="251371"/>
                      </a:lnTo>
                      <a:lnTo>
                        <a:pt x="62731" y="327273"/>
                      </a:lnTo>
                      <a:lnTo>
                        <a:pt x="0" y="32727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8" name="Полілінія: фігура 137">
                  <a:extLst>
                    <a:ext uri="{FF2B5EF4-FFF2-40B4-BE49-F238E27FC236}">
                      <a16:creationId xmlns:a16="http://schemas.microsoft.com/office/drawing/2014/main" id="{8F4B4293-5EDB-1624-BCB8-F5A25E6CD82B}"/>
                    </a:ext>
                  </a:extLst>
                </p:cNvPr>
                <p:cNvSpPr/>
                <p:nvPr/>
              </p:nvSpPr>
              <p:spPr>
                <a:xfrm>
                  <a:off x="2359096" y="5500701"/>
                  <a:ext cx="62239" cy="630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31" h="58043">
                      <a:moveTo>
                        <a:pt x="0" y="0"/>
                      </a:moveTo>
                      <a:lnTo>
                        <a:pt x="62731" y="0"/>
                      </a:lnTo>
                      <a:lnTo>
                        <a:pt x="62731" y="58043"/>
                      </a:lnTo>
                      <a:lnTo>
                        <a:pt x="0" y="5804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9" name="Полілінія: фігура 138">
                  <a:extLst>
                    <a:ext uri="{FF2B5EF4-FFF2-40B4-BE49-F238E27FC236}">
                      <a16:creationId xmlns:a16="http://schemas.microsoft.com/office/drawing/2014/main" id="{1329EB4E-56C6-276D-C50F-315882B2219B}"/>
                    </a:ext>
                  </a:extLst>
                </p:cNvPr>
                <p:cNvSpPr/>
                <p:nvPr/>
              </p:nvSpPr>
              <p:spPr>
                <a:xfrm>
                  <a:off x="753910" y="5594699"/>
                  <a:ext cx="242755" cy="2689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4673" h="247799">
                      <a:moveTo>
                        <a:pt x="122113" y="0"/>
                      </a:moveTo>
                      <a:cubicBezTo>
                        <a:pt x="157981" y="0"/>
                        <a:pt x="187375" y="11646"/>
                        <a:pt x="210294" y="34938"/>
                      </a:cubicBezTo>
                      <a:cubicBezTo>
                        <a:pt x="233214" y="58229"/>
                        <a:pt x="244673" y="87660"/>
                        <a:pt x="244673" y="123230"/>
                      </a:cubicBezTo>
                      <a:cubicBezTo>
                        <a:pt x="244673" y="159097"/>
                        <a:pt x="233102" y="188826"/>
                        <a:pt x="209959" y="212415"/>
                      </a:cubicBezTo>
                      <a:cubicBezTo>
                        <a:pt x="186816" y="236004"/>
                        <a:pt x="157683" y="247799"/>
                        <a:pt x="122560" y="247799"/>
                      </a:cubicBezTo>
                      <a:cubicBezTo>
                        <a:pt x="100831" y="247799"/>
                        <a:pt x="80107" y="242888"/>
                        <a:pt x="60387" y="233065"/>
                      </a:cubicBezTo>
                      <a:cubicBezTo>
                        <a:pt x="40667" y="223242"/>
                        <a:pt x="25673" y="208843"/>
                        <a:pt x="15404" y="189868"/>
                      </a:cubicBezTo>
                      <a:cubicBezTo>
                        <a:pt x="5135" y="170892"/>
                        <a:pt x="0" y="147787"/>
                        <a:pt x="0" y="120551"/>
                      </a:cubicBezTo>
                      <a:cubicBezTo>
                        <a:pt x="0" y="99715"/>
                        <a:pt x="5135" y="79549"/>
                        <a:pt x="15404" y="60052"/>
                      </a:cubicBezTo>
                      <a:cubicBezTo>
                        <a:pt x="25673" y="40556"/>
                        <a:pt x="40221" y="25673"/>
                        <a:pt x="59048" y="15404"/>
                      </a:cubicBezTo>
                      <a:cubicBezTo>
                        <a:pt x="77874" y="5135"/>
                        <a:pt x="98896" y="0"/>
                        <a:pt x="122113" y="0"/>
                      </a:cubicBezTo>
                      <a:close/>
                      <a:moveTo>
                        <a:pt x="122337" y="51123"/>
                      </a:moveTo>
                      <a:cubicBezTo>
                        <a:pt x="105966" y="51123"/>
                        <a:pt x="92199" y="57373"/>
                        <a:pt x="81037" y="69875"/>
                      </a:cubicBezTo>
                      <a:cubicBezTo>
                        <a:pt x="69875" y="82377"/>
                        <a:pt x="64294" y="100385"/>
                        <a:pt x="64294" y="123900"/>
                      </a:cubicBezTo>
                      <a:cubicBezTo>
                        <a:pt x="64294" y="147414"/>
                        <a:pt x="69875" y="165423"/>
                        <a:pt x="81037" y="177924"/>
                      </a:cubicBezTo>
                      <a:cubicBezTo>
                        <a:pt x="92199" y="190426"/>
                        <a:pt x="105966" y="196677"/>
                        <a:pt x="122337" y="196677"/>
                      </a:cubicBezTo>
                      <a:cubicBezTo>
                        <a:pt x="138708" y="196677"/>
                        <a:pt x="152437" y="190426"/>
                        <a:pt x="163525" y="177924"/>
                      </a:cubicBezTo>
                      <a:cubicBezTo>
                        <a:pt x="174613" y="165423"/>
                        <a:pt x="180156" y="147266"/>
                        <a:pt x="180156" y="123453"/>
                      </a:cubicBezTo>
                      <a:cubicBezTo>
                        <a:pt x="180156" y="100236"/>
                        <a:pt x="174613" y="82377"/>
                        <a:pt x="163525" y="69875"/>
                      </a:cubicBezTo>
                      <a:cubicBezTo>
                        <a:pt x="152437" y="57373"/>
                        <a:pt x="138708" y="51123"/>
                        <a:pt x="122337" y="51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40" name="Полілінія: фігура 139">
                  <a:extLst>
                    <a:ext uri="{FF2B5EF4-FFF2-40B4-BE49-F238E27FC236}">
                      <a16:creationId xmlns:a16="http://schemas.microsoft.com/office/drawing/2014/main" id="{ECAB2E5F-6EA2-50A5-498E-10B9DD7F365C}"/>
                    </a:ext>
                  </a:extLst>
                </p:cNvPr>
                <p:cNvSpPr/>
                <p:nvPr/>
              </p:nvSpPr>
              <p:spPr>
                <a:xfrm>
                  <a:off x="1918267" y="5595159"/>
                  <a:ext cx="152386" cy="2631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3590" h="242441">
                      <a:moveTo>
                        <a:pt x="112291" y="0"/>
                      </a:moveTo>
                      <a:cubicBezTo>
                        <a:pt x="126578" y="0"/>
                        <a:pt x="140345" y="3944"/>
                        <a:pt x="153590" y="11832"/>
                      </a:cubicBezTo>
                      <a:lnTo>
                        <a:pt x="134168" y="66526"/>
                      </a:lnTo>
                      <a:cubicBezTo>
                        <a:pt x="123602" y="59680"/>
                        <a:pt x="113779" y="56257"/>
                        <a:pt x="104700" y="56257"/>
                      </a:cubicBezTo>
                      <a:cubicBezTo>
                        <a:pt x="95920" y="56257"/>
                        <a:pt x="88478" y="58676"/>
                        <a:pt x="82376" y="63513"/>
                      </a:cubicBezTo>
                      <a:cubicBezTo>
                        <a:pt x="76274" y="68350"/>
                        <a:pt x="71475" y="77093"/>
                        <a:pt x="67977" y="89744"/>
                      </a:cubicBezTo>
                      <a:cubicBezTo>
                        <a:pt x="64480" y="102394"/>
                        <a:pt x="62731" y="128885"/>
                        <a:pt x="62731" y="169218"/>
                      </a:cubicBezTo>
                      <a:lnTo>
                        <a:pt x="62731" y="242441"/>
                      </a:lnTo>
                      <a:lnTo>
                        <a:pt x="0" y="242441"/>
                      </a:lnTo>
                      <a:lnTo>
                        <a:pt x="0" y="5358"/>
                      </a:lnTo>
                      <a:lnTo>
                        <a:pt x="58266" y="5358"/>
                      </a:lnTo>
                      <a:lnTo>
                        <a:pt x="58266" y="39068"/>
                      </a:lnTo>
                      <a:cubicBezTo>
                        <a:pt x="68238" y="23143"/>
                        <a:pt x="77204" y="12651"/>
                        <a:pt x="85167" y="7590"/>
                      </a:cubicBezTo>
                      <a:cubicBezTo>
                        <a:pt x="93129" y="2530"/>
                        <a:pt x="102170" y="0"/>
                        <a:pt x="11229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41" name="Полілінія: фігура 140">
                  <a:extLst>
                    <a:ext uri="{FF2B5EF4-FFF2-40B4-BE49-F238E27FC236}">
                      <a16:creationId xmlns:a16="http://schemas.microsoft.com/office/drawing/2014/main" id="{00C76438-E143-AC86-12E7-8D0EF1B539DC}"/>
                    </a:ext>
                  </a:extLst>
                </p:cNvPr>
                <p:cNvSpPr/>
                <p:nvPr/>
              </p:nvSpPr>
              <p:spPr>
                <a:xfrm>
                  <a:off x="2085401" y="5594699"/>
                  <a:ext cx="220827" cy="2689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2572" h="247799">
                      <a:moveTo>
                        <a:pt x="109165" y="0"/>
                      </a:moveTo>
                      <a:cubicBezTo>
                        <a:pt x="137145" y="0"/>
                        <a:pt x="157981" y="3312"/>
                        <a:pt x="171673" y="9934"/>
                      </a:cubicBezTo>
                      <a:cubicBezTo>
                        <a:pt x="185365" y="16557"/>
                        <a:pt x="195002" y="24966"/>
                        <a:pt x="200583" y="35161"/>
                      </a:cubicBezTo>
                      <a:cubicBezTo>
                        <a:pt x="206164" y="45356"/>
                        <a:pt x="208955" y="64071"/>
                        <a:pt x="208955" y="91306"/>
                      </a:cubicBezTo>
                      <a:lnTo>
                        <a:pt x="208285" y="164530"/>
                      </a:lnTo>
                      <a:cubicBezTo>
                        <a:pt x="208285" y="185366"/>
                        <a:pt x="209289" y="200732"/>
                        <a:pt x="211299" y="210629"/>
                      </a:cubicBezTo>
                      <a:cubicBezTo>
                        <a:pt x="213308" y="220526"/>
                        <a:pt x="217066" y="231130"/>
                        <a:pt x="222572" y="242441"/>
                      </a:cubicBezTo>
                      <a:lnTo>
                        <a:pt x="160511" y="242441"/>
                      </a:lnTo>
                      <a:cubicBezTo>
                        <a:pt x="158874" y="238274"/>
                        <a:pt x="156865" y="232098"/>
                        <a:pt x="154484" y="223912"/>
                      </a:cubicBezTo>
                      <a:cubicBezTo>
                        <a:pt x="153442" y="220191"/>
                        <a:pt x="152698" y="217736"/>
                        <a:pt x="152251" y="216545"/>
                      </a:cubicBezTo>
                      <a:cubicBezTo>
                        <a:pt x="141535" y="226963"/>
                        <a:pt x="130076" y="234777"/>
                        <a:pt x="117872" y="239986"/>
                      </a:cubicBezTo>
                      <a:cubicBezTo>
                        <a:pt x="105668" y="245195"/>
                        <a:pt x="92645" y="247799"/>
                        <a:pt x="78804" y="247799"/>
                      </a:cubicBezTo>
                      <a:cubicBezTo>
                        <a:pt x="54397" y="247799"/>
                        <a:pt x="35161" y="241176"/>
                        <a:pt x="21096" y="227930"/>
                      </a:cubicBezTo>
                      <a:cubicBezTo>
                        <a:pt x="7032" y="214685"/>
                        <a:pt x="0" y="197942"/>
                        <a:pt x="0" y="177701"/>
                      </a:cubicBezTo>
                      <a:cubicBezTo>
                        <a:pt x="0" y="164306"/>
                        <a:pt x="3200" y="152363"/>
                        <a:pt x="9599" y="141871"/>
                      </a:cubicBezTo>
                      <a:cubicBezTo>
                        <a:pt x="15999" y="131378"/>
                        <a:pt x="24966" y="123342"/>
                        <a:pt x="36500" y="117760"/>
                      </a:cubicBezTo>
                      <a:cubicBezTo>
                        <a:pt x="48034" y="112179"/>
                        <a:pt x="64666" y="107305"/>
                        <a:pt x="86395" y="103138"/>
                      </a:cubicBezTo>
                      <a:cubicBezTo>
                        <a:pt x="115714" y="97631"/>
                        <a:pt x="136029" y="92497"/>
                        <a:pt x="147340" y="87734"/>
                      </a:cubicBezTo>
                      <a:lnTo>
                        <a:pt x="147340" y="81484"/>
                      </a:lnTo>
                      <a:cubicBezTo>
                        <a:pt x="147340" y="69429"/>
                        <a:pt x="144363" y="60834"/>
                        <a:pt x="138410" y="55699"/>
                      </a:cubicBezTo>
                      <a:cubicBezTo>
                        <a:pt x="132457" y="50565"/>
                        <a:pt x="121220" y="47997"/>
                        <a:pt x="104701" y="47997"/>
                      </a:cubicBezTo>
                      <a:cubicBezTo>
                        <a:pt x="93538" y="47997"/>
                        <a:pt x="84832" y="50192"/>
                        <a:pt x="78581" y="54583"/>
                      </a:cubicBezTo>
                      <a:cubicBezTo>
                        <a:pt x="72330" y="58973"/>
                        <a:pt x="67270" y="66675"/>
                        <a:pt x="63401" y="77688"/>
                      </a:cubicBezTo>
                      <a:lnTo>
                        <a:pt x="6474" y="67419"/>
                      </a:lnTo>
                      <a:cubicBezTo>
                        <a:pt x="12874" y="44500"/>
                        <a:pt x="23887" y="27533"/>
                        <a:pt x="39514" y="16520"/>
                      </a:cubicBezTo>
                      <a:cubicBezTo>
                        <a:pt x="55141" y="5507"/>
                        <a:pt x="78358" y="0"/>
                        <a:pt x="109165" y="0"/>
                      </a:cubicBezTo>
                      <a:close/>
                      <a:moveTo>
                        <a:pt x="147340" y="128588"/>
                      </a:moveTo>
                      <a:cubicBezTo>
                        <a:pt x="139303" y="131267"/>
                        <a:pt x="126578" y="134466"/>
                        <a:pt x="109165" y="138187"/>
                      </a:cubicBezTo>
                      <a:cubicBezTo>
                        <a:pt x="91752" y="141908"/>
                        <a:pt x="80367" y="145554"/>
                        <a:pt x="75009" y="149126"/>
                      </a:cubicBezTo>
                      <a:cubicBezTo>
                        <a:pt x="66824" y="154930"/>
                        <a:pt x="62731" y="162297"/>
                        <a:pt x="62731" y="171227"/>
                      </a:cubicBezTo>
                      <a:cubicBezTo>
                        <a:pt x="62731" y="180008"/>
                        <a:pt x="66005" y="187598"/>
                        <a:pt x="72554" y="193998"/>
                      </a:cubicBezTo>
                      <a:cubicBezTo>
                        <a:pt x="79102" y="200397"/>
                        <a:pt x="87436" y="203597"/>
                        <a:pt x="97557" y="203597"/>
                      </a:cubicBezTo>
                      <a:cubicBezTo>
                        <a:pt x="108868" y="203597"/>
                        <a:pt x="119658" y="199876"/>
                        <a:pt x="129927" y="192435"/>
                      </a:cubicBezTo>
                      <a:cubicBezTo>
                        <a:pt x="137517" y="186779"/>
                        <a:pt x="142503" y="179859"/>
                        <a:pt x="144884" y="171673"/>
                      </a:cubicBezTo>
                      <a:cubicBezTo>
                        <a:pt x="146521" y="166316"/>
                        <a:pt x="147340" y="156121"/>
                        <a:pt x="147340" y="141089"/>
                      </a:cubicBezTo>
                      <a:lnTo>
                        <a:pt x="147340" y="1285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42" name="Полілінія: фігура 141">
                  <a:extLst>
                    <a:ext uri="{FF2B5EF4-FFF2-40B4-BE49-F238E27FC236}">
                      <a16:creationId xmlns:a16="http://schemas.microsoft.com/office/drawing/2014/main" id="{9A8712D2-2EB6-09BE-44E4-618A58E3CE97}"/>
                    </a:ext>
                  </a:extLst>
                </p:cNvPr>
                <p:cNvSpPr/>
                <p:nvPr/>
              </p:nvSpPr>
              <p:spPr>
                <a:xfrm>
                  <a:off x="2482474" y="5595159"/>
                  <a:ext cx="214405" cy="2631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99" h="242441">
                      <a:moveTo>
                        <a:pt x="136401" y="0"/>
                      </a:moveTo>
                      <a:cubicBezTo>
                        <a:pt x="150242" y="0"/>
                        <a:pt x="162893" y="2493"/>
                        <a:pt x="174353" y="7479"/>
                      </a:cubicBezTo>
                      <a:cubicBezTo>
                        <a:pt x="185812" y="12465"/>
                        <a:pt x="194482" y="18827"/>
                        <a:pt x="200360" y="26566"/>
                      </a:cubicBezTo>
                      <a:cubicBezTo>
                        <a:pt x="206239" y="34305"/>
                        <a:pt x="210332" y="43086"/>
                        <a:pt x="212639" y="52909"/>
                      </a:cubicBezTo>
                      <a:cubicBezTo>
                        <a:pt x="214945" y="62731"/>
                        <a:pt x="216099" y="76796"/>
                        <a:pt x="216099" y="95101"/>
                      </a:cubicBezTo>
                      <a:lnTo>
                        <a:pt x="216099" y="242441"/>
                      </a:lnTo>
                      <a:lnTo>
                        <a:pt x="153368" y="242441"/>
                      </a:lnTo>
                      <a:lnTo>
                        <a:pt x="153368" y="121444"/>
                      </a:lnTo>
                      <a:cubicBezTo>
                        <a:pt x="153368" y="95846"/>
                        <a:pt x="152028" y="79288"/>
                        <a:pt x="149349" y="71773"/>
                      </a:cubicBezTo>
                      <a:cubicBezTo>
                        <a:pt x="146670" y="64257"/>
                        <a:pt x="142317" y="58415"/>
                        <a:pt x="136290" y="54248"/>
                      </a:cubicBezTo>
                      <a:cubicBezTo>
                        <a:pt x="130262" y="50081"/>
                        <a:pt x="123007" y="47997"/>
                        <a:pt x="114524" y="47997"/>
                      </a:cubicBezTo>
                      <a:cubicBezTo>
                        <a:pt x="103659" y="47997"/>
                        <a:pt x="93911" y="50974"/>
                        <a:pt x="85279" y="56927"/>
                      </a:cubicBezTo>
                      <a:cubicBezTo>
                        <a:pt x="76647" y="62880"/>
                        <a:pt x="70731" y="70768"/>
                        <a:pt x="67531" y="80591"/>
                      </a:cubicBezTo>
                      <a:cubicBezTo>
                        <a:pt x="64331" y="90413"/>
                        <a:pt x="62731" y="108570"/>
                        <a:pt x="62731" y="135062"/>
                      </a:cubicBezTo>
                      <a:lnTo>
                        <a:pt x="62731" y="242441"/>
                      </a:lnTo>
                      <a:lnTo>
                        <a:pt x="0" y="242441"/>
                      </a:lnTo>
                      <a:lnTo>
                        <a:pt x="0" y="5358"/>
                      </a:lnTo>
                      <a:lnTo>
                        <a:pt x="58267" y="5358"/>
                      </a:lnTo>
                      <a:lnTo>
                        <a:pt x="58267" y="40184"/>
                      </a:lnTo>
                      <a:cubicBezTo>
                        <a:pt x="78954" y="13395"/>
                        <a:pt x="104999" y="0"/>
                        <a:pt x="1364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43" name="Полілінія: фігура 142">
                  <a:extLst>
                    <a:ext uri="{FF2B5EF4-FFF2-40B4-BE49-F238E27FC236}">
                      <a16:creationId xmlns:a16="http://schemas.microsoft.com/office/drawing/2014/main" id="{E9FFAAC0-D1E9-0B99-600B-37DE5BC85EFF}"/>
                    </a:ext>
                  </a:extLst>
                </p:cNvPr>
                <p:cNvSpPr/>
                <p:nvPr/>
              </p:nvSpPr>
              <p:spPr>
                <a:xfrm>
                  <a:off x="2740840" y="5594699"/>
                  <a:ext cx="219776" cy="2689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1512" h="247799">
                      <a:moveTo>
                        <a:pt x="108719" y="0"/>
                      </a:moveTo>
                      <a:cubicBezTo>
                        <a:pt x="143991" y="0"/>
                        <a:pt x="171822" y="11646"/>
                        <a:pt x="192211" y="34938"/>
                      </a:cubicBezTo>
                      <a:cubicBezTo>
                        <a:pt x="212601" y="58229"/>
                        <a:pt x="222349" y="93911"/>
                        <a:pt x="221456" y="141982"/>
                      </a:cubicBezTo>
                      <a:lnTo>
                        <a:pt x="64294" y="141982"/>
                      </a:lnTo>
                      <a:cubicBezTo>
                        <a:pt x="64740" y="160586"/>
                        <a:pt x="69800" y="175059"/>
                        <a:pt x="79474" y="185403"/>
                      </a:cubicBezTo>
                      <a:cubicBezTo>
                        <a:pt x="89148" y="195746"/>
                        <a:pt x="101203" y="200918"/>
                        <a:pt x="115639" y="200918"/>
                      </a:cubicBezTo>
                      <a:cubicBezTo>
                        <a:pt x="125462" y="200918"/>
                        <a:pt x="133722" y="198239"/>
                        <a:pt x="140419" y="192881"/>
                      </a:cubicBezTo>
                      <a:cubicBezTo>
                        <a:pt x="147117" y="187524"/>
                        <a:pt x="152177" y="178892"/>
                        <a:pt x="155600" y="166985"/>
                      </a:cubicBezTo>
                      <a:lnTo>
                        <a:pt x="218108" y="177478"/>
                      </a:lnTo>
                      <a:cubicBezTo>
                        <a:pt x="210071" y="200397"/>
                        <a:pt x="197383" y="217847"/>
                        <a:pt x="180045" y="229828"/>
                      </a:cubicBezTo>
                      <a:cubicBezTo>
                        <a:pt x="162706" y="241809"/>
                        <a:pt x="141015" y="247799"/>
                        <a:pt x="114970" y="247799"/>
                      </a:cubicBezTo>
                      <a:cubicBezTo>
                        <a:pt x="73744" y="247799"/>
                        <a:pt x="43234" y="234330"/>
                        <a:pt x="23440" y="207392"/>
                      </a:cubicBezTo>
                      <a:cubicBezTo>
                        <a:pt x="7813" y="185812"/>
                        <a:pt x="0" y="158577"/>
                        <a:pt x="0" y="125686"/>
                      </a:cubicBezTo>
                      <a:cubicBezTo>
                        <a:pt x="0" y="86395"/>
                        <a:pt x="10269" y="55625"/>
                        <a:pt x="30807" y="33375"/>
                      </a:cubicBezTo>
                      <a:cubicBezTo>
                        <a:pt x="51346" y="11125"/>
                        <a:pt x="77316" y="0"/>
                        <a:pt x="108719" y="0"/>
                      </a:cubicBezTo>
                      <a:close/>
                      <a:moveTo>
                        <a:pt x="112514" y="47997"/>
                      </a:moveTo>
                      <a:cubicBezTo>
                        <a:pt x="98822" y="47997"/>
                        <a:pt x="87511" y="52983"/>
                        <a:pt x="78581" y="62954"/>
                      </a:cubicBezTo>
                      <a:cubicBezTo>
                        <a:pt x="69651" y="72926"/>
                        <a:pt x="65261" y="86469"/>
                        <a:pt x="65410" y="103585"/>
                      </a:cubicBezTo>
                      <a:lnTo>
                        <a:pt x="159172" y="103585"/>
                      </a:lnTo>
                      <a:cubicBezTo>
                        <a:pt x="158725" y="85428"/>
                        <a:pt x="154037" y="71624"/>
                        <a:pt x="145107" y="62173"/>
                      </a:cubicBezTo>
                      <a:cubicBezTo>
                        <a:pt x="136178" y="52723"/>
                        <a:pt x="125313" y="47997"/>
                        <a:pt x="112514" y="479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44" name="Полілінія: фігура 143">
                  <a:extLst>
                    <a:ext uri="{FF2B5EF4-FFF2-40B4-BE49-F238E27FC236}">
                      <a16:creationId xmlns:a16="http://schemas.microsoft.com/office/drawing/2014/main" id="{EDAED676-9F3A-0019-452A-C9D85FD8A2F8}"/>
                    </a:ext>
                  </a:extLst>
                </p:cNvPr>
                <p:cNvSpPr/>
                <p:nvPr/>
              </p:nvSpPr>
              <p:spPr>
                <a:xfrm>
                  <a:off x="2359096" y="5600975"/>
                  <a:ext cx="62239" cy="257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731" h="237083">
                      <a:moveTo>
                        <a:pt x="0" y="0"/>
                      </a:moveTo>
                      <a:lnTo>
                        <a:pt x="62731" y="0"/>
                      </a:lnTo>
                      <a:lnTo>
                        <a:pt x="62731" y="237083"/>
                      </a:lnTo>
                      <a:lnTo>
                        <a:pt x="0" y="23708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sp>
            <p:nvSpPr>
              <p:cNvPr id="113" name="Графіка 200">
                <a:extLst>
                  <a:ext uri="{FF2B5EF4-FFF2-40B4-BE49-F238E27FC236}">
                    <a16:creationId xmlns:a16="http://schemas.microsoft.com/office/drawing/2014/main" id="{76D79578-5C7D-3797-F678-900243A70340}"/>
                  </a:ext>
                </a:extLst>
              </p:cNvPr>
              <p:cNvSpPr/>
              <p:nvPr/>
            </p:nvSpPr>
            <p:spPr>
              <a:xfrm>
                <a:off x="-114865" y="2955155"/>
                <a:ext cx="1203516" cy="2005349"/>
              </a:xfrm>
              <a:custGeom>
                <a:avLst/>
                <a:gdLst>
                  <a:gd name="connsiteX0" fmla="*/ 479329 w 959298"/>
                  <a:gd name="connsiteY0" fmla="*/ 0 h 1598418"/>
                  <a:gd name="connsiteX1" fmla="*/ 419378 w 959298"/>
                  <a:gd name="connsiteY1" fmla="*/ 158351 h 1598418"/>
                  <a:gd name="connsiteX2" fmla="*/ 439362 w 959298"/>
                  <a:gd name="connsiteY2" fmla="*/ 558026 h 1598418"/>
                  <a:gd name="connsiteX3" fmla="*/ 359747 w 959298"/>
                  <a:gd name="connsiteY3" fmla="*/ 912937 h 1598418"/>
                  <a:gd name="connsiteX4" fmla="*/ 311986 w 959298"/>
                  <a:gd name="connsiteY4" fmla="*/ 1006021 h 1598418"/>
                  <a:gd name="connsiteX5" fmla="*/ 264025 w 959298"/>
                  <a:gd name="connsiteY5" fmla="*/ 996349 h 1598418"/>
                  <a:gd name="connsiteX6" fmla="*/ 201276 w 959298"/>
                  <a:gd name="connsiteY6" fmla="*/ 902345 h 1598418"/>
                  <a:gd name="connsiteX7" fmla="*/ 279332 w 959298"/>
                  <a:gd name="connsiteY7" fmla="*/ 837998 h 1598418"/>
                  <a:gd name="connsiteX8" fmla="*/ 296838 w 959298"/>
                  <a:gd name="connsiteY8" fmla="*/ 839876 h 1598418"/>
                  <a:gd name="connsiteX9" fmla="*/ 257790 w 959298"/>
                  <a:gd name="connsiteY9" fmla="*/ 513742 h 1598418"/>
                  <a:gd name="connsiteX10" fmla="*/ 59951 w 959298"/>
                  <a:gd name="connsiteY10" fmla="*/ 158431 h 1598418"/>
                  <a:gd name="connsiteX11" fmla="*/ 0 w 959298"/>
                  <a:gd name="connsiteY11" fmla="*/ 119703 h 1598418"/>
                  <a:gd name="connsiteX12" fmla="*/ 0 w 959298"/>
                  <a:gd name="connsiteY12" fmla="*/ 1277560 h 1598418"/>
                  <a:gd name="connsiteX13" fmla="*/ 267302 w 959298"/>
                  <a:gd name="connsiteY13" fmla="*/ 1277560 h 1598418"/>
                  <a:gd name="connsiteX14" fmla="*/ 430929 w 959298"/>
                  <a:gd name="connsiteY14" fmla="*/ 1545342 h 1598418"/>
                  <a:gd name="connsiteX15" fmla="*/ 479649 w 959298"/>
                  <a:gd name="connsiteY15" fmla="*/ 1598419 h 1598418"/>
                  <a:gd name="connsiteX16" fmla="*/ 528370 w 959298"/>
                  <a:gd name="connsiteY16" fmla="*/ 1545342 h 1598418"/>
                  <a:gd name="connsiteX17" fmla="*/ 691996 w 959298"/>
                  <a:gd name="connsiteY17" fmla="*/ 1277560 h 1598418"/>
                  <a:gd name="connsiteX18" fmla="*/ 959298 w 959298"/>
                  <a:gd name="connsiteY18" fmla="*/ 1277560 h 1598418"/>
                  <a:gd name="connsiteX19" fmla="*/ 959298 w 959298"/>
                  <a:gd name="connsiteY19" fmla="*/ 119703 h 1598418"/>
                  <a:gd name="connsiteX20" fmla="*/ 899347 w 959298"/>
                  <a:gd name="connsiteY20" fmla="*/ 158431 h 1598418"/>
                  <a:gd name="connsiteX21" fmla="*/ 701508 w 959298"/>
                  <a:gd name="connsiteY21" fmla="*/ 513742 h 1598418"/>
                  <a:gd name="connsiteX22" fmla="*/ 662460 w 959298"/>
                  <a:gd name="connsiteY22" fmla="*/ 839876 h 1598418"/>
                  <a:gd name="connsiteX23" fmla="*/ 679966 w 959298"/>
                  <a:gd name="connsiteY23" fmla="*/ 837998 h 1598418"/>
                  <a:gd name="connsiteX24" fmla="*/ 758022 w 959298"/>
                  <a:gd name="connsiteY24" fmla="*/ 902345 h 1598418"/>
                  <a:gd name="connsiteX25" fmla="*/ 695274 w 959298"/>
                  <a:gd name="connsiteY25" fmla="*/ 996349 h 1598418"/>
                  <a:gd name="connsiteX26" fmla="*/ 647313 w 959298"/>
                  <a:gd name="connsiteY26" fmla="*/ 1006021 h 1598418"/>
                  <a:gd name="connsiteX27" fmla="*/ 599552 w 959298"/>
                  <a:gd name="connsiteY27" fmla="*/ 912937 h 1598418"/>
                  <a:gd name="connsiteX28" fmla="*/ 519896 w 959298"/>
                  <a:gd name="connsiteY28" fmla="*/ 558026 h 1598418"/>
                  <a:gd name="connsiteX29" fmla="*/ 539880 w 959298"/>
                  <a:gd name="connsiteY29" fmla="*/ 158351 h 1598418"/>
                  <a:gd name="connsiteX30" fmla="*/ 479929 w 959298"/>
                  <a:gd name="connsiteY30" fmla="*/ 0 h 1598418"/>
                  <a:gd name="connsiteX31" fmla="*/ 79655 w 959298"/>
                  <a:gd name="connsiteY31" fmla="*/ 286567 h 1598418"/>
                  <a:gd name="connsiteX32" fmla="*/ 176376 w 959298"/>
                  <a:gd name="connsiteY32" fmla="*/ 506108 h 1598418"/>
                  <a:gd name="connsiteX33" fmla="*/ 208350 w 959298"/>
                  <a:gd name="connsiteY33" fmla="*/ 775089 h 1598418"/>
                  <a:gd name="connsiteX34" fmla="*/ 124658 w 959298"/>
                  <a:gd name="connsiteY34" fmla="*/ 878165 h 1598418"/>
                  <a:gd name="connsiteX35" fmla="*/ 79375 w 959298"/>
                  <a:gd name="connsiteY35" fmla="*/ 878165 h 1598418"/>
                  <a:gd name="connsiteX36" fmla="*/ 79375 w 959298"/>
                  <a:gd name="connsiteY36" fmla="*/ 286647 h 1598418"/>
                  <a:gd name="connsiteX37" fmla="*/ 879004 w 959298"/>
                  <a:gd name="connsiteY37" fmla="*/ 286567 h 1598418"/>
                  <a:gd name="connsiteX38" fmla="*/ 879004 w 959298"/>
                  <a:gd name="connsiteY38" fmla="*/ 878085 h 1598418"/>
                  <a:gd name="connsiteX39" fmla="*/ 833721 w 959298"/>
                  <a:gd name="connsiteY39" fmla="*/ 878085 h 1598418"/>
                  <a:gd name="connsiteX40" fmla="*/ 750029 w 959298"/>
                  <a:gd name="connsiteY40" fmla="*/ 775009 h 1598418"/>
                  <a:gd name="connsiteX41" fmla="*/ 782003 w 959298"/>
                  <a:gd name="connsiteY41" fmla="*/ 506028 h 1598418"/>
                  <a:gd name="connsiteX42" fmla="*/ 878724 w 959298"/>
                  <a:gd name="connsiteY42" fmla="*/ 286447 h 1598418"/>
                  <a:gd name="connsiteX43" fmla="*/ 479329 w 959298"/>
                  <a:gd name="connsiteY43" fmla="*/ 827327 h 1598418"/>
                  <a:gd name="connsiteX44" fmla="*/ 567058 w 959298"/>
                  <a:gd name="connsiteY44" fmla="*/ 1026285 h 1598418"/>
                  <a:gd name="connsiteX45" fmla="*/ 479329 w 959298"/>
                  <a:gd name="connsiteY45" fmla="*/ 1085277 h 1598418"/>
                  <a:gd name="connsiteX46" fmla="*/ 391601 w 959298"/>
                  <a:gd name="connsiteY46" fmla="*/ 1026245 h 1598418"/>
                  <a:gd name="connsiteX47" fmla="*/ 479329 w 959298"/>
                  <a:gd name="connsiteY47" fmla="*/ 827327 h 1598418"/>
                  <a:gd name="connsiteX48" fmla="*/ 79655 w 959298"/>
                  <a:gd name="connsiteY48" fmla="*/ 958180 h 1598418"/>
                  <a:gd name="connsiteX49" fmla="*/ 124938 w 959298"/>
                  <a:gd name="connsiteY49" fmla="*/ 958180 h 1598418"/>
                  <a:gd name="connsiteX50" fmla="*/ 236847 w 959298"/>
                  <a:gd name="connsiteY50" fmla="*/ 1072167 h 1598418"/>
                  <a:gd name="connsiteX51" fmla="*/ 275256 w 959298"/>
                  <a:gd name="connsiteY51" fmla="*/ 1080920 h 1598418"/>
                  <a:gd name="connsiteX52" fmla="*/ 259349 w 959298"/>
                  <a:gd name="connsiteY52" fmla="*/ 1198025 h 1598418"/>
                  <a:gd name="connsiteX53" fmla="*/ 79495 w 959298"/>
                  <a:gd name="connsiteY53" fmla="*/ 1198025 h 1598418"/>
                  <a:gd name="connsiteX54" fmla="*/ 79495 w 959298"/>
                  <a:gd name="connsiteY54" fmla="*/ 958220 h 1598418"/>
                  <a:gd name="connsiteX55" fmla="*/ 833841 w 959298"/>
                  <a:gd name="connsiteY55" fmla="*/ 958180 h 1598418"/>
                  <a:gd name="connsiteX56" fmla="*/ 879124 w 959298"/>
                  <a:gd name="connsiteY56" fmla="*/ 958180 h 1598418"/>
                  <a:gd name="connsiteX57" fmla="*/ 879124 w 959298"/>
                  <a:gd name="connsiteY57" fmla="*/ 1197985 h 1598418"/>
                  <a:gd name="connsiteX58" fmla="*/ 699270 w 959298"/>
                  <a:gd name="connsiteY58" fmla="*/ 1197985 h 1598418"/>
                  <a:gd name="connsiteX59" fmla="*/ 683363 w 959298"/>
                  <a:gd name="connsiteY59" fmla="*/ 1080880 h 1598418"/>
                  <a:gd name="connsiteX60" fmla="*/ 721772 w 959298"/>
                  <a:gd name="connsiteY60" fmla="*/ 1072127 h 1598418"/>
                  <a:gd name="connsiteX61" fmla="*/ 833681 w 959298"/>
                  <a:gd name="connsiteY61" fmla="*/ 958140 h 1598418"/>
                  <a:gd name="connsiteX62" fmla="*/ 353432 w 959298"/>
                  <a:gd name="connsiteY62" fmla="*/ 1099265 h 1598418"/>
                  <a:gd name="connsiteX63" fmla="*/ 439282 w 959298"/>
                  <a:gd name="connsiteY63" fmla="*/ 1197945 h 1598418"/>
                  <a:gd name="connsiteX64" fmla="*/ 339364 w 959298"/>
                  <a:gd name="connsiteY64" fmla="*/ 1197945 h 1598418"/>
                  <a:gd name="connsiteX65" fmla="*/ 353432 w 959298"/>
                  <a:gd name="connsiteY65" fmla="*/ 1099265 h 1598418"/>
                  <a:gd name="connsiteX66" fmla="*/ 605107 w 959298"/>
                  <a:gd name="connsiteY66" fmla="*/ 1099265 h 1598418"/>
                  <a:gd name="connsiteX67" fmla="*/ 619176 w 959298"/>
                  <a:gd name="connsiteY67" fmla="*/ 1197945 h 1598418"/>
                  <a:gd name="connsiteX68" fmla="*/ 519257 w 959298"/>
                  <a:gd name="connsiteY68" fmla="*/ 1197945 h 1598418"/>
                  <a:gd name="connsiteX69" fmla="*/ 605107 w 959298"/>
                  <a:gd name="connsiteY69" fmla="*/ 1099265 h 1598418"/>
                  <a:gd name="connsiteX70" fmla="*/ 348516 w 959298"/>
                  <a:gd name="connsiteY70" fmla="*/ 1277920 h 1598418"/>
                  <a:gd name="connsiteX71" fmla="*/ 439362 w 959298"/>
                  <a:gd name="connsiteY71" fmla="*/ 1277920 h 1598418"/>
                  <a:gd name="connsiteX72" fmla="*/ 439362 w 959298"/>
                  <a:gd name="connsiteY72" fmla="*/ 1446183 h 1598418"/>
                  <a:gd name="connsiteX73" fmla="*/ 348516 w 959298"/>
                  <a:gd name="connsiteY73" fmla="*/ 1277920 h 1598418"/>
                  <a:gd name="connsiteX74" fmla="*/ 519297 w 959298"/>
                  <a:gd name="connsiteY74" fmla="*/ 1277920 h 1598418"/>
                  <a:gd name="connsiteX75" fmla="*/ 610143 w 959298"/>
                  <a:gd name="connsiteY75" fmla="*/ 1277920 h 1598418"/>
                  <a:gd name="connsiteX76" fmla="*/ 519297 w 959298"/>
                  <a:gd name="connsiteY76" fmla="*/ 1446183 h 1598418"/>
                  <a:gd name="connsiteX77" fmla="*/ 519297 w 959298"/>
                  <a:gd name="connsiteY77" fmla="*/ 1277920 h 1598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959298" h="1598418">
                    <a:moveTo>
                      <a:pt x="479329" y="0"/>
                    </a:moveTo>
                    <a:cubicBezTo>
                      <a:pt x="442080" y="42286"/>
                      <a:pt x="419378" y="97601"/>
                      <a:pt x="419378" y="158351"/>
                    </a:cubicBezTo>
                    <a:cubicBezTo>
                      <a:pt x="421577" y="291723"/>
                      <a:pt x="437923" y="424934"/>
                      <a:pt x="439362" y="558026"/>
                    </a:cubicBezTo>
                    <a:cubicBezTo>
                      <a:pt x="442320" y="682325"/>
                      <a:pt x="405070" y="799030"/>
                      <a:pt x="359747" y="912937"/>
                    </a:cubicBezTo>
                    <a:cubicBezTo>
                      <a:pt x="344639" y="944391"/>
                      <a:pt x="328333" y="975166"/>
                      <a:pt x="311986" y="1006021"/>
                    </a:cubicBezTo>
                    <a:lnTo>
                      <a:pt x="264025" y="996349"/>
                    </a:lnTo>
                    <a:cubicBezTo>
                      <a:pt x="220740" y="987716"/>
                      <a:pt x="192603" y="945630"/>
                      <a:pt x="201276" y="902345"/>
                    </a:cubicBezTo>
                    <a:cubicBezTo>
                      <a:pt x="208830" y="864496"/>
                      <a:pt x="242163" y="837998"/>
                      <a:pt x="279332" y="837998"/>
                    </a:cubicBezTo>
                    <a:lnTo>
                      <a:pt x="296838" y="839876"/>
                    </a:lnTo>
                    <a:lnTo>
                      <a:pt x="257790" y="513742"/>
                    </a:lnTo>
                    <a:cubicBezTo>
                      <a:pt x="245040" y="368660"/>
                      <a:pt x="170141" y="241164"/>
                      <a:pt x="59951" y="158431"/>
                    </a:cubicBezTo>
                    <a:cubicBezTo>
                      <a:pt x="41007" y="144203"/>
                      <a:pt x="20903" y="131173"/>
                      <a:pt x="0" y="119703"/>
                    </a:cubicBezTo>
                    <a:lnTo>
                      <a:pt x="0" y="1277560"/>
                    </a:lnTo>
                    <a:lnTo>
                      <a:pt x="267302" y="1277560"/>
                    </a:lnTo>
                    <a:cubicBezTo>
                      <a:pt x="287286" y="1385872"/>
                      <a:pt x="346997" y="1480595"/>
                      <a:pt x="430929" y="1545342"/>
                    </a:cubicBezTo>
                    <a:cubicBezTo>
                      <a:pt x="450873" y="1559091"/>
                      <a:pt x="467619" y="1577236"/>
                      <a:pt x="479649" y="1598419"/>
                    </a:cubicBezTo>
                    <a:cubicBezTo>
                      <a:pt x="491639" y="1577236"/>
                      <a:pt x="508386" y="1559091"/>
                      <a:pt x="528370" y="1545342"/>
                    </a:cubicBezTo>
                    <a:cubicBezTo>
                      <a:pt x="612301" y="1480435"/>
                      <a:pt x="672013" y="1385912"/>
                      <a:pt x="691996" y="1277560"/>
                    </a:cubicBezTo>
                    <a:lnTo>
                      <a:pt x="959298" y="1277560"/>
                    </a:lnTo>
                    <a:lnTo>
                      <a:pt x="959298" y="119703"/>
                    </a:lnTo>
                    <a:cubicBezTo>
                      <a:pt x="938396" y="131173"/>
                      <a:pt x="918292" y="144203"/>
                      <a:pt x="899347" y="158431"/>
                    </a:cubicBezTo>
                    <a:cubicBezTo>
                      <a:pt x="789037" y="241284"/>
                      <a:pt x="714298" y="368660"/>
                      <a:pt x="701508" y="513742"/>
                    </a:cubicBezTo>
                    <a:lnTo>
                      <a:pt x="662460" y="839876"/>
                    </a:lnTo>
                    <a:lnTo>
                      <a:pt x="679966" y="837998"/>
                    </a:lnTo>
                    <a:cubicBezTo>
                      <a:pt x="717136" y="838158"/>
                      <a:pt x="750469" y="864456"/>
                      <a:pt x="758022" y="902345"/>
                    </a:cubicBezTo>
                    <a:cubicBezTo>
                      <a:pt x="766655" y="945630"/>
                      <a:pt x="738518" y="987676"/>
                      <a:pt x="695274" y="996349"/>
                    </a:cubicBezTo>
                    <a:lnTo>
                      <a:pt x="647313" y="1006021"/>
                    </a:lnTo>
                    <a:cubicBezTo>
                      <a:pt x="630966" y="975206"/>
                      <a:pt x="614619" y="944431"/>
                      <a:pt x="599552" y="912937"/>
                    </a:cubicBezTo>
                    <a:cubicBezTo>
                      <a:pt x="554189" y="799109"/>
                      <a:pt x="516939" y="682405"/>
                      <a:pt x="519896" y="558026"/>
                    </a:cubicBezTo>
                    <a:cubicBezTo>
                      <a:pt x="521335" y="424534"/>
                      <a:pt x="537682" y="291443"/>
                      <a:pt x="539880" y="158351"/>
                    </a:cubicBezTo>
                    <a:cubicBezTo>
                      <a:pt x="539880" y="97601"/>
                      <a:pt x="517179" y="42445"/>
                      <a:pt x="479929" y="0"/>
                    </a:cubicBezTo>
                    <a:close/>
                    <a:moveTo>
                      <a:pt x="79655" y="286567"/>
                    </a:moveTo>
                    <a:cubicBezTo>
                      <a:pt x="131373" y="347277"/>
                      <a:pt x="166105" y="422856"/>
                      <a:pt x="176376" y="506108"/>
                    </a:cubicBezTo>
                    <a:lnTo>
                      <a:pt x="208350" y="775089"/>
                    </a:lnTo>
                    <a:cubicBezTo>
                      <a:pt x="167384" y="795472"/>
                      <a:pt x="136409" y="832882"/>
                      <a:pt x="124658" y="878165"/>
                    </a:cubicBezTo>
                    <a:lnTo>
                      <a:pt x="79375" y="878165"/>
                    </a:lnTo>
                    <a:lnTo>
                      <a:pt x="79375" y="286647"/>
                    </a:lnTo>
                    <a:close/>
                    <a:moveTo>
                      <a:pt x="879004" y="286567"/>
                    </a:moveTo>
                    <a:lnTo>
                      <a:pt x="879004" y="878085"/>
                    </a:lnTo>
                    <a:lnTo>
                      <a:pt x="833721" y="878085"/>
                    </a:lnTo>
                    <a:cubicBezTo>
                      <a:pt x="822050" y="832842"/>
                      <a:pt x="790996" y="795432"/>
                      <a:pt x="750029" y="775009"/>
                    </a:cubicBezTo>
                    <a:lnTo>
                      <a:pt x="782003" y="506028"/>
                    </a:lnTo>
                    <a:cubicBezTo>
                      <a:pt x="792355" y="422856"/>
                      <a:pt x="827086" y="347197"/>
                      <a:pt x="878724" y="286447"/>
                    </a:cubicBezTo>
                    <a:close/>
                    <a:moveTo>
                      <a:pt x="479329" y="827327"/>
                    </a:moveTo>
                    <a:cubicBezTo>
                      <a:pt x="500792" y="897549"/>
                      <a:pt x="530328" y="964415"/>
                      <a:pt x="567058" y="1026285"/>
                    </a:cubicBezTo>
                    <a:cubicBezTo>
                      <a:pt x="532127" y="1036876"/>
                      <a:pt x="501751" y="1057499"/>
                      <a:pt x="479329" y="1085277"/>
                    </a:cubicBezTo>
                    <a:cubicBezTo>
                      <a:pt x="456908" y="1057499"/>
                      <a:pt x="426533" y="1036916"/>
                      <a:pt x="391601" y="1026245"/>
                    </a:cubicBezTo>
                    <a:cubicBezTo>
                      <a:pt x="428331" y="964255"/>
                      <a:pt x="457867" y="897549"/>
                      <a:pt x="479329" y="827327"/>
                    </a:cubicBezTo>
                    <a:close/>
                    <a:moveTo>
                      <a:pt x="79655" y="958180"/>
                    </a:moveTo>
                    <a:lnTo>
                      <a:pt x="124938" y="958180"/>
                    </a:lnTo>
                    <a:cubicBezTo>
                      <a:pt x="139207" y="1013375"/>
                      <a:pt x="182291" y="1056940"/>
                      <a:pt x="236847" y="1072167"/>
                    </a:cubicBezTo>
                    <a:lnTo>
                      <a:pt x="275256" y="1080920"/>
                    </a:lnTo>
                    <a:cubicBezTo>
                      <a:pt x="264984" y="1118170"/>
                      <a:pt x="259349" y="1157258"/>
                      <a:pt x="259349" y="1198025"/>
                    </a:cubicBezTo>
                    <a:lnTo>
                      <a:pt x="79495" y="1198025"/>
                    </a:lnTo>
                    <a:lnTo>
                      <a:pt x="79495" y="958220"/>
                    </a:lnTo>
                    <a:close/>
                    <a:moveTo>
                      <a:pt x="833841" y="958180"/>
                    </a:moveTo>
                    <a:lnTo>
                      <a:pt x="879124" y="958180"/>
                    </a:lnTo>
                    <a:lnTo>
                      <a:pt x="879124" y="1197985"/>
                    </a:lnTo>
                    <a:lnTo>
                      <a:pt x="699270" y="1197985"/>
                    </a:lnTo>
                    <a:cubicBezTo>
                      <a:pt x="699270" y="1157458"/>
                      <a:pt x="693635" y="1118170"/>
                      <a:pt x="683363" y="1080880"/>
                    </a:cubicBezTo>
                    <a:lnTo>
                      <a:pt x="721772" y="1072127"/>
                    </a:lnTo>
                    <a:cubicBezTo>
                      <a:pt x="776527" y="1056900"/>
                      <a:pt x="819572" y="1013295"/>
                      <a:pt x="833681" y="958140"/>
                    </a:cubicBezTo>
                    <a:close/>
                    <a:moveTo>
                      <a:pt x="353432" y="1099265"/>
                    </a:moveTo>
                    <a:cubicBezTo>
                      <a:pt x="401913" y="1106100"/>
                      <a:pt x="439282" y="1147626"/>
                      <a:pt x="439282" y="1197945"/>
                    </a:cubicBezTo>
                    <a:lnTo>
                      <a:pt x="339364" y="1197945"/>
                    </a:lnTo>
                    <a:cubicBezTo>
                      <a:pt x="339364" y="1163693"/>
                      <a:pt x="344439" y="1130640"/>
                      <a:pt x="353432" y="1099265"/>
                    </a:cubicBezTo>
                    <a:close/>
                    <a:moveTo>
                      <a:pt x="605107" y="1099265"/>
                    </a:moveTo>
                    <a:cubicBezTo>
                      <a:pt x="614100" y="1130640"/>
                      <a:pt x="619176" y="1163613"/>
                      <a:pt x="619176" y="1197945"/>
                    </a:cubicBezTo>
                    <a:lnTo>
                      <a:pt x="519257" y="1197945"/>
                    </a:lnTo>
                    <a:cubicBezTo>
                      <a:pt x="519257" y="1147546"/>
                      <a:pt x="556627" y="1106100"/>
                      <a:pt x="605107" y="1099265"/>
                    </a:cubicBezTo>
                    <a:close/>
                    <a:moveTo>
                      <a:pt x="348516" y="1277920"/>
                    </a:moveTo>
                    <a:lnTo>
                      <a:pt x="439362" y="1277920"/>
                    </a:lnTo>
                    <a:lnTo>
                      <a:pt x="439362" y="1446183"/>
                    </a:lnTo>
                    <a:cubicBezTo>
                      <a:pt x="395398" y="1400020"/>
                      <a:pt x="363424" y="1342267"/>
                      <a:pt x="348516" y="1277920"/>
                    </a:cubicBezTo>
                    <a:close/>
                    <a:moveTo>
                      <a:pt x="519297" y="1277920"/>
                    </a:moveTo>
                    <a:lnTo>
                      <a:pt x="610143" y="1277920"/>
                    </a:lnTo>
                    <a:cubicBezTo>
                      <a:pt x="595435" y="1342267"/>
                      <a:pt x="563381" y="1400100"/>
                      <a:pt x="519297" y="1446183"/>
                    </a:cubicBezTo>
                    <a:lnTo>
                      <a:pt x="519297" y="1277920"/>
                    </a:lnTo>
                    <a:close/>
                  </a:path>
                </a:pathLst>
              </a:custGeom>
              <a:solidFill>
                <a:srgbClr val="14317D"/>
              </a:solidFill>
              <a:ln w="39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uk-UA"/>
              </a:p>
            </p:txBody>
          </p:sp>
          <p:grpSp>
            <p:nvGrpSpPr>
              <p:cNvPr id="114" name="Групувати 113">
                <a:extLst>
                  <a:ext uri="{FF2B5EF4-FFF2-40B4-BE49-F238E27FC236}">
                    <a16:creationId xmlns:a16="http://schemas.microsoft.com/office/drawing/2014/main" id="{293673A8-FC7D-6B4E-B29A-65A17B796630}"/>
                  </a:ext>
                </a:extLst>
              </p:cNvPr>
              <p:cNvGrpSpPr/>
              <p:nvPr/>
            </p:nvGrpSpPr>
            <p:grpSpPr>
              <a:xfrm flipH="1">
                <a:off x="1285705" y="2924558"/>
                <a:ext cx="95049" cy="2066544"/>
                <a:chOff x="-1" y="0"/>
                <a:chExt cx="12192059" cy="6848156"/>
              </a:xfrm>
            </p:grpSpPr>
            <p:sp>
              <p:nvSpPr>
                <p:cNvPr id="115" name="Прямокутник 114">
                  <a:extLst>
                    <a:ext uri="{FF2B5EF4-FFF2-40B4-BE49-F238E27FC236}">
                      <a16:creationId xmlns:a16="http://schemas.microsoft.com/office/drawing/2014/main" id="{84E5F07F-07DC-3AF0-8DC1-7F2D330D499C}"/>
                    </a:ext>
                  </a:extLst>
                </p:cNvPr>
                <p:cNvSpPr/>
                <p:nvPr/>
              </p:nvSpPr>
              <p:spPr>
                <a:xfrm>
                  <a:off x="-1" y="0"/>
                  <a:ext cx="12192059" cy="3428999"/>
                </a:xfrm>
                <a:prstGeom prst="rect">
                  <a:avLst/>
                </a:prstGeom>
                <a:solidFill>
                  <a:srgbClr val="0256B9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16" name="Прямокутник 115">
                  <a:extLst>
                    <a:ext uri="{FF2B5EF4-FFF2-40B4-BE49-F238E27FC236}">
                      <a16:creationId xmlns:a16="http://schemas.microsoft.com/office/drawing/2014/main" id="{2B8EFE96-951E-8CD6-ED48-000B78E6E0A7}"/>
                    </a:ext>
                  </a:extLst>
                </p:cNvPr>
                <p:cNvSpPr/>
                <p:nvPr/>
              </p:nvSpPr>
              <p:spPr>
                <a:xfrm>
                  <a:off x="-1" y="3419157"/>
                  <a:ext cx="12192059" cy="3428999"/>
                </a:xfrm>
                <a:prstGeom prst="rect">
                  <a:avLst/>
                </a:prstGeom>
                <a:solidFill>
                  <a:srgbClr val="FFD703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uk-UA" dirty="0"/>
                </a:p>
              </p:txBody>
            </p:sp>
          </p:grpSp>
        </p:grpSp>
        <p:grpSp>
          <p:nvGrpSpPr>
            <p:cNvPr id="90" name="Групувати 89">
              <a:extLst>
                <a:ext uri="{FF2B5EF4-FFF2-40B4-BE49-F238E27FC236}">
                  <a16:creationId xmlns:a16="http://schemas.microsoft.com/office/drawing/2014/main" id="{044ECB85-CDC2-20A6-2D93-363641B5A52F}"/>
                </a:ext>
              </a:extLst>
            </p:cNvPr>
            <p:cNvGrpSpPr/>
            <p:nvPr/>
          </p:nvGrpSpPr>
          <p:grpSpPr>
            <a:xfrm>
              <a:off x="8828006" y="4307851"/>
              <a:ext cx="1469686" cy="527746"/>
              <a:chOff x="1546843" y="2080725"/>
              <a:chExt cx="1817682" cy="652711"/>
            </a:xfrm>
          </p:grpSpPr>
          <p:grpSp>
            <p:nvGrpSpPr>
              <p:cNvPr id="91" name="Групувати 90">
                <a:extLst>
                  <a:ext uri="{FF2B5EF4-FFF2-40B4-BE49-F238E27FC236}">
                    <a16:creationId xmlns:a16="http://schemas.microsoft.com/office/drawing/2014/main" id="{37969798-8D86-7631-C004-23B5ADEE6294}"/>
                  </a:ext>
                </a:extLst>
              </p:cNvPr>
              <p:cNvGrpSpPr/>
              <p:nvPr/>
            </p:nvGrpSpPr>
            <p:grpSpPr>
              <a:xfrm>
                <a:off x="1546843" y="2617424"/>
                <a:ext cx="1815593" cy="116012"/>
                <a:chOff x="1368277" y="2704525"/>
                <a:chExt cx="2387017" cy="149572"/>
              </a:xfrm>
              <a:solidFill>
                <a:srgbClr val="5E5B5C"/>
              </a:solidFill>
            </p:grpSpPr>
            <p:sp>
              <p:nvSpPr>
                <p:cNvPr id="93" name="Полілінія: фігура 92">
                  <a:extLst>
                    <a:ext uri="{FF2B5EF4-FFF2-40B4-BE49-F238E27FC236}">
                      <a16:creationId xmlns:a16="http://schemas.microsoft.com/office/drawing/2014/main" id="{2E0FCFFC-8B6F-3CD4-2DFE-A4ED4148E925}"/>
                    </a:ext>
                  </a:extLst>
                </p:cNvPr>
                <p:cNvSpPr/>
                <p:nvPr/>
              </p:nvSpPr>
              <p:spPr>
                <a:xfrm>
                  <a:off x="1453071" y="2704525"/>
                  <a:ext cx="136736" cy="1495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736" h="149572">
                      <a:moveTo>
                        <a:pt x="69763" y="0"/>
                      </a:moveTo>
                      <a:cubicBezTo>
                        <a:pt x="80702" y="0"/>
                        <a:pt x="90357" y="1451"/>
                        <a:pt x="98729" y="4353"/>
                      </a:cubicBezTo>
                      <a:cubicBezTo>
                        <a:pt x="107100" y="7256"/>
                        <a:pt x="114095" y="11720"/>
                        <a:pt x="119713" y="17748"/>
                      </a:cubicBezTo>
                      <a:cubicBezTo>
                        <a:pt x="125332" y="23775"/>
                        <a:pt x="129573" y="31384"/>
                        <a:pt x="132438" y="40574"/>
                      </a:cubicBezTo>
                      <a:cubicBezTo>
                        <a:pt x="135303" y="49765"/>
                        <a:pt x="136736" y="60610"/>
                        <a:pt x="136736" y="73112"/>
                      </a:cubicBezTo>
                      <a:cubicBezTo>
                        <a:pt x="136736" y="85093"/>
                        <a:pt x="135247" y="95808"/>
                        <a:pt x="132271" y="105259"/>
                      </a:cubicBezTo>
                      <a:cubicBezTo>
                        <a:pt x="129294" y="114709"/>
                        <a:pt x="124867" y="122728"/>
                        <a:pt x="118988" y="129313"/>
                      </a:cubicBezTo>
                      <a:cubicBezTo>
                        <a:pt x="113109" y="135899"/>
                        <a:pt x="105835" y="140922"/>
                        <a:pt x="97166" y="144382"/>
                      </a:cubicBezTo>
                      <a:cubicBezTo>
                        <a:pt x="88497" y="147842"/>
                        <a:pt x="78469" y="149572"/>
                        <a:pt x="67084" y="149572"/>
                      </a:cubicBezTo>
                      <a:cubicBezTo>
                        <a:pt x="55848" y="149572"/>
                        <a:pt x="46043" y="148103"/>
                        <a:pt x="37672" y="145163"/>
                      </a:cubicBezTo>
                      <a:cubicBezTo>
                        <a:pt x="29300" y="142224"/>
                        <a:pt x="22324" y="137741"/>
                        <a:pt x="16743" y="131713"/>
                      </a:cubicBezTo>
                      <a:cubicBezTo>
                        <a:pt x="11162" y="125685"/>
                        <a:pt x="6976" y="118021"/>
                        <a:pt x="4186" y="108719"/>
                      </a:cubicBezTo>
                      <a:cubicBezTo>
                        <a:pt x="1395" y="99417"/>
                        <a:pt x="0" y="88404"/>
                        <a:pt x="0" y="75679"/>
                      </a:cubicBezTo>
                      <a:cubicBezTo>
                        <a:pt x="0" y="63996"/>
                        <a:pt x="1488" y="53485"/>
                        <a:pt x="4465" y="44146"/>
                      </a:cubicBezTo>
                      <a:cubicBezTo>
                        <a:pt x="7441" y="34807"/>
                        <a:pt x="11869" y="26864"/>
                        <a:pt x="17748" y="20315"/>
                      </a:cubicBezTo>
                      <a:cubicBezTo>
                        <a:pt x="23626" y="13767"/>
                        <a:pt x="30900" y="8744"/>
                        <a:pt x="39569" y="5246"/>
                      </a:cubicBezTo>
                      <a:cubicBezTo>
                        <a:pt x="48239" y="1749"/>
                        <a:pt x="58303" y="0"/>
                        <a:pt x="69763" y="0"/>
                      </a:cubicBezTo>
                      <a:close/>
                      <a:moveTo>
                        <a:pt x="68758" y="24110"/>
                      </a:moveTo>
                      <a:cubicBezTo>
                        <a:pt x="61540" y="24110"/>
                        <a:pt x="55513" y="25468"/>
                        <a:pt x="50676" y="28184"/>
                      </a:cubicBezTo>
                      <a:cubicBezTo>
                        <a:pt x="45839" y="30901"/>
                        <a:pt x="41932" y="34528"/>
                        <a:pt x="38956" y="39068"/>
                      </a:cubicBezTo>
                      <a:cubicBezTo>
                        <a:pt x="35979" y="43607"/>
                        <a:pt x="33877" y="48909"/>
                        <a:pt x="32649" y="54974"/>
                      </a:cubicBezTo>
                      <a:cubicBezTo>
                        <a:pt x="31421" y="61038"/>
                        <a:pt x="30807" y="67456"/>
                        <a:pt x="30807" y="74228"/>
                      </a:cubicBezTo>
                      <a:cubicBezTo>
                        <a:pt x="30807" y="82116"/>
                        <a:pt x="31403" y="89204"/>
                        <a:pt x="32593" y="95492"/>
                      </a:cubicBezTo>
                      <a:cubicBezTo>
                        <a:pt x="33784" y="101780"/>
                        <a:pt x="35793" y="107156"/>
                        <a:pt x="38621" y="111621"/>
                      </a:cubicBezTo>
                      <a:cubicBezTo>
                        <a:pt x="41448" y="116086"/>
                        <a:pt x="45244" y="119491"/>
                        <a:pt x="50006" y="121835"/>
                      </a:cubicBezTo>
                      <a:cubicBezTo>
                        <a:pt x="54769" y="124179"/>
                        <a:pt x="60759" y="125351"/>
                        <a:pt x="67977" y="125351"/>
                      </a:cubicBezTo>
                      <a:cubicBezTo>
                        <a:pt x="75195" y="125351"/>
                        <a:pt x="81223" y="124011"/>
                        <a:pt x="86060" y="121332"/>
                      </a:cubicBezTo>
                      <a:cubicBezTo>
                        <a:pt x="90897" y="118653"/>
                        <a:pt x="94803" y="115007"/>
                        <a:pt x="97780" y="110393"/>
                      </a:cubicBezTo>
                      <a:cubicBezTo>
                        <a:pt x="100756" y="105780"/>
                        <a:pt x="102859" y="100403"/>
                        <a:pt x="104086" y="94264"/>
                      </a:cubicBezTo>
                      <a:cubicBezTo>
                        <a:pt x="105314" y="88125"/>
                        <a:pt x="105928" y="81595"/>
                        <a:pt x="105928" y="74675"/>
                      </a:cubicBezTo>
                      <a:cubicBezTo>
                        <a:pt x="105928" y="67084"/>
                        <a:pt x="105333" y="60183"/>
                        <a:pt x="104142" y="53969"/>
                      </a:cubicBezTo>
                      <a:cubicBezTo>
                        <a:pt x="102952" y="47755"/>
                        <a:pt x="100924" y="42435"/>
                        <a:pt x="98059" y="38007"/>
                      </a:cubicBezTo>
                      <a:cubicBezTo>
                        <a:pt x="95194" y="33579"/>
                        <a:pt x="91380" y="30156"/>
                        <a:pt x="86618" y="27738"/>
                      </a:cubicBezTo>
                      <a:cubicBezTo>
                        <a:pt x="81855" y="25320"/>
                        <a:pt x="75902" y="24110"/>
                        <a:pt x="68758" y="241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94" name="Полілінія: фігура 93">
                  <a:extLst>
                    <a:ext uri="{FF2B5EF4-FFF2-40B4-BE49-F238E27FC236}">
                      <a16:creationId xmlns:a16="http://schemas.microsoft.com/office/drawing/2014/main" id="{B9276EFC-EAD7-581C-45DC-4F9330F8EAC6}"/>
                    </a:ext>
                  </a:extLst>
                </p:cNvPr>
                <p:cNvSpPr/>
                <p:nvPr/>
              </p:nvSpPr>
              <p:spPr>
                <a:xfrm>
                  <a:off x="2232223" y="2704525"/>
                  <a:ext cx="94320" cy="1495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4320" h="149572">
                      <a:moveTo>
                        <a:pt x="50899" y="0"/>
                      </a:moveTo>
                      <a:cubicBezTo>
                        <a:pt x="54323" y="0"/>
                        <a:pt x="57746" y="261"/>
                        <a:pt x="61169" y="781"/>
                      </a:cubicBezTo>
                      <a:cubicBezTo>
                        <a:pt x="64592" y="1302"/>
                        <a:pt x="67792" y="2009"/>
                        <a:pt x="70768" y="2902"/>
                      </a:cubicBezTo>
                      <a:cubicBezTo>
                        <a:pt x="73745" y="3795"/>
                        <a:pt x="76386" y="4800"/>
                        <a:pt x="78693" y="5916"/>
                      </a:cubicBezTo>
                      <a:cubicBezTo>
                        <a:pt x="81000" y="7032"/>
                        <a:pt x="82525" y="7962"/>
                        <a:pt x="83270" y="8707"/>
                      </a:cubicBezTo>
                      <a:cubicBezTo>
                        <a:pt x="84014" y="9451"/>
                        <a:pt x="84516" y="10083"/>
                        <a:pt x="84776" y="10604"/>
                      </a:cubicBezTo>
                      <a:cubicBezTo>
                        <a:pt x="85037" y="11125"/>
                        <a:pt x="85260" y="11813"/>
                        <a:pt x="85446" y="12669"/>
                      </a:cubicBezTo>
                      <a:cubicBezTo>
                        <a:pt x="85632" y="13525"/>
                        <a:pt x="85762" y="14604"/>
                        <a:pt x="85837" y="15906"/>
                      </a:cubicBezTo>
                      <a:cubicBezTo>
                        <a:pt x="85911" y="17208"/>
                        <a:pt x="85949" y="18827"/>
                        <a:pt x="85949" y="20762"/>
                      </a:cubicBezTo>
                      <a:cubicBezTo>
                        <a:pt x="85949" y="22920"/>
                        <a:pt x="85893" y="24743"/>
                        <a:pt x="85781" y="26231"/>
                      </a:cubicBezTo>
                      <a:cubicBezTo>
                        <a:pt x="85669" y="27719"/>
                        <a:pt x="85483" y="28947"/>
                        <a:pt x="85223" y="29915"/>
                      </a:cubicBezTo>
                      <a:cubicBezTo>
                        <a:pt x="84963" y="30882"/>
                        <a:pt x="84591" y="31589"/>
                        <a:pt x="84107" y="32035"/>
                      </a:cubicBezTo>
                      <a:cubicBezTo>
                        <a:pt x="83623" y="32482"/>
                        <a:pt x="82972" y="32705"/>
                        <a:pt x="82153" y="32705"/>
                      </a:cubicBezTo>
                      <a:cubicBezTo>
                        <a:pt x="81335" y="32705"/>
                        <a:pt x="80033" y="32184"/>
                        <a:pt x="78247" y="31142"/>
                      </a:cubicBezTo>
                      <a:cubicBezTo>
                        <a:pt x="76461" y="30101"/>
                        <a:pt x="74266" y="28966"/>
                        <a:pt x="71661" y="27738"/>
                      </a:cubicBezTo>
                      <a:cubicBezTo>
                        <a:pt x="69057" y="26510"/>
                        <a:pt x="66043" y="25394"/>
                        <a:pt x="62620" y="24389"/>
                      </a:cubicBezTo>
                      <a:cubicBezTo>
                        <a:pt x="59197" y="23385"/>
                        <a:pt x="55439" y="22882"/>
                        <a:pt x="51346" y="22882"/>
                      </a:cubicBezTo>
                      <a:cubicBezTo>
                        <a:pt x="48146" y="22882"/>
                        <a:pt x="45356" y="23273"/>
                        <a:pt x="42974" y="24054"/>
                      </a:cubicBezTo>
                      <a:cubicBezTo>
                        <a:pt x="40593" y="24836"/>
                        <a:pt x="38603" y="25915"/>
                        <a:pt x="37003" y="27292"/>
                      </a:cubicBezTo>
                      <a:cubicBezTo>
                        <a:pt x="35403" y="28668"/>
                        <a:pt x="34212" y="30324"/>
                        <a:pt x="33431" y="32259"/>
                      </a:cubicBezTo>
                      <a:cubicBezTo>
                        <a:pt x="32649" y="34193"/>
                        <a:pt x="32259" y="36240"/>
                        <a:pt x="32259" y="38398"/>
                      </a:cubicBezTo>
                      <a:cubicBezTo>
                        <a:pt x="32259" y="41598"/>
                        <a:pt x="33133" y="44370"/>
                        <a:pt x="34882" y="46714"/>
                      </a:cubicBezTo>
                      <a:cubicBezTo>
                        <a:pt x="36631" y="49058"/>
                        <a:pt x="38975" y="51141"/>
                        <a:pt x="41914" y="52964"/>
                      </a:cubicBezTo>
                      <a:cubicBezTo>
                        <a:pt x="44853" y="54787"/>
                        <a:pt x="48183" y="56499"/>
                        <a:pt x="51904" y="58099"/>
                      </a:cubicBezTo>
                      <a:cubicBezTo>
                        <a:pt x="55625" y="59699"/>
                        <a:pt x="59420" y="61392"/>
                        <a:pt x="63289" y="63178"/>
                      </a:cubicBezTo>
                      <a:cubicBezTo>
                        <a:pt x="67159" y="64964"/>
                        <a:pt x="70954" y="66991"/>
                        <a:pt x="74675" y="69261"/>
                      </a:cubicBezTo>
                      <a:cubicBezTo>
                        <a:pt x="78396" y="71531"/>
                        <a:pt x="81707" y="74247"/>
                        <a:pt x="84609" y="77409"/>
                      </a:cubicBezTo>
                      <a:cubicBezTo>
                        <a:pt x="87511" y="80572"/>
                        <a:pt x="89855" y="84293"/>
                        <a:pt x="91641" y="88571"/>
                      </a:cubicBezTo>
                      <a:cubicBezTo>
                        <a:pt x="93427" y="92850"/>
                        <a:pt x="94320" y="97892"/>
                        <a:pt x="94320" y="103696"/>
                      </a:cubicBezTo>
                      <a:cubicBezTo>
                        <a:pt x="94320" y="111286"/>
                        <a:pt x="92906" y="117946"/>
                        <a:pt x="90078" y="123676"/>
                      </a:cubicBezTo>
                      <a:cubicBezTo>
                        <a:pt x="87251" y="129406"/>
                        <a:pt x="83418" y="134187"/>
                        <a:pt x="78582" y="138020"/>
                      </a:cubicBezTo>
                      <a:cubicBezTo>
                        <a:pt x="73745" y="141852"/>
                        <a:pt x="68089" y="144735"/>
                        <a:pt x="61615" y="146670"/>
                      </a:cubicBezTo>
                      <a:cubicBezTo>
                        <a:pt x="55141" y="148605"/>
                        <a:pt x="48221" y="149572"/>
                        <a:pt x="40854" y="149572"/>
                      </a:cubicBezTo>
                      <a:cubicBezTo>
                        <a:pt x="35868" y="149572"/>
                        <a:pt x="31236" y="149163"/>
                        <a:pt x="26957" y="148345"/>
                      </a:cubicBezTo>
                      <a:cubicBezTo>
                        <a:pt x="22678" y="147526"/>
                        <a:pt x="18902" y="146540"/>
                        <a:pt x="15627" y="145387"/>
                      </a:cubicBezTo>
                      <a:cubicBezTo>
                        <a:pt x="12353" y="144233"/>
                        <a:pt x="9618" y="143024"/>
                        <a:pt x="7423" y="141759"/>
                      </a:cubicBezTo>
                      <a:cubicBezTo>
                        <a:pt x="5228" y="140494"/>
                        <a:pt x="3647" y="139378"/>
                        <a:pt x="2679" y="138410"/>
                      </a:cubicBezTo>
                      <a:cubicBezTo>
                        <a:pt x="1712" y="137443"/>
                        <a:pt x="1023" y="136048"/>
                        <a:pt x="614" y="134225"/>
                      </a:cubicBezTo>
                      <a:cubicBezTo>
                        <a:pt x="205" y="132401"/>
                        <a:pt x="0" y="129778"/>
                        <a:pt x="0" y="126355"/>
                      </a:cubicBezTo>
                      <a:cubicBezTo>
                        <a:pt x="0" y="124048"/>
                        <a:pt x="75" y="122114"/>
                        <a:pt x="224" y="120551"/>
                      </a:cubicBezTo>
                      <a:cubicBezTo>
                        <a:pt x="372" y="118988"/>
                        <a:pt x="614" y="117723"/>
                        <a:pt x="949" y="116756"/>
                      </a:cubicBezTo>
                      <a:cubicBezTo>
                        <a:pt x="1284" y="115788"/>
                        <a:pt x="1730" y="115100"/>
                        <a:pt x="2289" y="114691"/>
                      </a:cubicBezTo>
                      <a:cubicBezTo>
                        <a:pt x="2847" y="114282"/>
                        <a:pt x="3498" y="114077"/>
                        <a:pt x="4242" y="114077"/>
                      </a:cubicBezTo>
                      <a:cubicBezTo>
                        <a:pt x="5284" y="114077"/>
                        <a:pt x="6753" y="114691"/>
                        <a:pt x="8651" y="115919"/>
                      </a:cubicBezTo>
                      <a:cubicBezTo>
                        <a:pt x="10548" y="117146"/>
                        <a:pt x="12986" y="118505"/>
                        <a:pt x="15962" y="119993"/>
                      </a:cubicBezTo>
                      <a:cubicBezTo>
                        <a:pt x="18939" y="121481"/>
                        <a:pt x="22492" y="122839"/>
                        <a:pt x="26622" y="124067"/>
                      </a:cubicBezTo>
                      <a:cubicBezTo>
                        <a:pt x="30752" y="125295"/>
                        <a:pt x="35533" y="125909"/>
                        <a:pt x="40965" y="125909"/>
                      </a:cubicBezTo>
                      <a:cubicBezTo>
                        <a:pt x="44537" y="125909"/>
                        <a:pt x="47737" y="125481"/>
                        <a:pt x="50565" y="124625"/>
                      </a:cubicBezTo>
                      <a:cubicBezTo>
                        <a:pt x="53392" y="123769"/>
                        <a:pt x="55792" y="122560"/>
                        <a:pt x="57764" y="120997"/>
                      </a:cubicBezTo>
                      <a:cubicBezTo>
                        <a:pt x="59736" y="119435"/>
                        <a:pt x="61243" y="117500"/>
                        <a:pt x="62285" y="115193"/>
                      </a:cubicBezTo>
                      <a:cubicBezTo>
                        <a:pt x="63327" y="112886"/>
                        <a:pt x="63848" y="110319"/>
                        <a:pt x="63848" y="107491"/>
                      </a:cubicBezTo>
                      <a:cubicBezTo>
                        <a:pt x="63848" y="104217"/>
                        <a:pt x="62955" y="101408"/>
                        <a:pt x="61169" y="99064"/>
                      </a:cubicBezTo>
                      <a:cubicBezTo>
                        <a:pt x="59383" y="96720"/>
                        <a:pt x="57057" y="94636"/>
                        <a:pt x="54192" y="92813"/>
                      </a:cubicBezTo>
                      <a:cubicBezTo>
                        <a:pt x="51327" y="90990"/>
                        <a:pt x="48072" y="89278"/>
                        <a:pt x="44426" y="87679"/>
                      </a:cubicBezTo>
                      <a:cubicBezTo>
                        <a:pt x="40779" y="86079"/>
                        <a:pt x="37021" y="84386"/>
                        <a:pt x="33152" y="82600"/>
                      </a:cubicBezTo>
                      <a:cubicBezTo>
                        <a:pt x="29282" y="80814"/>
                        <a:pt x="25524" y="78786"/>
                        <a:pt x="21878" y="76516"/>
                      </a:cubicBezTo>
                      <a:cubicBezTo>
                        <a:pt x="18232" y="74247"/>
                        <a:pt x="14976" y="71531"/>
                        <a:pt x="12111" y="68368"/>
                      </a:cubicBezTo>
                      <a:cubicBezTo>
                        <a:pt x="9246" y="65205"/>
                        <a:pt x="6921" y="61466"/>
                        <a:pt x="5135" y="57150"/>
                      </a:cubicBezTo>
                      <a:cubicBezTo>
                        <a:pt x="3349" y="52834"/>
                        <a:pt x="2456" y="47662"/>
                        <a:pt x="2456" y="41635"/>
                      </a:cubicBezTo>
                      <a:cubicBezTo>
                        <a:pt x="2456" y="34714"/>
                        <a:pt x="3740" y="28631"/>
                        <a:pt x="6307" y="23385"/>
                      </a:cubicBezTo>
                      <a:cubicBezTo>
                        <a:pt x="8874" y="18139"/>
                        <a:pt x="12334" y="13785"/>
                        <a:pt x="16688" y="10325"/>
                      </a:cubicBezTo>
                      <a:cubicBezTo>
                        <a:pt x="21041" y="6865"/>
                        <a:pt x="26175" y="4279"/>
                        <a:pt x="32091" y="2567"/>
                      </a:cubicBezTo>
                      <a:cubicBezTo>
                        <a:pt x="38007" y="856"/>
                        <a:pt x="44277" y="0"/>
                        <a:pt x="5089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95" name="Полілінія: фігура 94">
                  <a:extLst>
                    <a:ext uri="{FF2B5EF4-FFF2-40B4-BE49-F238E27FC236}">
                      <a16:creationId xmlns:a16="http://schemas.microsoft.com/office/drawing/2014/main" id="{D24013E9-09FB-78DC-DCB3-7E9E3CB90B44}"/>
                    </a:ext>
                  </a:extLst>
                </p:cNvPr>
                <p:cNvSpPr/>
                <p:nvPr/>
              </p:nvSpPr>
              <p:spPr>
                <a:xfrm>
                  <a:off x="2729309" y="2704748"/>
                  <a:ext cx="106822" cy="1491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822" h="149126">
                      <a:moveTo>
                        <a:pt x="66973" y="0"/>
                      </a:moveTo>
                      <a:cubicBezTo>
                        <a:pt x="70991" y="0"/>
                        <a:pt x="74861" y="335"/>
                        <a:pt x="78582" y="1005"/>
                      </a:cubicBezTo>
                      <a:cubicBezTo>
                        <a:pt x="82302" y="1675"/>
                        <a:pt x="85744" y="2549"/>
                        <a:pt x="88907" y="3628"/>
                      </a:cubicBezTo>
                      <a:cubicBezTo>
                        <a:pt x="92069" y="4707"/>
                        <a:pt x="94915" y="5954"/>
                        <a:pt x="97446" y="7367"/>
                      </a:cubicBezTo>
                      <a:cubicBezTo>
                        <a:pt x="99976" y="8781"/>
                        <a:pt x="101743" y="9990"/>
                        <a:pt x="102748" y="10995"/>
                      </a:cubicBezTo>
                      <a:cubicBezTo>
                        <a:pt x="103752" y="12000"/>
                        <a:pt x="104440" y="12837"/>
                        <a:pt x="104813" y="13507"/>
                      </a:cubicBezTo>
                      <a:cubicBezTo>
                        <a:pt x="105185" y="14176"/>
                        <a:pt x="105482" y="15032"/>
                        <a:pt x="105705" y="16074"/>
                      </a:cubicBezTo>
                      <a:cubicBezTo>
                        <a:pt x="105929" y="17116"/>
                        <a:pt x="106096" y="18343"/>
                        <a:pt x="106208" y="19757"/>
                      </a:cubicBezTo>
                      <a:cubicBezTo>
                        <a:pt x="106319" y="21171"/>
                        <a:pt x="106375" y="22920"/>
                        <a:pt x="106375" y="25004"/>
                      </a:cubicBezTo>
                      <a:cubicBezTo>
                        <a:pt x="106375" y="27236"/>
                        <a:pt x="106301" y="29134"/>
                        <a:pt x="106152" y="30696"/>
                      </a:cubicBezTo>
                      <a:cubicBezTo>
                        <a:pt x="106003" y="32259"/>
                        <a:pt x="105743" y="33524"/>
                        <a:pt x="105371" y="34491"/>
                      </a:cubicBezTo>
                      <a:cubicBezTo>
                        <a:pt x="104999" y="35459"/>
                        <a:pt x="104552" y="36166"/>
                        <a:pt x="104031" y="36612"/>
                      </a:cubicBezTo>
                      <a:cubicBezTo>
                        <a:pt x="103510" y="37059"/>
                        <a:pt x="102915" y="37282"/>
                        <a:pt x="102245" y="37282"/>
                      </a:cubicBezTo>
                      <a:cubicBezTo>
                        <a:pt x="101129" y="37282"/>
                        <a:pt x="99715" y="36631"/>
                        <a:pt x="98004" y="35328"/>
                      </a:cubicBezTo>
                      <a:cubicBezTo>
                        <a:pt x="96292" y="34026"/>
                        <a:pt x="94078" y="32575"/>
                        <a:pt x="91362" y="30975"/>
                      </a:cubicBezTo>
                      <a:cubicBezTo>
                        <a:pt x="88646" y="29375"/>
                        <a:pt x="85409" y="27924"/>
                        <a:pt x="81651" y="26622"/>
                      </a:cubicBezTo>
                      <a:cubicBezTo>
                        <a:pt x="77893" y="25320"/>
                        <a:pt x="73410" y="24669"/>
                        <a:pt x="68201" y="24669"/>
                      </a:cubicBezTo>
                      <a:cubicBezTo>
                        <a:pt x="62471" y="24669"/>
                        <a:pt x="57355" y="25841"/>
                        <a:pt x="52853" y="28185"/>
                      </a:cubicBezTo>
                      <a:cubicBezTo>
                        <a:pt x="48351" y="30529"/>
                        <a:pt x="44519" y="33877"/>
                        <a:pt x="41356" y="38231"/>
                      </a:cubicBezTo>
                      <a:cubicBezTo>
                        <a:pt x="38193" y="42584"/>
                        <a:pt x="35793" y="47849"/>
                        <a:pt x="34156" y="54025"/>
                      </a:cubicBezTo>
                      <a:cubicBezTo>
                        <a:pt x="32519" y="60201"/>
                        <a:pt x="31701" y="67159"/>
                        <a:pt x="31701" y="74898"/>
                      </a:cubicBezTo>
                      <a:cubicBezTo>
                        <a:pt x="31701" y="83381"/>
                        <a:pt x="32575" y="90730"/>
                        <a:pt x="34324" y="96943"/>
                      </a:cubicBezTo>
                      <a:cubicBezTo>
                        <a:pt x="36073" y="103157"/>
                        <a:pt x="38565" y="108273"/>
                        <a:pt x="41802" y="112291"/>
                      </a:cubicBezTo>
                      <a:cubicBezTo>
                        <a:pt x="45039" y="116310"/>
                        <a:pt x="48946" y="119305"/>
                        <a:pt x="53523" y="121277"/>
                      </a:cubicBezTo>
                      <a:cubicBezTo>
                        <a:pt x="58099" y="123249"/>
                        <a:pt x="63252" y="124235"/>
                        <a:pt x="68982" y="124235"/>
                      </a:cubicBezTo>
                      <a:cubicBezTo>
                        <a:pt x="74191" y="124235"/>
                        <a:pt x="78693" y="123621"/>
                        <a:pt x="82488" y="122393"/>
                      </a:cubicBezTo>
                      <a:cubicBezTo>
                        <a:pt x="86283" y="121165"/>
                        <a:pt x="89539" y="119807"/>
                        <a:pt x="92255" y="118319"/>
                      </a:cubicBezTo>
                      <a:cubicBezTo>
                        <a:pt x="94971" y="116830"/>
                        <a:pt x="97204" y="115491"/>
                        <a:pt x="98952" y="114300"/>
                      </a:cubicBezTo>
                      <a:cubicBezTo>
                        <a:pt x="100701" y="113110"/>
                        <a:pt x="102059" y="112514"/>
                        <a:pt x="103027" y="112514"/>
                      </a:cubicBezTo>
                      <a:cubicBezTo>
                        <a:pt x="103771" y="112514"/>
                        <a:pt x="104366" y="112663"/>
                        <a:pt x="104813" y="112961"/>
                      </a:cubicBezTo>
                      <a:cubicBezTo>
                        <a:pt x="105259" y="113259"/>
                        <a:pt x="105631" y="113854"/>
                        <a:pt x="105929" y="114747"/>
                      </a:cubicBezTo>
                      <a:cubicBezTo>
                        <a:pt x="106226" y="115640"/>
                        <a:pt x="106450" y="116886"/>
                        <a:pt x="106598" y="118486"/>
                      </a:cubicBezTo>
                      <a:cubicBezTo>
                        <a:pt x="106747" y="120086"/>
                        <a:pt x="106822" y="122225"/>
                        <a:pt x="106822" y="124904"/>
                      </a:cubicBezTo>
                      <a:cubicBezTo>
                        <a:pt x="106822" y="126765"/>
                        <a:pt x="106766" y="128346"/>
                        <a:pt x="106654" y="129648"/>
                      </a:cubicBezTo>
                      <a:cubicBezTo>
                        <a:pt x="106543" y="130951"/>
                        <a:pt x="106375" y="132067"/>
                        <a:pt x="106152" y="132997"/>
                      </a:cubicBezTo>
                      <a:cubicBezTo>
                        <a:pt x="105929" y="133927"/>
                        <a:pt x="105631" y="134727"/>
                        <a:pt x="105259" y="135397"/>
                      </a:cubicBezTo>
                      <a:cubicBezTo>
                        <a:pt x="104887" y="136067"/>
                        <a:pt x="104292" y="136829"/>
                        <a:pt x="103473" y="137685"/>
                      </a:cubicBezTo>
                      <a:cubicBezTo>
                        <a:pt x="102655" y="138541"/>
                        <a:pt x="101073" y="139638"/>
                        <a:pt x="98729" y="140978"/>
                      </a:cubicBezTo>
                      <a:cubicBezTo>
                        <a:pt x="96385" y="142317"/>
                        <a:pt x="93520" y="143601"/>
                        <a:pt x="90134" y="144829"/>
                      </a:cubicBezTo>
                      <a:cubicBezTo>
                        <a:pt x="86749" y="146057"/>
                        <a:pt x="82879" y="147080"/>
                        <a:pt x="78526" y="147898"/>
                      </a:cubicBezTo>
                      <a:cubicBezTo>
                        <a:pt x="74173" y="148717"/>
                        <a:pt x="69466" y="149126"/>
                        <a:pt x="64406" y="149126"/>
                      </a:cubicBezTo>
                      <a:cubicBezTo>
                        <a:pt x="54509" y="149126"/>
                        <a:pt x="45579" y="147601"/>
                        <a:pt x="37617" y="144550"/>
                      </a:cubicBezTo>
                      <a:cubicBezTo>
                        <a:pt x="29654" y="141499"/>
                        <a:pt x="22883" y="136941"/>
                        <a:pt x="17302" y="130876"/>
                      </a:cubicBezTo>
                      <a:cubicBezTo>
                        <a:pt x="11721" y="124811"/>
                        <a:pt x="7442" y="117240"/>
                        <a:pt x="4465" y="108161"/>
                      </a:cubicBezTo>
                      <a:cubicBezTo>
                        <a:pt x="1489" y="99083"/>
                        <a:pt x="0" y="88516"/>
                        <a:pt x="0" y="76461"/>
                      </a:cubicBezTo>
                      <a:cubicBezTo>
                        <a:pt x="0" y="64183"/>
                        <a:pt x="1637" y="53281"/>
                        <a:pt x="4912" y="43756"/>
                      </a:cubicBezTo>
                      <a:cubicBezTo>
                        <a:pt x="8186" y="34231"/>
                        <a:pt x="12762" y="26231"/>
                        <a:pt x="18641" y="19757"/>
                      </a:cubicBezTo>
                      <a:cubicBezTo>
                        <a:pt x="24520" y="13283"/>
                        <a:pt x="31570" y="8372"/>
                        <a:pt x="39793" y="5023"/>
                      </a:cubicBezTo>
                      <a:cubicBezTo>
                        <a:pt x="48016" y="1675"/>
                        <a:pt x="57076" y="0"/>
                        <a:pt x="6697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96" name="Полілінія: фігура 95">
                  <a:extLst>
                    <a:ext uri="{FF2B5EF4-FFF2-40B4-BE49-F238E27FC236}">
                      <a16:creationId xmlns:a16="http://schemas.microsoft.com/office/drawing/2014/main" id="{ACA5DD20-618C-CEC1-86AF-81246128D27B}"/>
                    </a:ext>
                  </a:extLst>
                </p:cNvPr>
                <p:cNvSpPr/>
                <p:nvPr/>
              </p:nvSpPr>
              <p:spPr>
                <a:xfrm>
                  <a:off x="3024584" y="2704748"/>
                  <a:ext cx="106822" cy="14912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822" h="149126">
                      <a:moveTo>
                        <a:pt x="66973" y="0"/>
                      </a:moveTo>
                      <a:cubicBezTo>
                        <a:pt x="70991" y="0"/>
                        <a:pt x="74861" y="335"/>
                        <a:pt x="78582" y="1005"/>
                      </a:cubicBezTo>
                      <a:cubicBezTo>
                        <a:pt x="82302" y="1675"/>
                        <a:pt x="85744" y="2549"/>
                        <a:pt x="88907" y="3628"/>
                      </a:cubicBezTo>
                      <a:cubicBezTo>
                        <a:pt x="92069" y="4707"/>
                        <a:pt x="94915" y="5954"/>
                        <a:pt x="97446" y="7367"/>
                      </a:cubicBezTo>
                      <a:cubicBezTo>
                        <a:pt x="99976" y="8781"/>
                        <a:pt x="101743" y="9990"/>
                        <a:pt x="102748" y="10995"/>
                      </a:cubicBezTo>
                      <a:cubicBezTo>
                        <a:pt x="103752" y="12000"/>
                        <a:pt x="104440" y="12837"/>
                        <a:pt x="104813" y="13507"/>
                      </a:cubicBezTo>
                      <a:cubicBezTo>
                        <a:pt x="105185" y="14176"/>
                        <a:pt x="105482" y="15032"/>
                        <a:pt x="105705" y="16074"/>
                      </a:cubicBezTo>
                      <a:cubicBezTo>
                        <a:pt x="105929" y="17116"/>
                        <a:pt x="106096" y="18343"/>
                        <a:pt x="106208" y="19757"/>
                      </a:cubicBezTo>
                      <a:cubicBezTo>
                        <a:pt x="106319" y="21171"/>
                        <a:pt x="106375" y="22920"/>
                        <a:pt x="106375" y="25004"/>
                      </a:cubicBezTo>
                      <a:cubicBezTo>
                        <a:pt x="106375" y="27236"/>
                        <a:pt x="106301" y="29134"/>
                        <a:pt x="106152" y="30696"/>
                      </a:cubicBezTo>
                      <a:cubicBezTo>
                        <a:pt x="106003" y="32259"/>
                        <a:pt x="105743" y="33524"/>
                        <a:pt x="105371" y="34491"/>
                      </a:cubicBezTo>
                      <a:cubicBezTo>
                        <a:pt x="104999" y="35459"/>
                        <a:pt x="104552" y="36166"/>
                        <a:pt x="104031" y="36612"/>
                      </a:cubicBezTo>
                      <a:cubicBezTo>
                        <a:pt x="103510" y="37059"/>
                        <a:pt x="102915" y="37282"/>
                        <a:pt x="102245" y="37282"/>
                      </a:cubicBezTo>
                      <a:cubicBezTo>
                        <a:pt x="101129" y="37282"/>
                        <a:pt x="99715" y="36631"/>
                        <a:pt x="98004" y="35328"/>
                      </a:cubicBezTo>
                      <a:cubicBezTo>
                        <a:pt x="96292" y="34026"/>
                        <a:pt x="94078" y="32575"/>
                        <a:pt x="91362" y="30975"/>
                      </a:cubicBezTo>
                      <a:cubicBezTo>
                        <a:pt x="88646" y="29375"/>
                        <a:pt x="85409" y="27924"/>
                        <a:pt x="81651" y="26622"/>
                      </a:cubicBezTo>
                      <a:cubicBezTo>
                        <a:pt x="77893" y="25320"/>
                        <a:pt x="73410" y="24669"/>
                        <a:pt x="68201" y="24669"/>
                      </a:cubicBezTo>
                      <a:cubicBezTo>
                        <a:pt x="62471" y="24669"/>
                        <a:pt x="57355" y="25841"/>
                        <a:pt x="52853" y="28185"/>
                      </a:cubicBezTo>
                      <a:cubicBezTo>
                        <a:pt x="48351" y="30529"/>
                        <a:pt x="44519" y="33877"/>
                        <a:pt x="41356" y="38231"/>
                      </a:cubicBezTo>
                      <a:cubicBezTo>
                        <a:pt x="38193" y="42584"/>
                        <a:pt x="35793" y="47849"/>
                        <a:pt x="34156" y="54025"/>
                      </a:cubicBezTo>
                      <a:cubicBezTo>
                        <a:pt x="32519" y="60201"/>
                        <a:pt x="31701" y="67159"/>
                        <a:pt x="31701" y="74898"/>
                      </a:cubicBezTo>
                      <a:cubicBezTo>
                        <a:pt x="31701" y="83381"/>
                        <a:pt x="32575" y="90730"/>
                        <a:pt x="34324" y="96943"/>
                      </a:cubicBezTo>
                      <a:cubicBezTo>
                        <a:pt x="36073" y="103157"/>
                        <a:pt x="38565" y="108273"/>
                        <a:pt x="41802" y="112291"/>
                      </a:cubicBezTo>
                      <a:cubicBezTo>
                        <a:pt x="45039" y="116310"/>
                        <a:pt x="48946" y="119305"/>
                        <a:pt x="53523" y="121277"/>
                      </a:cubicBezTo>
                      <a:cubicBezTo>
                        <a:pt x="58099" y="123249"/>
                        <a:pt x="63252" y="124235"/>
                        <a:pt x="68982" y="124235"/>
                      </a:cubicBezTo>
                      <a:cubicBezTo>
                        <a:pt x="74191" y="124235"/>
                        <a:pt x="78693" y="123621"/>
                        <a:pt x="82488" y="122393"/>
                      </a:cubicBezTo>
                      <a:cubicBezTo>
                        <a:pt x="86283" y="121165"/>
                        <a:pt x="89539" y="119807"/>
                        <a:pt x="92255" y="118319"/>
                      </a:cubicBezTo>
                      <a:cubicBezTo>
                        <a:pt x="94971" y="116830"/>
                        <a:pt x="97204" y="115491"/>
                        <a:pt x="98952" y="114300"/>
                      </a:cubicBezTo>
                      <a:cubicBezTo>
                        <a:pt x="100701" y="113110"/>
                        <a:pt x="102059" y="112514"/>
                        <a:pt x="103027" y="112514"/>
                      </a:cubicBezTo>
                      <a:cubicBezTo>
                        <a:pt x="103771" y="112514"/>
                        <a:pt x="104366" y="112663"/>
                        <a:pt x="104813" y="112961"/>
                      </a:cubicBezTo>
                      <a:cubicBezTo>
                        <a:pt x="105259" y="113259"/>
                        <a:pt x="105631" y="113854"/>
                        <a:pt x="105929" y="114747"/>
                      </a:cubicBezTo>
                      <a:cubicBezTo>
                        <a:pt x="106226" y="115640"/>
                        <a:pt x="106450" y="116886"/>
                        <a:pt x="106598" y="118486"/>
                      </a:cubicBezTo>
                      <a:cubicBezTo>
                        <a:pt x="106747" y="120086"/>
                        <a:pt x="106822" y="122225"/>
                        <a:pt x="106822" y="124904"/>
                      </a:cubicBezTo>
                      <a:cubicBezTo>
                        <a:pt x="106822" y="126765"/>
                        <a:pt x="106766" y="128346"/>
                        <a:pt x="106654" y="129648"/>
                      </a:cubicBezTo>
                      <a:cubicBezTo>
                        <a:pt x="106543" y="130951"/>
                        <a:pt x="106375" y="132067"/>
                        <a:pt x="106152" y="132997"/>
                      </a:cubicBezTo>
                      <a:cubicBezTo>
                        <a:pt x="105929" y="133927"/>
                        <a:pt x="105631" y="134727"/>
                        <a:pt x="105259" y="135397"/>
                      </a:cubicBezTo>
                      <a:cubicBezTo>
                        <a:pt x="104887" y="136067"/>
                        <a:pt x="104292" y="136829"/>
                        <a:pt x="103473" y="137685"/>
                      </a:cubicBezTo>
                      <a:cubicBezTo>
                        <a:pt x="102655" y="138541"/>
                        <a:pt x="101073" y="139638"/>
                        <a:pt x="98729" y="140978"/>
                      </a:cubicBezTo>
                      <a:cubicBezTo>
                        <a:pt x="96385" y="142317"/>
                        <a:pt x="93520" y="143601"/>
                        <a:pt x="90134" y="144829"/>
                      </a:cubicBezTo>
                      <a:cubicBezTo>
                        <a:pt x="86749" y="146057"/>
                        <a:pt x="82879" y="147080"/>
                        <a:pt x="78526" y="147898"/>
                      </a:cubicBezTo>
                      <a:cubicBezTo>
                        <a:pt x="74173" y="148717"/>
                        <a:pt x="69466" y="149126"/>
                        <a:pt x="64406" y="149126"/>
                      </a:cubicBezTo>
                      <a:cubicBezTo>
                        <a:pt x="54509" y="149126"/>
                        <a:pt x="45579" y="147601"/>
                        <a:pt x="37617" y="144550"/>
                      </a:cubicBezTo>
                      <a:cubicBezTo>
                        <a:pt x="29654" y="141499"/>
                        <a:pt x="22883" y="136941"/>
                        <a:pt x="17302" y="130876"/>
                      </a:cubicBezTo>
                      <a:cubicBezTo>
                        <a:pt x="11721" y="124811"/>
                        <a:pt x="7442" y="117240"/>
                        <a:pt x="4465" y="108161"/>
                      </a:cubicBezTo>
                      <a:cubicBezTo>
                        <a:pt x="1489" y="99083"/>
                        <a:pt x="0" y="88516"/>
                        <a:pt x="0" y="76461"/>
                      </a:cubicBezTo>
                      <a:cubicBezTo>
                        <a:pt x="0" y="64183"/>
                        <a:pt x="1637" y="53281"/>
                        <a:pt x="4912" y="43756"/>
                      </a:cubicBezTo>
                      <a:cubicBezTo>
                        <a:pt x="8186" y="34231"/>
                        <a:pt x="12762" y="26231"/>
                        <a:pt x="18641" y="19757"/>
                      </a:cubicBezTo>
                      <a:cubicBezTo>
                        <a:pt x="24520" y="13283"/>
                        <a:pt x="31570" y="8372"/>
                        <a:pt x="39793" y="5023"/>
                      </a:cubicBezTo>
                      <a:cubicBezTo>
                        <a:pt x="48016" y="1675"/>
                        <a:pt x="57076" y="0"/>
                        <a:pt x="6697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97" name="Полілінія: фігура 96">
                  <a:extLst>
                    <a:ext uri="{FF2B5EF4-FFF2-40B4-BE49-F238E27FC236}">
                      <a16:creationId xmlns:a16="http://schemas.microsoft.com/office/drawing/2014/main" id="{A5B3913F-960C-589D-3D18-09804F82BC6C}"/>
                    </a:ext>
                  </a:extLst>
                </p:cNvPr>
                <p:cNvSpPr/>
                <p:nvPr/>
              </p:nvSpPr>
              <p:spPr>
                <a:xfrm>
                  <a:off x="1368277" y="2706423"/>
                  <a:ext cx="59829" cy="147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829" h="147340">
                      <a:moveTo>
                        <a:pt x="45095" y="0"/>
                      </a:moveTo>
                      <a:cubicBezTo>
                        <a:pt x="47923" y="0"/>
                        <a:pt x="50267" y="93"/>
                        <a:pt x="52127" y="279"/>
                      </a:cubicBezTo>
                      <a:cubicBezTo>
                        <a:pt x="53987" y="465"/>
                        <a:pt x="55494" y="744"/>
                        <a:pt x="56648" y="1116"/>
                      </a:cubicBezTo>
                      <a:cubicBezTo>
                        <a:pt x="57801" y="1488"/>
                        <a:pt x="58620" y="1953"/>
                        <a:pt x="59103" y="2511"/>
                      </a:cubicBezTo>
                      <a:cubicBezTo>
                        <a:pt x="59587" y="3069"/>
                        <a:pt x="59829" y="3720"/>
                        <a:pt x="59829" y="4465"/>
                      </a:cubicBezTo>
                      <a:lnTo>
                        <a:pt x="59829" y="104924"/>
                      </a:lnTo>
                      <a:cubicBezTo>
                        <a:pt x="59829" y="111472"/>
                        <a:pt x="59215" y="117369"/>
                        <a:pt x="57987" y="122615"/>
                      </a:cubicBezTo>
                      <a:cubicBezTo>
                        <a:pt x="56759" y="127862"/>
                        <a:pt x="54676" y="132327"/>
                        <a:pt x="51736" y="136010"/>
                      </a:cubicBezTo>
                      <a:cubicBezTo>
                        <a:pt x="48797" y="139694"/>
                        <a:pt x="44946" y="142503"/>
                        <a:pt x="40184" y="144437"/>
                      </a:cubicBezTo>
                      <a:cubicBezTo>
                        <a:pt x="35421" y="146372"/>
                        <a:pt x="29542" y="147340"/>
                        <a:pt x="22547" y="147340"/>
                      </a:cubicBezTo>
                      <a:cubicBezTo>
                        <a:pt x="20315" y="147340"/>
                        <a:pt x="18101" y="147172"/>
                        <a:pt x="15906" y="146837"/>
                      </a:cubicBezTo>
                      <a:cubicBezTo>
                        <a:pt x="13711" y="146502"/>
                        <a:pt x="11702" y="146075"/>
                        <a:pt x="9878" y="145554"/>
                      </a:cubicBezTo>
                      <a:cubicBezTo>
                        <a:pt x="8055" y="145033"/>
                        <a:pt x="6474" y="144475"/>
                        <a:pt x="5135" y="143879"/>
                      </a:cubicBezTo>
                      <a:cubicBezTo>
                        <a:pt x="3795" y="143284"/>
                        <a:pt x="2902" y="142744"/>
                        <a:pt x="2456" y="142261"/>
                      </a:cubicBezTo>
                      <a:cubicBezTo>
                        <a:pt x="2009" y="141777"/>
                        <a:pt x="1637" y="141275"/>
                        <a:pt x="1339" y="140754"/>
                      </a:cubicBezTo>
                      <a:cubicBezTo>
                        <a:pt x="1042" y="140233"/>
                        <a:pt x="781" y="139545"/>
                        <a:pt x="558" y="138689"/>
                      </a:cubicBezTo>
                      <a:cubicBezTo>
                        <a:pt x="335" y="137833"/>
                        <a:pt x="186" y="136773"/>
                        <a:pt x="112" y="135508"/>
                      </a:cubicBezTo>
                      <a:cubicBezTo>
                        <a:pt x="37" y="134243"/>
                        <a:pt x="0" y="132643"/>
                        <a:pt x="0" y="130708"/>
                      </a:cubicBezTo>
                      <a:cubicBezTo>
                        <a:pt x="0" y="128178"/>
                        <a:pt x="56" y="126039"/>
                        <a:pt x="167" y="124290"/>
                      </a:cubicBezTo>
                      <a:cubicBezTo>
                        <a:pt x="279" y="122541"/>
                        <a:pt x="465" y="121164"/>
                        <a:pt x="725" y="120160"/>
                      </a:cubicBezTo>
                      <a:cubicBezTo>
                        <a:pt x="986" y="119155"/>
                        <a:pt x="1358" y="118448"/>
                        <a:pt x="1842" y="118039"/>
                      </a:cubicBezTo>
                      <a:cubicBezTo>
                        <a:pt x="2325" y="117630"/>
                        <a:pt x="2939" y="117425"/>
                        <a:pt x="3683" y="117425"/>
                      </a:cubicBezTo>
                      <a:cubicBezTo>
                        <a:pt x="4353" y="117425"/>
                        <a:pt x="5135" y="117667"/>
                        <a:pt x="6027" y="118151"/>
                      </a:cubicBezTo>
                      <a:cubicBezTo>
                        <a:pt x="6920" y="118634"/>
                        <a:pt x="7925" y="119137"/>
                        <a:pt x="9041" y="119658"/>
                      </a:cubicBezTo>
                      <a:cubicBezTo>
                        <a:pt x="10157" y="120178"/>
                        <a:pt x="11460" y="120681"/>
                        <a:pt x="12948" y="121164"/>
                      </a:cubicBezTo>
                      <a:cubicBezTo>
                        <a:pt x="14436" y="121648"/>
                        <a:pt x="16185" y="121890"/>
                        <a:pt x="18194" y="121890"/>
                      </a:cubicBezTo>
                      <a:cubicBezTo>
                        <a:pt x="20203" y="121890"/>
                        <a:pt x="21971" y="121611"/>
                        <a:pt x="23496" y="121053"/>
                      </a:cubicBezTo>
                      <a:cubicBezTo>
                        <a:pt x="25022" y="120495"/>
                        <a:pt x="26287" y="119527"/>
                        <a:pt x="27291" y="118151"/>
                      </a:cubicBezTo>
                      <a:cubicBezTo>
                        <a:pt x="28296" y="116774"/>
                        <a:pt x="29059" y="114932"/>
                        <a:pt x="29580" y="112625"/>
                      </a:cubicBezTo>
                      <a:cubicBezTo>
                        <a:pt x="30100" y="110319"/>
                        <a:pt x="30361" y="107342"/>
                        <a:pt x="30361" y="103696"/>
                      </a:cubicBezTo>
                      <a:lnTo>
                        <a:pt x="30361" y="4465"/>
                      </a:lnTo>
                      <a:cubicBezTo>
                        <a:pt x="30361" y="3720"/>
                        <a:pt x="30603" y="3069"/>
                        <a:pt x="31086" y="2511"/>
                      </a:cubicBezTo>
                      <a:cubicBezTo>
                        <a:pt x="31570" y="1953"/>
                        <a:pt x="32351" y="1488"/>
                        <a:pt x="33430" y="1116"/>
                      </a:cubicBezTo>
                      <a:cubicBezTo>
                        <a:pt x="34509" y="744"/>
                        <a:pt x="36016" y="465"/>
                        <a:pt x="37951" y="279"/>
                      </a:cubicBezTo>
                      <a:cubicBezTo>
                        <a:pt x="39886" y="93"/>
                        <a:pt x="42267" y="0"/>
                        <a:pt x="4509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98" name="Полілінія: фігура 97">
                  <a:extLst>
                    <a:ext uri="{FF2B5EF4-FFF2-40B4-BE49-F238E27FC236}">
                      <a16:creationId xmlns:a16="http://schemas.microsoft.com/office/drawing/2014/main" id="{FE749498-45B6-5D4F-F0F5-A558240EEDBD}"/>
                    </a:ext>
                  </a:extLst>
                </p:cNvPr>
                <p:cNvSpPr/>
                <p:nvPr/>
              </p:nvSpPr>
              <p:spPr>
                <a:xfrm>
                  <a:off x="1612280" y="2706424"/>
                  <a:ext cx="29468" cy="1457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468" h="145777">
                      <a:moveTo>
                        <a:pt x="14734" y="0"/>
                      </a:moveTo>
                      <a:cubicBezTo>
                        <a:pt x="17636" y="0"/>
                        <a:pt x="20017" y="111"/>
                        <a:pt x="21877" y="335"/>
                      </a:cubicBezTo>
                      <a:cubicBezTo>
                        <a:pt x="23738" y="558"/>
                        <a:pt x="25226" y="855"/>
                        <a:pt x="26342" y="1228"/>
                      </a:cubicBezTo>
                      <a:cubicBezTo>
                        <a:pt x="27458" y="1600"/>
                        <a:pt x="28258" y="2083"/>
                        <a:pt x="28742" y="2679"/>
                      </a:cubicBezTo>
                      <a:cubicBezTo>
                        <a:pt x="29226" y="3274"/>
                        <a:pt x="29468" y="3944"/>
                        <a:pt x="29468" y="4688"/>
                      </a:cubicBezTo>
                      <a:lnTo>
                        <a:pt x="29468" y="141089"/>
                      </a:lnTo>
                      <a:cubicBezTo>
                        <a:pt x="29468" y="141833"/>
                        <a:pt x="29226" y="142503"/>
                        <a:pt x="28742" y="143098"/>
                      </a:cubicBezTo>
                      <a:cubicBezTo>
                        <a:pt x="28258" y="143693"/>
                        <a:pt x="27458" y="144177"/>
                        <a:pt x="26342" y="144549"/>
                      </a:cubicBezTo>
                      <a:cubicBezTo>
                        <a:pt x="25226" y="144921"/>
                        <a:pt x="23738" y="145219"/>
                        <a:pt x="21877" y="145442"/>
                      </a:cubicBezTo>
                      <a:cubicBezTo>
                        <a:pt x="20017" y="145665"/>
                        <a:pt x="17636" y="145777"/>
                        <a:pt x="14734" y="145777"/>
                      </a:cubicBezTo>
                      <a:cubicBezTo>
                        <a:pt x="11906" y="145777"/>
                        <a:pt x="9543" y="145665"/>
                        <a:pt x="7646" y="145442"/>
                      </a:cubicBezTo>
                      <a:cubicBezTo>
                        <a:pt x="5748" y="145219"/>
                        <a:pt x="4241" y="144921"/>
                        <a:pt x="3125" y="144549"/>
                      </a:cubicBezTo>
                      <a:cubicBezTo>
                        <a:pt x="2009" y="144177"/>
                        <a:pt x="1209" y="143693"/>
                        <a:pt x="725" y="143098"/>
                      </a:cubicBezTo>
                      <a:cubicBezTo>
                        <a:pt x="242" y="142503"/>
                        <a:pt x="0" y="141833"/>
                        <a:pt x="0" y="141089"/>
                      </a:cubicBezTo>
                      <a:lnTo>
                        <a:pt x="0" y="4688"/>
                      </a:lnTo>
                      <a:cubicBezTo>
                        <a:pt x="0" y="3944"/>
                        <a:pt x="242" y="3274"/>
                        <a:pt x="725" y="2679"/>
                      </a:cubicBezTo>
                      <a:cubicBezTo>
                        <a:pt x="1209" y="2083"/>
                        <a:pt x="2027" y="1600"/>
                        <a:pt x="3181" y="1228"/>
                      </a:cubicBezTo>
                      <a:cubicBezTo>
                        <a:pt x="4334" y="855"/>
                        <a:pt x="5841" y="558"/>
                        <a:pt x="7702" y="335"/>
                      </a:cubicBezTo>
                      <a:cubicBezTo>
                        <a:pt x="9562" y="111"/>
                        <a:pt x="11906" y="0"/>
                        <a:pt x="1473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99" name="Полілінія: фігура 98">
                  <a:extLst>
                    <a:ext uri="{FF2B5EF4-FFF2-40B4-BE49-F238E27FC236}">
                      <a16:creationId xmlns:a16="http://schemas.microsoft.com/office/drawing/2014/main" id="{4F2C059B-B4FF-7E7B-4FA8-4EFD67184B8A}"/>
                    </a:ext>
                  </a:extLst>
                </p:cNvPr>
                <p:cNvSpPr/>
                <p:nvPr/>
              </p:nvSpPr>
              <p:spPr>
                <a:xfrm>
                  <a:off x="2447091" y="2706424"/>
                  <a:ext cx="132979" cy="1457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979" h="145777">
                      <a:moveTo>
                        <a:pt x="65265" y="0"/>
                      </a:moveTo>
                      <a:cubicBezTo>
                        <a:pt x="69656" y="0"/>
                        <a:pt x="73153" y="56"/>
                        <a:pt x="75757" y="167"/>
                      </a:cubicBezTo>
                      <a:cubicBezTo>
                        <a:pt x="78362" y="279"/>
                        <a:pt x="80390" y="539"/>
                        <a:pt x="81841" y="948"/>
                      </a:cubicBezTo>
                      <a:cubicBezTo>
                        <a:pt x="83292" y="1358"/>
                        <a:pt x="84334" y="1972"/>
                        <a:pt x="84966" y="2790"/>
                      </a:cubicBezTo>
                      <a:cubicBezTo>
                        <a:pt x="85599" y="3609"/>
                        <a:pt x="86138" y="4725"/>
                        <a:pt x="86585" y="6139"/>
                      </a:cubicBezTo>
                      <a:lnTo>
                        <a:pt x="131233" y="134168"/>
                      </a:lnTo>
                      <a:cubicBezTo>
                        <a:pt x="132126" y="136847"/>
                        <a:pt x="132684" y="138968"/>
                        <a:pt x="132907" y="140531"/>
                      </a:cubicBezTo>
                      <a:cubicBezTo>
                        <a:pt x="133131" y="142093"/>
                        <a:pt x="132833" y="143265"/>
                        <a:pt x="132015" y="144047"/>
                      </a:cubicBezTo>
                      <a:cubicBezTo>
                        <a:pt x="131196" y="144828"/>
                        <a:pt x="129745" y="145312"/>
                        <a:pt x="127661" y="145498"/>
                      </a:cubicBezTo>
                      <a:cubicBezTo>
                        <a:pt x="125578" y="145684"/>
                        <a:pt x="122713" y="145777"/>
                        <a:pt x="119066" y="145777"/>
                      </a:cubicBezTo>
                      <a:cubicBezTo>
                        <a:pt x="115271" y="145777"/>
                        <a:pt x="112313" y="145721"/>
                        <a:pt x="110193" y="145609"/>
                      </a:cubicBezTo>
                      <a:cubicBezTo>
                        <a:pt x="108072" y="145498"/>
                        <a:pt x="106453" y="145275"/>
                        <a:pt x="105337" y="144940"/>
                      </a:cubicBezTo>
                      <a:cubicBezTo>
                        <a:pt x="104221" y="144605"/>
                        <a:pt x="103440" y="144140"/>
                        <a:pt x="102993" y="143544"/>
                      </a:cubicBezTo>
                      <a:cubicBezTo>
                        <a:pt x="102547" y="142949"/>
                        <a:pt x="102174" y="142168"/>
                        <a:pt x="101877" y="141200"/>
                      </a:cubicBezTo>
                      <a:lnTo>
                        <a:pt x="92166" y="112179"/>
                      </a:lnTo>
                      <a:lnTo>
                        <a:pt x="37918" y="112179"/>
                      </a:lnTo>
                      <a:lnTo>
                        <a:pt x="28765" y="140419"/>
                      </a:lnTo>
                      <a:cubicBezTo>
                        <a:pt x="28467" y="141461"/>
                        <a:pt x="28077" y="142335"/>
                        <a:pt x="27593" y="143042"/>
                      </a:cubicBezTo>
                      <a:cubicBezTo>
                        <a:pt x="27109" y="143749"/>
                        <a:pt x="26328" y="144307"/>
                        <a:pt x="25249" y="144716"/>
                      </a:cubicBezTo>
                      <a:cubicBezTo>
                        <a:pt x="24170" y="145126"/>
                        <a:pt x="22644" y="145405"/>
                        <a:pt x="20672" y="145554"/>
                      </a:cubicBezTo>
                      <a:cubicBezTo>
                        <a:pt x="18700" y="145702"/>
                        <a:pt x="16115" y="145777"/>
                        <a:pt x="12915" y="145777"/>
                      </a:cubicBezTo>
                      <a:cubicBezTo>
                        <a:pt x="9492" y="145777"/>
                        <a:pt x="6813" y="145665"/>
                        <a:pt x="4878" y="145442"/>
                      </a:cubicBezTo>
                      <a:cubicBezTo>
                        <a:pt x="2943" y="145219"/>
                        <a:pt x="1604" y="144679"/>
                        <a:pt x="860" y="143823"/>
                      </a:cubicBezTo>
                      <a:cubicBezTo>
                        <a:pt x="116" y="142968"/>
                        <a:pt x="-145" y="141758"/>
                        <a:pt x="78" y="140196"/>
                      </a:cubicBezTo>
                      <a:cubicBezTo>
                        <a:pt x="302" y="138633"/>
                        <a:pt x="860" y="136550"/>
                        <a:pt x="1753" y="133945"/>
                      </a:cubicBezTo>
                      <a:lnTo>
                        <a:pt x="46289" y="5804"/>
                      </a:lnTo>
                      <a:cubicBezTo>
                        <a:pt x="46736" y="4539"/>
                        <a:pt x="47257" y="3516"/>
                        <a:pt x="47852" y="2734"/>
                      </a:cubicBezTo>
                      <a:cubicBezTo>
                        <a:pt x="48448" y="1953"/>
                        <a:pt x="49396" y="1358"/>
                        <a:pt x="50699" y="948"/>
                      </a:cubicBezTo>
                      <a:cubicBezTo>
                        <a:pt x="52001" y="539"/>
                        <a:pt x="53805" y="279"/>
                        <a:pt x="56112" y="167"/>
                      </a:cubicBezTo>
                      <a:cubicBezTo>
                        <a:pt x="58419" y="56"/>
                        <a:pt x="61470" y="0"/>
                        <a:pt x="65265" y="0"/>
                      </a:cubicBezTo>
                      <a:close/>
                      <a:moveTo>
                        <a:pt x="64819" y="28240"/>
                      </a:moveTo>
                      <a:lnTo>
                        <a:pt x="44392" y="89631"/>
                      </a:lnTo>
                      <a:lnTo>
                        <a:pt x="85357" y="89631"/>
                      </a:lnTo>
                      <a:lnTo>
                        <a:pt x="64930" y="28240"/>
                      </a:lnTo>
                      <a:lnTo>
                        <a:pt x="64819" y="2824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0" name="Полілінія: фігура 99">
                  <a:extLst>
                    <a:ext uri="{FF2B5EF4-FFF2-40B4-BE49-F238E27FC236}">
                      <a16:creationId xmlns:a16="http://schemas.microsoft.com/office/drawing/2014/main" id="{6454C435-6999-80D2-B1C9-E3861CC62FD8}"/>
                    </a:ext>
                  </a:extLst>
                </p:cNvPr>
                <p:cNvSpPr/>
                <p:nvPr/>
              </p:nvSpPr>
              <p:spPr>
                <a:xfrm>
                  <a:off x="2860056" y="2706424"/>
                  <a:ext cx="112737" cy="1457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2737" h="145777">
                      <a:moveTo>
                        <a:pt x="14734" y="0"/>
                      </a:moveTo>
                      <a:cubicBezTo>
                        <a:pt x="17636" y="0"/>
                        <a:pt x="20017" y="111"/>
                        <a:pt x="21878" y="335"/>
                      </a:cubicBezTo>
                      <a:cubicBezTo>
                        <a:pt x="23738" y="558"/>
                        <a:pt x="25226" y="855"/>
                        <a:pt x="26342" y="1228"/>
                      </a:cubicBezTo>
                      <a:cubicBezTo>
                        <a:pt x="27459" y="1600"/>
                        <a:pt x="28240" y="2083"/>
                        <a:pt x="28686" y="2679"/>
                      </a:cubicBezTo>
                      <a:cubicBezTo>
                        <a:pt x="29133" y="3274"/>
                        <a:pt x="29356" y="3944"/>
                        <a:pt x="29356" y="4688"/>
                      </a:cubicBezTo>
                      <a:lnTo>
                        <a:pt x="29356" y="57708"/>
                      </a:lnTo>
                      <a:lnTo>
                        <a:pt x="83381" y="57708"/>
                      </a:lnTo>
                      <a:lnTo>
                        <a:pt x="83381" y="4688"/>
                      </a:lnTo>
                      <a:cubicBezTo>
                        <a:pt x="83381" y="3944"/>
                        <a:pt x="83623" y="3274"/>
                        <a:pt x="84106" y="2679"/>
                      </a:cubicBezTo>
                      <a:cubicBezTo>
                        <a:pt x="84590" y="2083"/>
                        <a:pt x="85371" y="1600"/>
                        <a:pt x="86450" y="1228"/>
                      </a:cubicBezTo>
                      <a:cubicBezTo>
                        <a:pt x="87529" y="855"/>
                        <a:pt x="89018" y="558"/>
                        <a:pt x="90915" y="335"/>
                      </a:cubicBezTo>
                      <a:cubicBezTo>
                        <a:pt x="92813" y="111"/>
                        <a:pt x="95213" y="0"/>
                        <a:pt x="98115" y="0"/>
                      </a:cubicBezTo>
                      <a:cubicBezTo>
                        <a:pt x="100942" y="0"/>
                        <a:pt x="103287" y="111"/>
                        <a:pt x="105147" y="335"/>
                      </a:cubicBezTo>
                      <a:cubicBezTo>
                        <a:pt x="107007" y="558"/>
                        <a:pt x="108496" y="855"/>
                        <a:pt x="109612" y="1228"/>
                      </a:cubicBezTo>
                      <a:cubicBezTo>
                        <a:pt x="110728" y="1600"/>
                        <a:pt x="111528" y="2083"/>
                        <a:pt x="112012" y="2679"/>
                      </a:cubicBezTo>
                      <a:cubicBezTo>
                        <a:pt x="112495" y="3274"/>
                        <a:pt x="112737" y="3944"/>
                        <a:pt x="112737" y="4688"/>
                      </a:cubicBezTo>
                      <a:lnTo>
                        <a:pt x="112737" y="141089"/>
                      </a:lnTo>
                      <a:cubicBezTo>
                        <a:pt x="112737" y="141833"/>
                        <a:pt x="112495" y="142503"/>
                        <a:pt x="112012" y="143098"/>
                      </a:cubicBezTo>
                      <a:cubicBezTo>
                        <a:pt x="111528" y="143693"/>
                        <a:pt x="110728" y="144177"/>
                        <a:pt x="109612" y="144549"/>
                      </a:cubicBezTo>
                      <a:cubicBezTo>
                        <a:pt x="108496" y="144921"/>
                        <a:pt x="107007" y="145219"/>
                        <a:pt x="105147" y="145442"/>
                      </a:cubicBezTo>
                      <a:cubicBezTo>
                        <a:pt x="103287" y="145665"/>
                        <a:pt x="100942" y="145777"/>
                        <a:pt x="98115" y="145777"/>
                      </a:cubicBezTo>
                      <a:cubicBezTo>
                        <a:pt x="95213" y="145777"/>
                        <a:pt x="92813" y="145665"/>
                        <a:pt x="90915" y="145442"/>
                      </a:cubicBezTo>
                      <a:cubicBezTo>
                        <a:pt x="89018" y="145219"/>
                        <a:pt x="87529" y="144921"/>
                        <a:pt x="86450" y="144549"/>
                      </a:cubicBezTo>
                      <a:cubicBezTo>
                        <a:pt x="85371" y="144177"/>
                        <a:pt x="84590" y="143693"/>
                        <a:pt x="84106" y="143098"/>
                      </a:cubicBezTo>
                      <a:cubicBezTo>
                        <a:pt x="83623" y="142503"/>
                        <a:pt x="83381" y="141833"/>
                        <a:pt x="83381" y="141089"/>
                      </a:cubicBezTo>
                      <a:lnTo>
                        <a:pt x="83381" y="82711"/>
                      </a:lnTo>
                      <a:lnTo>
                        <a:pt x="29356" y="82711"/>
                      </a:lnTo>
                      <a:lnTo>
                        <a:pt x="29356" y="141089"/>
                      </a:lnTo>
                      <a:cubicBezTo>
                        <a:pt x="29356" y="141833"/>
                        <a:pt x="29133" y="142503"/>
                        <a:pt x="28686" y="143098"/>
                      </a:cubicBezTo>
                      <a:cubicBezTo>
                        <a:pt x="28240" y="143693"/>
                        <a:pt x="27459" y="144177"/>
                        <a:pt x="26342" y="144549"/>
                      </a:cubicBezTo>
                      <a:cubicBezTo>
                        <a:pt x="25226" y="144921"/>
                        <a:pt x="23738" y="145219"/>
                        <a:pt x="21878" y="145442"/>
                      </a:cubicBezTo>
                      <a:cubicBezTo>
                        <a:pt x="20017" y="145665"/>
                        <a:pt x="17636" y="145777"/>
                        <a:pt x="14734" y="145777"/>
                      </a:cubicBezTo>
                      <a:cubicBezTo>
                        <a:pt x="11906" y="145777"/>
                        <a:pt x="9543" y="145665"/>
                        <a:pt x="7646" y="145442"/>
                      </a:cubicBezTo>
                      <a:cubicBezTo>
                        <a:pt x="5748" y="145219"/>
                        <a:pt x="4241" y="144921"/>
                        <a:pt x="3125" y="144549"/>
                      </a:cubicBezTo>
                      <a:cubicBezTo>
                        <a:pt x="2009" y="144177"/>
                        <a:pt x="1209" y="143693"/>
                        <a:pt x="725" y="143098"/>
                      </a:cubicBezTo>
                      <a:cubicBezTo>
                        <a:pt x="242" y="142503"/>
                        <a:pt x="0" y="141833"/>
                        <a:pt x="0" y="141089"/>
                      </a:cubicBezTo>
                      <a:lnTo>
                        <a:pt x="0" y="4688"/>
                      </a:lnTo>
                      <a:cubicBezTo>
                        <a:pt x="0" y="3944"/>
                        <a:pt x="242" y="3274"/>
                        <a:pt x="725" y="2679"/>
                      </a:cubicBezTo>
                      <a:cubicBezTo>
                        <a:pt x="1209" y="2083"/>
                        <a:pt x="2009" y="1600"/>
                        <a:pt x="3125" y="1228"/>
                      </a:cubicBezTo>
                      <a:cubicBezTo>
                        <a:pt x="4241" y="855"/>
                        <a:pt x="5748" y="558"/>
                        <a:pt x="7646" y="335"/>
                      </a:cubicBezTo>
                      <a:cubicBezTo>
                        <a:pt x="9543" y="111"/>
                        <a:pt x="11906" y="0"/>
                        <a:pt x="1473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1" name="Полілінія: фігура 100">
                  <a:extLst>
                    <a:ext uri="{FF2B5EF4-FFF2-40B4-BE49-F238E27FC236}">
                      <a16:creationId xmlns:a16="http://schemas.microsoft.com/office/drawing/2014/main" id="{CF6CEE70-7EF7-41B9-25A6-C4A40782BD64}"/>
                    </a:ext>
                  </a:extLst>
                </p:cNvPr>
                <p:cNvSpPr/>
                <p:nvPr/>
              </p:nvSpPr>
              <p:spPr>
                <a:xfrm>
                  <a:off x="1669431" y="2706646"/>
                  <a:ext cx="119099" cy="1455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099" h="145554">
                      <a:moveTo>
                        <a:pt x="106263" y="0"/>
                      </a:moveTo>
                      <a:cubicBezTo>
                        <a:pt x="108793" y="0"/>
                        <a:pt x="110914" y="93"/>
                        <a:pt x="112625" y="279"/>
                      </a:cubicBezTo>
                      <a:cubicBezTo>
                        <a:pt x="114337" y="465"/>
                        <a:pt x="115658" y="781"/>
                        <a:pt x="116588" y="1228"/>
                      </a:cubicBezTo>
                      <a:cubicBezTo>
                        <a:pt x="117518" y="1674"/>
                        <a:pt x="118169" y="2195"/>
                        <a:pt x="118541" y="2790"/>
                      </a:cubicBezTo>
                      <a:cubicBezTo>
                        <a:pt x="118913" y="3386"/>
                        <a:pt x="119099" y="4056"/>
                        <a:pt x="119099" y="4800"/>
                      </a:cubicBezTo>
                      <a:lnTo>
                        <a:pt x="119099" y="134615"/>
                      </a:lnTo>
                      <a:cubicBezTo>
                        <a:pt x="119099" y="136327"/>
                        <a:pt x="118802" y="137852"/>
                        <a:pt x="118206" y="139191"/>
                      </a:cubicBezTo>
                      <a:cubicBezTo>
                        <a:pt x="117611" y="140531"/>
                        <a:pt x="116811" y="141647"/>
                        <a:pt x="115807" y="142540"/>
                      </a:cubicBezTo>
                      <a:cubicBezTo>
                        <a:pt x="114802" y="143433"/>
                        <a:pt x="113611" y="144084"/>
                        <a:pt x="112235" y="144493"/>
                      </a:cubicBezTo>
                      <a:cubicBezTo>
                        <a:pt x="110858" y="144903"/>
                        <a:pt x="109463" y="145107"/>
                        <a:pt x="108049" y="145107"/>
                      </a:cubicBezTo>
                      <a:lnTo>
                        <a:pt x="95547" y="145107"/>
                      </a:lnTo>
                      <a:cubicBezTo>
                        <a:pt x="92943" y="145107"/>
                        <a:pt x="90692" y="144847"/>
                        <a:pt x="88794" y="144326"/>
                      </a:cubicBezTo>
                      <a:cubicBezTo>
                        <a:pt x="86897" y="143805"/>
                        <a:pt x="85148" y="142856"/>
                        <a:pt x="83548" y="141480"/>
                      </a:cubicBezTo>
                      <a:cubicBezTo>
                        <a:pt x="81948" y="140103"/>
                        <a:pt x="80404" y="138243"/>
                        <a:pt x="78916" y="135899"/>
                      </a:cubicBezTo>
                      <a:cubicBezTo>
                        <a:pt x="77428" y="133555"/>
                        <a:pt x="75753" y="130522"/>
                        <a:pt x="73893" y="126802"/>
                      </a:cubicBezTo>
                      <a:lnTo>
                        <a:pt x="37951" y="59271"/>
                      </a:lnTo>
                      <a:cubicBezTo>
                        <a:pt x="35867" y="55252"/>
                        <a:pt x="33746" y="50918"/>
                        <a:pt x="31588" y="46267"/>
                      </a:cubicBezTo>
                      <a:cubicBezTo>
                        <a:pt x="29430" y="41616"/>
                        <a:pt x="27496" y="37095"/>
                        <a:pt x="25784" y="32705"/>
                      </a:cubicBezTo>
                      <a:lnTo>
                        <a:pt x="25561" y="32705"/>
                      </a:lnTo>
                      <a:cubicBezTo>
                        <a:pt x="25859" y="38063"/>
                        <a:pt x="26082" y="43402"/>
                        <a:pt x="26231" y="48723"/>
                      </a:cubicBezTo>
                      <a:cubicBezTo>
                        <a:pt x="26379" y="54043"/>
                        <a:pt x="26454" y="59531"/>
                        <a:pt x="26454" y="65187"/>
                      </a:cubicBezTo>
                      <a:lnTo>
                        <a:pt x="26454" y="140754"/>
                      </a:lnTo>
                      <a:cubicBezTo>
                        <a:pt x="26454" y="141498"/>
                        <a:pt x="26249" y="142168"/>
                        <a:pt x="25840" y="142763"/>
                      </a:cubicBezTo>
                      <a:cubicBezTo>
                        <a:pt x="25431" y="143359"/>
                        <a:pt x="24724" y="143861"/>
                        <a:pt x="23719" y="144270"/>
                      </a:cubicBezTo>
                      <a:cubicBezTo>
                        <a:pt x="22715" y="144679"/>
                        <a:pt x="21357" y="144996"/>
                        <a:pt x="19645" y="145219"/>
                      </a:cubicBezTo>
                      <a:cubicBezTo>
                        <a:pt x="17933" y="145442"/>
                        <a:pt x="15738" y="145554"/>
                        <a:pt x="13059" y="145554"/>
                      </a:cubicBezTo>
                      <a:cubicBezTo>
                        <a:pt x="10455" y="145554"/>
                        <a:pt x="8297" y="145442"/>
                        <a:pt x="6585" y="145219"/>
                      </a:cubicBezTo>
                      <a:cubicBezTo>
                        <a:pt x="4874" y="144996"/>
                        <a:pt x="3534" y="144679"/>
                        <a:pt x="2567" y="144270"/>
                      </a:cubicBezTo>
                      <a:cubicBezTo>
                        <a:pt x="1600" y="143861"/>
                        <a:pt x="930" y="143359"/>
                        <a:pt x="558" y="142763"/>
                      </a:cubicBezTo>
                      <a:cubicBezTo>
                        <a:pt x="186" y="142168"/>
                        <a:pt x="0" y="141498"/>
                        <a:pt x="0" y="140754"/>
                      </a:cubicBezTo>
                      <a:lnTo>
                        <a:pt x="0" y="10939"/>
                      </a:lnTo>
                      <a:cubicBezTo>
                        <a:pt x="0" y="7441"/>
                        <a:pt x="1023" y="4818"/>
                        <a:pt x="3069" y="3070"/>
                      </a:cubicBezTo>
                      <a:cubicBezTo>
                        <a:pt x="5116" y="1321"/>
                        <a:pt x="7627" y="446"/>
                        <a:pt x="10604" y="446"/>
                      </a:cubicBezTo>
                      <a:lnTo>
                        <a:pt x="26342" y="446"/>
                      </a:lnTo>
                      <a:cubicBezTo>
                        <a:pt x="29170" y="446"/>
                        <a:pt x="31551" y="688"/>
                        <a:pt x="33486" y="1172"/>
                      </a:cubicBezTo>
                      <a:cubicBezTo>
                        <a:pt x="35421" y="1656"/>
                        <a:pt x="37151" y="2456"/>
                        <a:pt x="38676" y="3572"/>
                      </a:cubicBezTo>
                      <a:cubicBezTo>
                        <a:pt x="40202" y="4688"/>
                        <a:pt x="41634" y="6232"/>
                        <a:pt x="42974" y="8204"/>
                      </a:cubicBezTo>
                      <a:cubicBezTo>
                        <a:pt x="44313" y="10176"/>
                        <a:pt x="45690" y="12613"/>
                        <a:pt x="47104" y="15515"/>
                      </a:cubicBezTo>
                      <a:lnTo>
                        <a:pt x="75232" y="68312"/>
                      </a:lnTo>
                      <a:cubicBezTo>
                        <a:pt x="76869" y="71512"/>
                        <a:pt x="78488" y="74656"/>
                        <a:pt x="80088" y="77744"/>
                      </a:cubicBezTo>
                      <a:cubicBezTo>
                        <a:pt x="81688" y="80832"/>
                        <a:pt x="83232" y="83920"/>
                        <a:pt x="84720" y="87009"/>
                      </a:cubicBezTo>
                      <a:cubicBezTo>
                        <a:pt x="86208" y="90097"/>
                        <a:pt x="87659" y="93129"/>
                        <a:pt x="89073" y="96106"/>
                      </a:cubicBezTo>
                      <a:cubicBezTo>
                        <a:pt x="90487" y="99082"/>
                        <a:pt x="91864" y="102059"/>
                        <a:pt x="93203" y="105035"/>
                      </a:cubicBezTo>
                      <a:lnTo>
                        <a:pt x="93315" y="105035"/>
                      </a:lnTo>
                      <a:cubicBezTo>
                        <a:pt x="93092" y="99826"/>
                        <a:pt x="92924" y="94394"/>
                        <a:pt x="92813" y="88739"/>
                      </a:cubicBezTo>
                      <a:cubicBezTo>
                        <a:pt x="92701" y="83083"/>
                        <a:pt x="92645" y="77688"/>
                        <a:pt x="92645" y="72554"/>
                      </a:cubicBezTo>
                      <a:lnTo>
                        <a:pt x="92645" y="4800"/>
                      </a:lnTo>
                      <a:cubicBezTo>
                        <a:pt x="92645" y="4056"/>
                        <a:pt x="92868" y="3386"/>
                        <a:pt x="93315" y="2790"/>
                      </a:cubicBezTo>
                      <a:cubicBezTo>
                        <a:pt x="93761" y="2195"/>
                        <a:pt x="94506" y="1674"/>
                        <a:pt x="95547" y="1228"/>
                      </a:cubicBezTo>
                      <a:cubicBezTo>
                        <a:pt x="96589" y="781"/>
                        <a:pt x="97966" y="465"/>
                        <a:pt x="99677" y="279"/>
                      </a:cubicBezTo>
                      <a:cubicBezTo>
                        <a:pt x="101389" y="93"/>
                        <a:pt x="103584" y="0"/>
                        <a:pt x="10626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2" name="Полілінія: фігура 101">
                  <a:extLst>
                    <a:ext uri="{FF2B5EF4-FFF2-40B4-BE49-F238E27FC236}">
                      <a16:creationId xmlns:a16="http://schemas.microsoft.com/office/drawing/2014/main" id="{905C0219-27AB-C8D6-07D2-D067270D5DA5}"/>
                    </a:ext>
                  </a:extLst>
                </p:cNvPr>
                <p:cNvSpPr/>
                <p:nvPr/>
              </p:nvSpPr>
              <p:spPr>
                <a:xfrm>
                  <a:off x="3269631" y="2706646"/>
                  <a:ext cx="119099" cy="1455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099" h="145554">
                      <a:moveTo>
                        <a:pt x="106263" y="0"/>
                      </a:moveTo>
                      <a:cubicBezTo>
                        <a:pt x="108793" y="0"/>
                        <a:pt x="110914" y="93"/>
                        <a:pt x="112625" y="279"/>
                      </a:cubicBezTo>
                      <a:cubicBezTo>
                        <a:pt x="114337" y="465"/>
                        <a:pt x="115658" y="781"/>
                        <a:pt x="116588" y="1228"/>
                      </a:cubicBezTo>
                      <a:cubicBezTo>
                        <a:pt x="117518" y="1674"/>
                        <a:pt x="118169" y="2195"/>
                        <a:pt x="118541" y="2790"/>
                      </a:cubicBezTo>
                      <a:cubicBezTo>
                        <a:pt x="118913" y="3386"/>
                        <a:pt x="119099" y="4056"/>
                        <a:pt x="119099" y="4800"/>
                      </a:cubicBezTo>
                      <a:lnTo>
                        <a:pt x="119099" y="134615"/>
                      </a:lnTo>
                      <a:cubicBezTo>
                        <a:pt x="119099" y="136327"/>
                        <a:pt x="118802" y="137852"/>
                        <a:pt x="118206" y="139191"/>
                      </a:cubicBezTo>
                      <a:cubicBezTo>
                        <a:pt x="117611" y="140531"/>
                        <a:pt x="116811" y="141647"/>
                        <a:pt x="115807" y="142540"/>
                      </a:cubicBezTo>
                      <a:cubicBezTo>
                        <a:pt x="114802" y="143433"/>
                        <a:pt x="113611" y="144084"/>
                        <a:pt x="112235" y="144493"/>
                      </a:cubicBezTo>
                      <a:cubicBezTo>
                        <a:pt x="110858" y="144903"/>
                        <a:pt x="109463" y="145107"/>
                        <a:pt x="108049" y="145107"/>
                      </a:cubicBezTo>
                      <a:lnTo>
                        <a:pt x="95547" y="145107"/>
                      </a:lnTo>
                      <a:cubicBezTo>
                        <a:pt x="92943" y="145107"/>
                        <a:pt x="90692" y="144847"/>
                        <a:pt x="88794" y="144326"/>
                      </a:cubicBezTo>
                      <a:cubicBezTo>
                        <a:pt x="86897" y="143805"/>
                        <a:pt x="85148" y="142856"/>
                        <a:pt x="83548" y="141480"/>
                      </a:cubicBezTo>
                      <a:cubicBezTo>
                        <a:pt x="81948" y="140103"/>
                        <a:pt x="80404" y="138243"/>
                        <a:pt x="78916" y="135899"/>
                      </a:cubicBezTo>
                      <a:cubicBezTo>
                        <a:pt x="77428" y="133555"/>
                        <a:pt x="75753" y="130522"/>
                        <a:pt x="73893" y="126802"/>
                      </a:cubicBezTo>
                      <a:lnTo>
                        <a:pt x="37951" y="59271"/>
                      </a:lnTo>
                      <a:cubicBezTo>
                        <a:pt x="35867" y="55252"/>
                        <a:pt x="33747" y="50918"/>
                        <a:pt x="31589" y="46267"/>
                      </a:cubicBezTo>
                      <a:cubicBezTo>
                        <a:pt x="29431" y="41616"/>
                        <a:pt x="27496" y="37095"/>
                        <a:pt x="25784" y="32705"/>
                      </a:cubicBezTo>
                      <a:lnTo>
                        <a:pt x="25561" y="32705"/>
                      </a:lnTo>
                      <a:cubicBezTo>
                        <a:pt x="25859" y="38063"/>
                        <a:pt x="26082" y="43402"/>
                        <a:pt x="26231" y="48723"/>
                      </a:cubicBezTo>
                      <a:cubicBezTo>
                        <a:pt x="26380" y="54043"/>
                        <a:pt x="26454" y="59531"/>
                        <a:pt x="26454" y="65187"/>
                      </a:cubicBezTo>
                      <a:lnTo>
                        <a:pt x="26454" y="140754"/>
                      </a:lnTo>
                      <a:cubicBezTo>
                        <a:pt x="26454" y="141498"/>
                        <a:pt x="26249" y="142168"/>
                        <a:pt x="25840" y="142763"/>
                      </a:cubicBezTo>
                      <a:cubicBezTo>
                        <a:pt x="25431" y="143359"/>
                        <a:pt x="24724" y="143861"/>
                        <a:pt x="23719" y="144270"/>
                      </a:cubicBezTo>
                      <a:cubicBezTo>
                        <a:pt x="22715" y="144679"/>
                        <a:pt x="21357" y="144996"/>
                        <a:pt x="19645" y="145219"/>
                      </a:cubicBezTo>
                      <a:cubicBezTo>
                        <a:pt x="17934" y="145442"/>
                        <a:pt x="15738" y="145554"/>
                        <a:pt x="13059" y="145554"/>
                      </a:cubicBezTo>
                      <a:cubicBezTo>
                        <a:pt x="10455" y="145554"/>
                        <a:pt x="8297" y="145442"/>
                        <a:pt x="6585" y="145219"/>
                      </a:cubicBezTo>
                      <a:cubicBezTo>
                        <a:pt x="4874" y="144996"/>
                        <a:pt x="3534" y="144679"/>
                        <a:pt x="2567" y="144270"/>
                      </a:cubicBezTo>
                      <a:cubicBezTo>
                        <a:pt x="1600" y="143861"/>
                        <a:pt x="930" y="143359"/>
                        <a:pt x="558" y="142763"/>
                      </a:cubicBezTo>
                      <a:cubicBezTo>
                        <a:pt x="186" y="142168"/>
                        <a:pt x="0" y="141498"/>
                        <a:pt x="0" y="140754"/>
                      </a:cubicBezTo>
                      <a:lnTo>
                        <a:pt x="0" y="10939"/>
                      </a:lnTo>
                      <a:cubicBezTo>
                        <a:pt x="0" y="7441"/>
                        <a:pt x="1023" y="4818"/>
                        <a:pt x="3069" y="3070"/>
                      </a:cubicBezTo>
                      <a:cubicBezTo>
                        <a:pt x="5116" y="1321"/>
                        <a:pt x="7627" y="446"/>
                        <a:pt x="10604" y="446"/>
                      </a:cubicBezTo>
                      <a:lnTo>
                        <a:pt x="26342" y="446"/>
                      </a:lnTo>
                      <a:cubicBezTo>
                        <a:pt x="29170" y="446"/>
                        <a:pt x="31551" y="688"/>
                        <a:pt x="33486" y="1172"/>
                      </a:cubicBezTo>
                      <a:cubicBezTo>
                        <a:pt x="35421" y="1656"/>
                        <a:pt x="37151" y="2456"/>
                        <a:pt x="38677" y="3572"/>
                      </a:cubicBezTo>
                      <a:cubicBezTo>
                        <a:pt x="40202" y="4688"/>
                        <a:pt x="41634" y="6232"/>
                        <a:pt x="42974" y="8204"/>
                      </a:cubicBezTo>
                      <a:cubicBezTo>
                        <a:pt x="44313" y="10176"/>
                        <a:pt x="45690" y="12613"/>
                        <a:pt x="47104" y="15515"/>
                      </a:cubicBezTo>
                      <a:lnTo>
                        <a:pt x="75232" y="68312"/>
                      </a:lnTo>
                      <a:cubicBezTo>
                        <a:pt x="76870" y="71512"/>
                        <a:pt x="78488" y="74656"/>
                        <a:pt x="80088" y="77744"/>
                      </a:cubicBezTo>
                      <a:cubicBezTo>
                        <a:pt x="81688" y="80832"/>
                        <a:pt x="83232" y="83920"/>
                        <a:pt x="84720" y="87009"/>
                      </a:cubicBezTo>
                      <a:cubicBezTo>
                        <a:pt x="86209" y="90097"/>
                        <a:pt x="87660" y="93129"/>
                        <a:pt x="89073" y="96106"/>
                      </a:cubicBezTo>
                      <a:cubicBezTo>
                        <a:pt x="90487" y="99082"/>
                        <a:pt x="91864" y="102059"/>
                        <a:pt x="93203" y="105035"/>
                      </a:cubicBezTo>
                      <a:lnTo>
                        <a:pt x="93315" y="105035"/>
                      </a:lnTo>
                      <a:cubicBezTo>
                        <a:pt x="93092" y="99826"/>
                        <a:pt x="92924" y="94394"/>
                        <a:pt x="92813" y="88739"/>
                      </a:cubicBezTo>
                      <a:cubicBezTo>
                        <a:pt x="92701" y="83083"/>
                        <a:pt x="92645" y="77688"/>
                        <a:pt x="92645" y="72554"/>
                      </a:cubicBezTo>
                      <a:lnTo>
                        <a:pt x="92645" y="4800"/>
                      </a:lnTo>
                      <a:cubicBezTo>
                        <a:pt x="92645" y="4056"/>
                        <a:pt x="92869" y="3386"/>
                        <a:pt x="93315" y="2790"/>
                      </a:cubicBezTo>
                      <a:cubicBezTo>
                        <a:pt x="93762" y="2195"/>
                        <a:pt x="94506" y="1674"/>
                        <a:pt x="95547" y="1228"/>
                      </a:cubicBezTo>
                      <a:cubicBezTo>
                        <a:pt x="96589" y="781"/>
                        <a:pt x="97966" y="465"/>
                        <a:pt x="99677" y="279"/>
                      </a:cubicBezTo>
                      <a:cubicBezTo>
                        <a:pt x="101389" y="93"/>
                        <a:pt x="103584" y="0"/>
                        <a:pt x="10626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3" name="Полілінія: фігура 102">
                  <a:extLst>
                    <a:ext uri="{FF2B5EF4-FFF2-40B4-BE49-F238E27FC236}">
                      <a16:creationId xmlns:a16="http://schemas.microsoft.com/office/drawing/2014/main" id="{6C4D3BA5-FBE3-FDDA-D1B3-7DC6F4DA6A67}"/>
                    </a:ext>
                  </a:extLst>
                </p:cNvPr>
                <p:cNvSpPr/>
                <p:nvPr/>
              </p:nvSpPr>
              <p:spPr>
                <a:xfrm>
                  <a:off x="1807431" y="2707092"/>
                  <a:ext cx="110504" cy="14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504" h="145108">
                      <a:moveTo>
                        <a:pt x="4353" y="0"/>
                      </a:moveTo>
                      <a:lnTo>
                        <a:pt x="106151" y="0"/>
                      </a:lnTo>
                      <a:cubicBezTo>
                        <a:pt x="106821" y="0"/>
                        <a:pt x="107435" y="205"/>
                        <a:pt x="107993" y="614"/>
                      </a:cubicBezTo>
                      <a:cubicBezTo>
                        <a:pt x="108551" y="1024"/>
                        <a:pt x="109016" y="1693"/>
                        <a:pt x="109388" y="2624"/>
                      </a:cubicBezTo>
                      <a:cubicBezTo>
                        <a:pt x="109760" y="3554"/>
                        <a:pt x="110039" y="4800"/>
                        <a:pt x="110225" y="6363"/>
                      </a:cubicBezTo>
                      <a:cubicBezTo>
                        <a:pt x="110411" y="7926"/>
                        <a:pt x="110504" y="9823"/>
                        <a:pt x="110504" y="12056"/>
                      </a:cubicBezTo>
                      <a:cubicBezTo>
                        <a:pt x="110504" y="14214"/>
                        <a:pt x="110411" y="16055"/>
                        <a:pt x="110225" y="17581"/>
                      </a:cubicBezTo>
                      <a:cubicBezTo>
                        <a:pt x="110039" y="19106"/>
                        <a:pt x="109760" y="20334"/>
                        <a:pt x="109388" y="21264"/>
                      </a:cubicBezTo>
                      <a:cubicBezTo>
                        <a:pt x="109016" y="22194"/>
                        <a:pt x="108551" y="22883"/>
                        <a:pt x="107993" y="23329"/>
                      </a:cubicBezTo>
                      <a:cubicBezTo>
                        <a:pt x="107435" y="23776"/>
                        <a:pt x="106821" y="23999"/>
                        <a:pt x="106151" y="23999"/>
                      </a:cubicBezTo>
                      <a:lnTo>
                        <a:pt x="69986" y="23999"/>
                      </a:lnTo>
                      <a:lnTo>
                        <a:pt x="69986" y="140420"/>
                      </a:lnTo>
                      <a:cubicBezTo>
                        <a:pt x="69986" y="141164"/>
                        <a:pt x="69744" y="141834"/>
                        <a:pt x="69260" y="142429"/>
                      </a:cubicBezTo>
                      <a:cubicBezTo>
                        <a:pt x="68777" y="143024"/>
                        <a:pt x="67977" y="143508"/>
                        <a:pt x="66861" y="143880"/>
                      </a:cubicBezTo>
                      <a:cubicBezTo>
                        <a:pt x="65744" y="144252"/>
                        <a:pt x="64238" y="144550"/>
                        <a:pt x="62340" y="144773"/>
                      </a:cubicBezTo>
                      <a:cubicBezTo>
                        <a:pt x="60442" y="144996"/>
                        <a:pt x="58080" y="145108"/>
                        <a:pt x="55252" y="145108"/>
                      </a:cubicBezTo>
                      <a:cubicBezTo>
                        <a:pt x="52424" y="145108"/>
                        <a:pt x="50062" y="144996"/>
                        <a:pt x="48164" y="144773"/>
                      </a:cubicBezTo>
                      <a:cubicBezTo>
                        <a:pt x="46267" y="144550"/>
                        <a:pt x="44760" y="144252"/>
                        <a:pt x="43643" y="143880"/>
                      </a:cubicBezTo>
                      <a:cubicBezTo>
                        <a:pt x="42527" y="143508"/>
                        <a:pt x="41727" y="143024"/>
                        <a:pt x="41244" y="142429"/>
                      </a:cubicBezTo>
                      <a:cubicBezTo>
                        <a:pt x="40760" y="141834"/>
                        <a:pt x="40518" y="141164"/>
                        <a:pt x="40518" y="140420"/>
                      </a:cubicBezTo>
                      <a:lnTo>
                        <a:pt x="40518" y="23999"/>
                      </a:lnTo>
                      <a:lnTo>
                        <a:pt x="4353" y="23999"/>
                      </a:lnTo>
                      <a:cubicBezTo>
                        <a:pt x="3609" y="23999"/>
                        <a:pt x="2976" y="23776"/>
                        <a:pt x="2455" y="23329"/>
                      </a:cubicBezTo>
                      <a:cubicBezTo>
                        <a:pt x="1934" y="22883"/>
                        <a:pt x="1488" y="22194"/>
                        <a:pt x="1116" y="21264"/>
                      </a:cubicBezTo>
                      <a:cubicBezTo>
                        <a:pt x="744" y="20334"/>
                        <a:pt x="465" y="19106"/>
                        <a:pt x="279" y="17581"/>
                      </a:cubicBezTo>
                      <a:cubicBezTo>
                        <a:pt x="93" y="16055"/>
                        <a:pt x="0" y="14214"/>
                        <a:pt x="0" y="12056"/>
                      </a:cubicBezTo>
                      <a:cubicBezTo>
                        <a:pt x="0" y="9823"/>
                        <a:pt x="93" y="7926"/>
                        <a:pt x="279" y="6363"/>
                      </a:cubicBezTo>
                      <a:cubicBezTo>
                        <a:pt x="465" y="4800"/>
                        <a:pt x="744" y="3554"/>
                        <a:pt x="1116" y="2624"/>
                      </a:cubicBezTo>
                      <a:cubicBezTo>
                        <a:pt x="1488" y="1693"/>
                        <a:pt x="1934" y="1024"/>
                        <a:pt x="2455" y="614"/>
                      </a:cubicBezTo>
                      <a:cubicBezTo>
                        <a:pt x="2976" y="205"/>
                        <a:pt x="3609" y="0"/>
                        <a:pt x="435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4" name="Полілінія: фігура 103">
                  <a:extLst>
                    <a:ext uri="{FF2B5EF4-FFF2-40B4-BE49-F238E27FC236}">
                      <a16:creationId xmlns:a16="http://schemas.microsoft.com/office/drawing/2014/main" id="{2AB8B0EC-D798-5C99-3F62-1155DA016DD8}"/>
                    </a:ext>
                  </a:extLst>
                </p:cNvPr>
                <p:cNvSpPr/>
                <p:nvPr/>
              </p:nvSpPr>
              <p:spPr>
                <a:xfrm>
                  <a:off x="1993280" y="2707092"/>
                  <a:ext cx="107156" cy="14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156" h="145108">
                      <a:moveTo>
                        <a:pt x="8706" y="0"/>
                      </a:moveTo>
                      <a:lnTo>
                        <a:pt x="46099" y="0"/>
                      </a:lnTo>
                      <a:cubicBezTo>
                        <a:pt x="49894" y="0"/>
                        <a:pt x="53020" y="75"/>
                        <a:pt x="55475" y="224"/>
                      </a:cubicBezTo>
                      <a:cubicBezTo>
                        <a:pt x="57931" y="373"/>
                        <a:pt x="60163" y="559"/>
                        <a:pt x="62173" y="782"/>
                      </a:cubicBezTo>
                      <a:cubicBezTo>
                        <a:pt x="67977" y="1600"/>
                        <a:pt x="73204" y="3014"/>
                        <a:pt x="77855" y="5023"/>
                      </a:cubicBezTo>
                      <a:cubicBezTo>
                        <a:pt x="82506" y="7033"/>
                        <a:pt x="86450" y="9656"/>
                        <a:pt x="89687" y="12893"/>
                      </a:cubicBezTo>
                      <a:cubicBezTo>
                        <a:pt x="92924" y="16130"/>
                        <a:pt x="95399" y="19962"/>
                        <a:pt x="97110" y="24390"/>
                      </a:cubicBezTo>
                      <a:cubicBezTo>
                        <a:pt x="98822" y="28817"/>
                        <a:pt x="99677" y="33896"/>
                        <a:pt x="99677" y="39626"/>
                      </a:cubicBezTo>
                      <a:cubicBezTo>
                        <a:pt x="99677" y="44463"/>
                        <a:pt x="99063" y="48872"/>
                        <a:pt x="97836" y="52853"/>
                      </a:cubicBezTo>
                      <a:cubicBezTo>
                        <a:pt x="96608" y="56834"/>
                        <a:pt x="94803" y="60387"/>
                        <a:pt x="92422" y="63513"/>
                      </a:cubicBezTo>
                      <a:cubicBezTo>
                        <a:pt x="90041" y="66638"/>
                        <a:pt x="87101" y="69354"/>
                        <a:pt x="83604" y="71661"/>
                      </a:cubicBezTo>
                      <a:cubicBezTo>
                        <a:pt x="80106" y="73968"/>
                        <a:pt x="76125" y="75828"/>
                        <a:pt x="71660" y="77242"/>
                      </a:cubicBezTo>
                      <a:cubicBezTo>
                        <a:pt x="73818" y="78284"/>
                        <a:pt x="75846" y="79549"/>
                        <a:pt x="77744" y="81037"/>
                      </a:cubicBezTo>
                      <a:cubicBezTo>
                        <a:pt x="79641" y="82526"/>
                        <a:pt x="81427" y="84330"/>
                        <a:pt x="83102" y="86451"/>
                      </a:cubicBezTo>
                      <a:cubicBezTo>
                        <a:pt x="84776" y="88572"/>
                        <a:pt x="86357" y="90990"/>
                        <a:pt x="87846" y="93706"/>
                      </a:cubicBezTo>
                      <a:cubicBezTo>
                        <a:pt x="89334" y="96422"/>
                        <a:pt x="90785" y="99492"/>
                        <a:pt x="92199" y="102915"/>
                      </a:cubicBezTo>
                      <a:lnTo>
                        <a:pt x="104366" y="131378"/>
                      </a:lnTo>
                      <a:cubicBezTo>
                        <a:pt x="105482" y="134206"/>
                        <a:pt x="106226" y="136271"/>
                        <a:pt x="106598" y="137573"/>
                      </a:cubicBezTo>
                      <a:cubicBezTo>
                        <a:pt x="106970" y="138876"/>
                        <a:pt x="107156" y="139899"/>
                        <a:pt x="107156" y="140643"/>
                      </a:cubicBezTo>
                      <a:cubicBezTo>
                        <a:pt x="107156" y="141462"/>
                        <a:pt x="107007" y="142150"/>
                        <a:pt x="106709" y="142708"/>
                      </a:cubicBezTo>
                      <a:cubicBezTo>
                        <a:pt x="106412" y="143266"/>
                        <a:pt x="105705" y="143731"/>
                        <a:pt x="104589" y="144103"/>
                      </a:cubicBezTo>
                      <a:cubicBezTo>
                        <a:pt x="103472" y="144475"/>
                        <a:pt x="101835" y="144736"/>
                        <a:pt x="99677" y="144885"/>
                      </a:cubicBezTo>
                      <a:cubicBezTo>
                        <a:pt x="97519" y="145033"/>
                        <a:pt x="94580" y="145108"/>
                        <a:pt x="90859" y="145108"/>
                      </a:cubicBezTo>
                      <a:cubicBezTo>
                        <a:pt x="87734" y="145108"/>
                        <a:pt x="85241" y="145033"/>
                        <a:pt x="83381" y="144885"/>
                      </a:cubicBezTo>
                      <a:cubicBezTo>
                        <a:pt x="81520" y="144736"/>
                        <a:pt x="80051" y="144457"/>
                        <a:pt x="78972" y="144047"/>
                      </a:cubicBezTo>
                      <a:cubicBezTo>
                        <a:pt x="77893" y="143638"/>
                        <a:pt x="77130" y="143117"/>
                        <a:pt x="76683" y="142485"/>
                      </a:cubicBezTo>
                      <a:cubicBezTo>
                        <a:pt x="76237" y="141852"/>
                        <a:pt x="75865" y="141089"/>
                        <a:pt x="75567" y="140197"/>
                      </a:cubicBezTo>
                      <a:lnTo>
                        <a:pt x="62619" y="107938"/>
                      </a:lnTo>
                      <a:cubicBezTo>
                        <a:pt x="61056" y="104292"/>
                        <a:pt x="59531" y="101055"/>
                        <a:pt x="58043" y="98227"/>
                      </a:cubicBezTo>
                      <a:cubicBezTo>
                        <a:pt x="56554" y="95399"/>
                        <a:pt x="54899" y="93037"/>
                        <a:pt x="53075" y="91139"/>
                      </a:cubicBezTo>
                      <a:cubicBezTo>
                        <a:pt x="51252" y="89241"/>
                        <a:pt x="49150" y="87809"/>
                        <a:pt x="46769" y="86842"/>
                      </a:cubicBezTo>
                      <a:cubicBezTo>
                        <a:pt x="44388" y="85874"/>
                        <a:pt x="41634" y="85391"/>
                        <a:pt x="38509" y="85391"/>
                      </a:cubicBezTo>
                      <a:lnTo>
                        <a:pt x="29356" y="85391"/>
                      </a:lnTo>
                      <a:lnTo>
                        <a:pt x="29356" y="140420"/>
                      </a:lnTo>
                      <a:cubicBezTo>
                        <a:pt x="29356" y="141164"/>
                        <a:pt x="29114" y="141834"/>
                        <a:pt x="28630" y="142429"/>
                      </a:cubicBezTo>
                      <a:cubicBezTo>
                        <a:pt x="28147" y="143024"/>
                        <a:pt x="27347" y="143508"/>
                        <a:pt x="26231" y="143880"/>
                      </a:cubicBezTo>
                      <a:cubicBezTo>
                        <a:pt x="25114" y="144252"/>
                        <a:pt x="23626" y="144550"/>
                        <a:pt x="21766" y="144773"/>
                      </a:cubicBezTo>
                      <a:cubicBezTo>
                        <a:pt x="19905" y="144996"/>
                        <a:pt x="17524" y="145108"/>
                        <a:pt x="14622" y="145108"/>
                      </a:cubicBezTo>
                      <a:cubicBezTo>
                        <a:pt x="11794" y="145108"/>
                        <a:pt x="9432" y="144996"/>
                        <a:pt x="7534" y="144773"/>
                      </a:cubicBezTo>
                      <a:cubicBezTo>
                        <a:pt x="5637" y="144550"/>
                        <a:pt x="4130" y="144252"/>
                        <a:pt x="3013" y="143880"/>
                      </a:cubicBezTo>
                      <a:cubicBezTo>
                        <a:pt x="1897" y="143508"/>
                        <a:pt x="1116" y="143024"/>
                        <a:pt x="669" y="142429"/>
                      </a:cubicBezTo>
                      <a:cubicBezTo>
                        <a:pt x="223" y="141834"/>
                        <a:pt x="0" y="141164"/>
                        <a:pt x="0" y="140420"/>
                      </a:cubicBezTo>
                      <a:lnTo>
                        <a:pt x="0" y="9265"/>
                      </a:lnTo>
                      <a:cubicBezTo>
                        <a:pt x="0" y="5991"/>
                        <a:pt x="837" y="3628"/>
                        <a:pt x="2511" y="2177"/>
                      </a:cubicBezTo>
                      <a:cubicBezTo>
                        <a:pt x="4185" y="726"/>
                        <a:pt x="6250" y="0"/>
                        <a:pt x="8706" y="0"/>
                      </a:cubicBezTo>
                      <a:close/>
                      <a:moveTo>
                        <a:pt x="29356" y="22436"/>
                      </a:moveTo>
                      <a:lnTo>
                        <a:pt x="29356" y="63401"/>
                      </a:lnTo>
                      <a:lnTo>
                        <a:pt x="44313" y="63401"/>
                      </a:lnTo>
                      <a:cubicBezTo>
                        <a:pt x="48480" y="63401"/>
                        <a:pt x="52127" y="62899"/>
                        <a:pt x="55252" y="61894"/>
                      </a:cubicBezTo>
                      <a:cubicBezTo>
                        <a:pt x="58377" y="60890"/>
                        <a:pt x="60982" y="59476"/>
                        <a:pt x="63066" y="57653"/>
                      </a:cubicBezTo>
                      <a:cubicBezTo>
                        <a:pt x="65149" y="55830"/>
                        <a:pt x="66712" y="53653"/>
                        <a:pt x="67754" y="51123"/>
                      </a:cubicBezTo>
                      <a:cubicBezTo>
                        <a:pt x="68795" y="48593"/>
                        <a:pt x="69316" y="45765"/>
                        <a:pt x="69316" y="42640"/>
                      </a:cubicBezTo>
                      <a:cubicBezTo>
                        <a:pt x="69316" y="37877"/>
                        <a:pt x="68237" y="33859"/>
                        <a:pt x="66079" y="30585"/>
                      </a:cubicBezTo>
                      <a:cubicBezTo>
                        <a:pt x="63921" y="27310"/>
                        <a:pt x="60387" y="25004"/>
                        <a:pt x="55475" y="23664"/>
                      </a:cubicBezTo>
                      <a:cubicBezTo>
                        <a:pt x="53987" y="23292"/>
                        <a:pt x="52294" y="22994"/>
                        <a:pt x="50397" y="22771"/>
                      </a:cubicBezTo>
                      <a:cubicBezTo>
                        <a:pt x="48499" y="22548"/>
                        <a:pt x="45876" y="22436"/>
                        <a:pt x="42527" y="22436"/>
                      </a:cubicBezTo>
                      <a:lnTo>
                        <a:pt x="29356" y="224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5" name="Полілінія: фігура 104">
                  <a:extLst>
                    <a:ext uri="{FF2B5EF4-FFF2-40B4-BE49-F238E27FC236}">
                      <a16:creationId xmlns:a16="http://schemas.microsoft.com/office/drawing/2014/main" id="{7B97B6F7-E689-5F6E-8F50-D17A0F98B74E}"/>
                    </a:ext>
                  </a:extLst>
                </p:cNvPr>
                <p:cNvSpPr/>
                <p:nvPr/>
              </p:nvSpPr>
              <p:spPr>
                <a:xfrm>
                  <a:off x="2126631" y="2707092"/>
                  <a:ext cx="85613" cy="144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613" h="144438">
                      <a:moveTo>
                        <a:pt x="8706" y="0"/>
                      </a:moveTo>
                      <a:lnTo>
                        <a:pt x="80813" y="0"/>
                      </a:lnTo>
                      <a:cubicBezTo>
                        <a:pt x="81483" y="0"/>
                        <a:pt x="82078" y="186"/>
                        <a:pt x="82599" y="559"/>
                      </a:cubicBezTo>
                      <a:cubicBezTo>
                        <a:pt x="83120" y="931"/>
                        <a:pt x="83567" y="1582"/>
                        <a:pt x="83939" y="2512"/>
                      </a:cubicBezTo>
                      <a:cubicBezTo>
                        <a:pt x="84311" y="3442"/>
                        <a:pt x="84590" y="4633"/>
                        <a:pt x="84776" y="6084"/>
                      </a:cubicBezTo>
                      <a:cubicBezTo>
                        <a:pt x="84962" y="7535"/>
                        <a:pt x="85055" y="9377"/>
                        <a:pt x="85055" y="11609"/>
                      </a:cubicBezTo>
                      <a:cubicBezTo>
                        <a:pt x="85055" y="13693"/>
                        <a:pt x="84962" y="15460"/>
                        <a:pt x="84776" y="16911"/>
                      </a:cubicBezTo>
                      <a:cubicBezTo>
                        <a:pt x="84590" y="18362"/>
                        <a:pt x="84311" y="19534"/>
                        <a:pt x="83939" y="20427"/>
                      </a:cubicBezTo>
                      <a:cubicBezTo>
                        <a:pt x="83567" y="21320"/>
                        <a:pt x="83120" y="21971"/>
                        <a:pt x="82599" y="22380"/>
                      </a:cubicBezTo>
                      <a:cubicBezTo>
                        <a:pt x="82078" y="22790"/>
                        <a:pt x="81483" y="22994"/>
                        <a:pt x="80813" y="22994"/>
                      </a:cubicBezTo>
                      <a:lnTo>
                        <a:pt x="29244" y="22994"/>
                      </a:lnTo>
                      <a:lnTo>
                        <a:pt x="29244" y="58267"/>
                      </a:lnTo>
                      <a:lnTo>
                        <a:pt x="72888" y="58267"/>
                      </a:lnTo>
                      <a:cubicBezTo>
                        <a:pt x="73558" y="58267"/>
                        <a:pt x="74172" y="58471"/>
                        <a:pt x="74730" y="58881"/>
                      </a:cubicBezTo>
                      <a:cubicBezTo>
                        <a:pt x="75288" y="59290"/>
                        <a:pt x="75753" y="59922"/>
                        <a:pt x="76125" y="60778"/>
                      </a:cubicBezTo>
                      <a:cubicBezTo>
                        <a:pt x="76497" y="61634"/>
                        <a:pt x="76776" y="62787"/>
                        <a:pt x="76962" y="64238"/>
                      </a:cubicBezTo>
                      <a:cubicBezTo>
                        <a:pt x="77148" y="65689"/>
                        <a:pt x="77242" y="67457"/>
                        <a:pt x="77242" y="69540"/>
                      </a:cubicBezTo>
                      <a:cubicBezTo>
                        <a:pt x="77242" y="71698"/>
                        <a:pt x="77148" y="73484"/>
                        <a:pt x="76962" y="74898"/>
                      </a:cubicBezTo>
                      <a:cubicBezTo>
                        <a:pt x="76776" y="76312"/>
                        <a:pt x="76497" y="77447"/>
                        <a:pt x="76125" y="78303"/>
                      </a:cubicBezTo>
                      <a:cubicBezTo>
                        <a:pt x="75753" y="79158"/>
                        <a:pt x="75288" y="79772"/>
                        <a:pt x="74730" y="80144"/>
                      </a:cubicBezTo>
                      <a:cubicBezTo>
                        <a:pt x="74172" y="80516"/>
                        <a:pt x="73558" y="80702"/>
                        <a:pt x="72888" y="80702"/>
                      </a:cubicBezTo>
                      <a:lnTo>
                        <a:pt x="29244" y="80702"/>
                      </a:lnTo>
                      <a:lnTo>
                        <a:pt x="29244" y="121444"/>
                      </a:lnTo>
                      <a:lnTo>
                        <a:pt x="81260" y="121444"/>
                      </a:lnTo>
                      <a:cubicBezTo>
                        <a:pt x="81930" y="121444"/>
                        <a:pt x="82544" y="121649"/>
                        <a:pt x="83102" y="122058"/>
                      </a:cubicBezTo>
                      <a:cubicBezTo>
                        <a:pt x="83660" y="122467"/>
                        <a:pt x="84125" y="123118"/>
                        <a:pt x="84497" y="124011"/>
                      </a:cubicBezTo>
                      <a:cubicBezTo>
                        <a:pt x="84869" y="124904"/>
                        <a:pt x="85148" y="126076"/>
                        <a:pt x="85334" y="127528"/>
                      </a:cubicBezTo>
                      <a:cubicBezTo>
                        <a:pt x="85520" y="128979"/>
                        <a:pt x="85613" y="130783"/>
                        <a:pt x="85613" y="132941"/>
                      </a:cubicBezTo>
                      <a:cubicBezTo>
                        <a:pt x="85613" y="135099"/>
                        <a:pt x="85520" y="136904"/>
                        <a:pt x="85334" y="138355"/>
                      </a:cubicBezTo>
                      <a:cubicBezTo>
                        <a:pt x="85148" y="139806"/>
                        <a:pt x="84869" y="140978"/>
                        <a:pt x="84497" y="141871"/>
                      </a:cubicBezTo>
                      <a:cubicBezTo>
                        <a:pt x="84125" y="142764"/>
                        <a:pt x="83660" y="143415"/>
                        <a:pt x="83102" y="143824"/>
                      </a:cubicBezTo>
                      <a:cubicBezTo>
                        <a:pt x="82544" y="144233"/>
                        <a:pt x="81930" y="144438"/>
                        <a:pt x="81260" y="144438"/>
                      </a:cubicBezTo>
                      <a:lnTo>
                        <a:pt x="8706" y="144438"/>
                      </a:lnTo>
                      <a:cubicBezTo>
                        <a:pt x="6250" y="144438"/>
                        <a:pt x="4186" y="143713"/>
                        <a:pt x="2511" y="142262"/>
                      </a:cubicBezTo>
                      <a:cubicBezTo>
                        <a:pt x="837" y="140810"/>
                        <a:pt x="0" y="138448"/>
                        <a:pt x="0" y="135174"/>
                      </a:cubicBezTo>
                      <a:lnTo>
                        <a:pt x="0" y="9265"/>
                      </a:lnTo>
                      <a:cubicBezTo>
                        <a:pt x="0" y="5991"/>
                        <a:pt x="837" y="3628"/>
                        <a:pt x="2511" y="2177"/>
                      </a:cubicBezTo>
                      <a:cubicBezTo>
                        <a:pt x="4186" y="726"/>
                        <a:pt x="6250" y="0"/>
                        <a:pt x="870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6" name="Полілінія: фігура 105">
                  <a:extLst>
                    <a:ext uri="{FF2B5EF4-FFF2-40B4-BE49-F238E27FC236}">
                      <a16:creationId xmlns:a16="http://schemas.microsoft.com/office/drawing/2014/main" id="{476FCEFF-582C-6D42-5E23-FB8A9E46E14B}"/>
                    </a:ext>
                  </a:extLst>
                </p:cNvPr>
                <p:cNvSpPr/>
                <p:nvPr/>
              </p:nvSpPr>
              <p:spPr>
                <a:xfrm>
                  <a:off x="2345706" y="2707092"/>
                  <a:ext cx="85613" cy="144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613" h="144438">
                      <a:moveTo>
                        <a:pt x="8706" y="0"/>
                      </a:moveTo>
                      <a:lnTo>
                        <a:pt x="80813" y="0"/>
                      </a:lnTo>
                      <a:cubicBezTo>
                        <a:pt x="81483" y="0"/>
                        <a:pt x="82079" y="186"/>
                        <a:pt x="82599" y="559"/>
                      </a:cubicBezTo>
                      <a:cubicBezTo>
                        <a:pt x="83120" y="931"/>
                        <a:pt x="83567" y="1582"/>
                        <a:pt x="83939" y="2512"/>
                      </a:cubicBezTo>
                      <a:cubicBezTo>
                        <a:pt x="84311" y="3442"/>
                        <a:pt x="84590" y="4633"/>
                        <a:pt x="84776" y="6084"/>
                      </a:cubicBezTo>
                      <a:cubicBezTo>
                        <a:pt x="84962" y="7535"/>
                        <a:pt x="85055" y="9377"/>
                        <a:pt x="85055" y="11609"/>
                      </a:cubicBezTo>
                      <a:cubicBezTo>
                        <a:pt x="85055" y="13693"/>
                        <a:pt x="84962" y="15460"/>
                        <a:pt x="84776" y="16911"/>
                      </a:cubicBezTo>
                      <a:cubicBezTo>
                        <a:pt x="84590" y="18362"/>
                        <a:pt x="84311" y="19534"/>
                        <a:pt x="83939" y="20427"/>
                      </a:cubicBezTo>
                      <a:cubicBezTo>
                        <a:pt x="83567" y="21320"/>
                        <a:pt x="83120" y="21971"/>
                        <a:pt x="82599" y="22380"/>
                      </a:cubicBezTo>
                      <a:cubicBezTo>
                        <a:pt x="82079" y="22790"/>
                        <a:pt x="81483" y="22994"/>
                        <a:pt x="80813" y="22994"/>
                      </a:cubicBezTo>
                      <a:lnTo>
                        <a:pt x="29244" y="22994"/>
                      </a:lnTo>
                      <a:lnTo>
                        <a:pt x="29244" y="58267"/>
                      </a:lnTo>
                      <a:lnTo>
                        <a:pt x="72888" y="58267"/>
                      </a:lnTo>
                      <a:cubicBezTo>
                        <a:pt x="73558" y="58267"/>
                        <a:pt x="74172" y="58471"/>
                        <a:pt x="74730" y="58881"/>
                      </a:cubicBezTo>
                      <a:cubicBezTo>
                        <a:pt x="75288" y="59290"/>
                        <a:pt x="75753" y="59922"/>
                        <a:pt x="76125" y="60778"/>
                      </a:cubicBezTo>
                      <a:cubicBezTo>
                        <a:pt x="76497" y="61634"/>
                        <a:pt x="76777" y="62787"/>
                        <a:pt x="76962" y="64238"/>
                      </a:cubicBezTo>
                      <a:cubicBezTo>
                        <a:pt x="77149" y="65689"/>
                        <a:pt x="77242" y="67457"/>
                        <a:pt x="77242" y="69540"/>
                      </a:cubicBezTo>
                      <a:cubicBezTo>
                        <a:pt x="77242" y="71698"/>
                        <a:pt x="77149" y="73484"/>
                        <a:pt x="76962" y="74898"/>
                      </a:cubicBezTo>
                      <a:cubicBezTo>
                        <a:pt x="76777" y="76312"/>
                        <a:pt x="76497" y="77447"/>
                        <a:pt x="76125" y="78303"/>
                      </a:cubicBezTo>
                      <a:cubicBezTo>
                        <a:pt x="75753" y="79158"/>
                        <a:pt x="75288" y="79772"/>
                        <a:pt x="74730" y="80144"/>
                      </a:cubicBezTo>
                      <a:cubicBezTo>
                        <a:pt x="74172" y="80516"/>
                        <a:pt x="73558" y="80702"/>
                        <a:pt x="72888" y="80702"/>
                      </a:cubicBezTo>
                      <a:lnTo>
                        <a:pt x="29244" y="80702"/>
                      </a:lnTo>
                      <a:lnTo>
                        <a:pt x="29244" y="121444"/>
                      </a:lnTo>
                      <a:lnTo>
                        <a:pt x="81260" y="121444"/>
                      </a:lnTo>
                      <a:cubicBezTo>
                        <a:pt x="81930" y="121444"/>
                        <a:pt x="82544" y="121649"/>
                        <a:pt x="83102" y="122058"/>
                      </a:cubicBezTo>
                      <a:cubicBezTo>
                        <a:pt x="83660" y="122467"/>
                        <a:pt x="84125" y="123118"/>
                        <a:pt x="84497" y="124011"/>
                      </a:cubicBezTo>
                      <a:cubicBezTo>
                        <a:pt x="84869" y="124904"/>
                        <a:pt x="85148" y="126076"/>
                        <a:pt x="85334" y="127528"/>
                      </a:cubicBezTo>
                      <a:cubicBezTo>
                        <a:pt x="85520" y="128979"/>
                        <a:pt x="85613" y="130783"/>
                        <a:pt x="85613" y="132941"/>
                      </a:cubicBezTo>
                      <a:cubicBezTo>
                        <a:pt x="85613" y="135099"/>
                        <a:pt x="85520" y="136904"/>
                        <a:pt x="85334" y="138355"/>
                      </a:cubicBezTo>
                      <a:cubicBezTo>
                        <a:pt x="85148" y="139806"/>
                        <a:pt x="84869" y="140978"/>
                        <a:pt x="84497" y="141871"/>
                      </a:cubicBezTo>
                      <a:cubicBezTo>
                        <a:pt x="84125" y="142764"/>
                        <a:pt x="83660" y="143415"/>
                        <a:pt x="83102" y="143824"/>
                      </a:cubicBezTo>
                      <a:cubicBezTo>
                        <a:pt x="82544" y="144233"/>
                        <a:pt x="81930" y="144438"/>
                        <a:pt x="81260" y="144438"/>
                      </a:cubicBezTo>
                      <a:lnTo>
                        <a:pt x="8706" y="144438"/>
                      </a:lnTo>
                      <a:cubicBezTo>
                        <a:pt x="6251" y="144438"/>
                        <a:pt x="4186" y="143713"/>
                        <a:pt x="2511" y="142262"/>
                      </a:cubicBezTo>
                      <a:cubicBezTo>
                        <a:pt x="837" y="140810"/>
                        <a:pt x="0" y="138448"/>
                        <a:pt x="0" y="135174"/>
                      </a:cubicBezTo>
                      <a:lnTo>
                        <a:pt x="0" y="9265"/>
                      </a:lnTo>
                      <a:cubicBezTo>
                        <a:pt x="0" y="5991"/>
                        <a:pt x="837" y="3628"/>
                        <a:pt x="2511" y="2177"/>
                      </a:cubicBezTo>
                      <a:cubicBezTo>
                        <a:pt x="4186" y="726"/>
                        <a:pt x="6251" y="0"/>
                        <a:pt x="870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7" name="Полілінія: фігура 106">
                  <a:extLst>
                    <a:ext uri="{FF2B5EF4-FFF2-40B4-BE49-F238E27FC236}">
                      <a16:creationId xmlns:a16="http://schemas.microsoft.com/office/drawing/2014/main" id="{833169EA-C7C4-0A8F-CBDB-41E4BC679342}"/>
                    </a:ext>
                  </a:extLst>
                </p:cNvPr>
                <p:cNvSpPr/>
                <p:nvPr/>
              </p:nvSpPr>
              <p:spPr>
                <a:xfrm>
                  <a:off x="2602880" y="2707092"/>
                  <a:ext cx="107156" cy="14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156" h="145108">
                      <a:moveTo>
                        <a:pt x="8706" y="0"/>
                      </a:moveTo>
                      <a:lnTo>
                        <a:pt x="46099" y="0"/>
                      </a:lnTo>
                      <a:cubicBezTo>
                        <a:pt x="49894" y="0"/>
                        <a:pt x="53020" y="75"/>
                        <a:pt x="55476" y="224"/>
                      </a:cubicBezTo>
                      <a:cubicBezTo>
                        <a:pt x="57931" y="373"/>
                        <a:pt x="60164" y="559"/>
                        <a:pt x="62173" y="782"/>
                      </a:cubicBezTo>
                      <a:cubicBezTo>
                        <a:pt x="67977" y="1600"/>
                        <a:pt x="73205" y="3014"/>
                        <a:pt x="77856" y="5023"/>
                      </a:cubicBezTo>
                      <a:cubicBezTo>
                        <a:pt x="82506" y="7033"/>
                        <a:pt x="86450" y="9656"/>
                        <a:pt x="89687" y="12893"/>
                      </a:cubicBezTo>
                      <a:cubicBezTo>
                        <a:pt x="92924" y="16130"/>
                        <a:pt x="95399" y="19962"/>
                        <a:pt x="97110" y="24390"/>
                      </a:cubicBezTo>
                      <a:cubicBezTo>
                        <a:pt x="98822" y="28817"/>
                        <a:pt x="99677" y="33896"/>
                        <a:pt x="99677" y="39626"/>
                      </a:cubicBezTo>
                      <a:cubicBezTo>
                        <a:pt x="99677" y="44463"/>
                        <a:pt x="99064" y="48872"/>
                        <a:pt x="97836" y="52853"/>
                      </a:cubicBezTo>
                      <a:cubicBezTo>
                        <a:pt x="96608" y="56834"/>
                        <a:pt x="94803" y="60387"/>
                        <a:pt x="92422" y="63513"/>
                      </a:cubicBezTo>
                      <a:cubicBezTo>
                        <a:pt x="90041" y="66638"/>
                        <a:pt x="87101" y="69354"/>
                        <a:pt x="83604" y="71661"/>
                      </a:cubicBezTo>
                      <a:cubicBezTo>
                        <a:pt x="80107" y="73968"/>
                        <a:pt x="76125" y="75828"/>
                        <a:pt x="71661" y="77242"/>
                      </a:cubicBezTo>
                      <a:cubicBezTo>
                        <a:pt x="73819" y="78284"/>
                        <a:pt x="75846" y="79549"/>
                        <a:pt x="77744" y="81037"/>
                      </a:cubicBezTo>
                      <a:cubicBezTo>
                        <a:pt x="79641" y="82526"/>
                        <a:pt x="81427" y="84330"/>
                        <a:pt x="83102" y="86451"/>
                      </a:cubicBezTo>
                      <a:cubicBezTo>
                        <a:pt x="84776" y="88572"/>
                        <a:pt x="86357" y="90990"/>
                        <a:pt x="87846" y="93706"/>
                      </a:cubicBezTo>
                      <a:cubicBezTo>
                        <a:pt x="89334" y="96422"/>
                        <a:pt x="90785" y="99492"/>
                        <a:pt x="92199" y="102915"/>
                      </a:cubicBezTo>
                      <a:lnTo>
                        <a:pt x="104366" y="131378"/>
                      </a:lnTo>
                      <a:cubicBezTo>
                        <a:pt x="105482" y="134206"/>
                        <a:pt x="106226" y="136271"/>
                        <a:pt x="106598" y="137573"/>
                      </a:cubicBezTo>
                      <a:cubicBezTo>
                        <a:pt x="106970" y="138876"/>
                        <a:pt x="107156" y="139899"/>
                        <a:pt x="107156" y="140643"/>
                      </a:cubicBezTo>
                      <a:cubicBezTo>
                        <a:pt x="107156" y="141462"/>
                        <a:pt x="107007" y="142150"/>
                        <a:pt x="106710" y="142708"/>
                      </a:cubicBezTo>
                      <a:cubicBezTo>
                        <a:pt x="106412" y="143266"/>
                        <a:pt x="105705" y="143731"/>
                        <a:pt x="104589" y="144103"/>
                      </a:cubicBezTo>
                      <a:cubicBezTo>
                        <a:pt x="103473" y="144475"/>
                        <a:pt x="101835" y="144736"/>
                        <a:pt x="99677" y="144885"/>
                      </a:cubicBezTo>
                      <a:cubicBezTo>
                        <a:pt x="97519" y="145033"/>
                        <a:pt x="94580" y="145108"/>
                        <a:pt x="90859" y="145108"/>
                      </a:cubicBezTo>
                      <a:cubicBezTo>
                        <a:pt x="87734" y="145108"/>
                        <a:pt x="85241" y="145033"/>
                        <a:pt x="83381" y="144885"/>
                      </a:cubicBezTo>
                      <a:cubicBezTo>
                        <a:pt x="81520" y="144736"/>
                        <a:pt x="80051" y="144457"/>
                        <a:pt x="78972" y="144047"/>
                      </a:cubicBezTo>
                      <a:cubicBezTo>
                        <a:pt x="77893" y="143638"/>
                        <a:pt x="77130" y="143117"/>
                        <a:pt x="76684" y="142485"/>
                      </a:cubicBezTo>
                      <a:cubicBezTo>
                        <a:pt x="76237" y="141852"/>
                        <a:pt x="75865" y="141089"/>
                        <a:pt x="75567" y="140197"/>
                      </a:cubicBezTo>
                      <a:lnTo>
                        <a:pt x="62619" y="107938"/>
                      </a:lnTo>
                      <a:cubicBezTo>
                        <a:pt x="61057" y="104292"/>
                        <a:pt x="59531" y="101055"/>
                        <a:pt x="58043" y="98227"/>
                      </a:cubicBezTo>
                      <a:cubicBezTo>
                        <a:pt x="56555" y="95399"/>
                        <a:pt x="54899" y="93037"/>
                        <a:pt x="53076" y="91139"/>
                      </a:cubicBezTo>
                      <a:cubicBezTo>
                        <a:pt x="51253" y="89241"/>
                        <a:pt x="49150" y="87809"/>
                        <a:pt x="46769" y="86842"/>
                      </a:cubicBezTo>
                      <a:cubicBezTo>
                        <a:pt x="44388" y="85874"/>
                        <a:pt x="41634" y="85391"/>
                        <a:pt x="38509" y="85391"/>
                      </a:cubicBezTo>
                      <a:lnTo>
                        <a:pt x="29356" y="85391"/>
                      </a:lnTo>
                      <a:lnTo>
                        <a:pt x="29356" y="140420"/>
                      </a:lnTo>
                      <a:cubicBezTo>
                        <a:pt x="29356" y="141164"/>
                        <a:pt x="29114" y="141834"/>
                        <a:pt x="28631" y="142429"/>
                      </a:cubicBezTo>
                      <a:cubicBezTo>
                        <a:pt x="28147" y="143024"/>
                        <a:pt x="27347" y="143508"/>
                        <a:pt x="26231" y="143880"/>
                      </a:cubicBezTo>
                      <a:cubicBezTo>
                        <a:pt x="25115" y="144252"/>
                        <a:pt x="23626" y="144550"/>
                        <a:pt x="21766" y="144773"/>
                      </a:cubicBezTo>
                      <a:cubicBezTo>
                        <a:pt x="19906" y="144996"/>
                        <a:pt x="17524" y="145108"/>
                        <a:pt x="14622" y="145108"/>
                      </a:cubicBezTo>
                      <a:cubicBezTo>
                        <a:pt x="11794" y="145108"/>
                        <a:pt x="9432" y="144996"/>
                        <a:pt x="7534" y="144773"/>
                      </a:cubicBezTo>
                      <a:cubicBezTo>
                        <a:pt x="5637" y="144550"/>
                        <a:pt x="4130" y="144252"/>
                        <a:pt x="3014" y="143880"/>
                      </a:cubicBezTo>
                      <a:cubicBezTo>
                        <a:pt x="1897" y="143508"/>
                        <a:pt x="1116" y="143024"/>
                        <a:pt x="670" y="142429"/>
                      </a:cubicBezTo>
                      <a:cubicBezTo>
                        <a:pt x="223" y="141834"/>
                        <a:pt x="0" y="141164"/>
                        <a:pt x="0" y="140420"/>
                      </a:cubicBezTo>
                      <a:lnTo>
                        <a:pt x="0" y="9265"/>
                      </a:lnTo>
                      <a:cubicBezTo>
                        <a:pt x="0" y="5991"/>
                        <a:pt x="837" y="3628"/>
                        <a:pt x="2511" y="2177"/>
                      </a:cubicBezTo>
                      <a:cubicBezTo>
                        <a:pt x="4186" y="726"/>
                        <a:pt x="6251" y="0"/>
                        <a:pt x="8706" y="0"/>
                      </a:cubicBezTo>
                      <a:close/>
                      <a:moveTo>
                        <a:pt x="29356" y="22436"/>
                      </a:moveTo>
                      <a:lnTo>
                        <a:pt x="29356" y="63401"/>
                      </a:lnTo>
                      <a:lnTo>
                        <a:pt x="44313" y="63401"/>
                      </a:lnTo>
                      <a:cubicBezTo>
                        <a:pt x="48481" y="63401"/>
                        <a:pt x="52127" y="62899"/>
                        <a:pt x="55252" y="61894"/>
                      </a:cubicBezTo>
                      <a:cubicBezTo>
                        <a:pt x="58378" y="60890"/>
                        <a:pt x="60982" y="59476"/>
                        <a:pt x="63066" y="57653"/>
                      </a:cubicBezTo>
                      <a:cubicBezTo>
                        <a:pt x="65149" y="55830"/>
                        <a:pt x="66712" y="53653"/>
                        <a:pt x="67754" y="51123"/>
                      </a:cubicBezTo>
                      <a:cubicBezTo>
                        <a:pt x="68796" y="48593"/>
                        <a:pt x="69317" y="45765"/>
                        <a:pt x="69317" y="42640"/>
                      </a:cubicBezTo>
                      <a:cubicBezTo>
                        <a:pt x="69317" y="37877"/>
                        <a:pt x="68238" y="33859"/>
                        <a:pt x="66080" y="30585"/>
                      </a:cubicBezTo>
                      <a:cubicBezTo>
                        <a:pt x="63921" y="27310"/>
                        <a:pt x="60387" y="25004"/>
                        <a:pt x="55476" y="23664"/>
                      </a:cubicBezTo>
                      <a:cubicBezTo>
                        <a:pt x="53987" y="23292"/>
                        <a:pt x="52294" y="22994"/>
                        <a:pt x="50397" y="22771"/>
                      </a:cubicBezTo>
                      <a:cubicBezTo>
                        <a:pt x="48499" y="22548"/>
                        <a:pt x="45876" y="22436"/>
                        <a:pt x="42527" y="22436"/>
                      </a:cubicBezTo>
                      <a:lnTo>
                        <a:pt x="29356" y="224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8" name="Полілінія: фігура 107">
                  <a:extLst>
                    <a:ext uri="{FF2B5EF4-FFF2-40B4-BE49-F238E27FC236}">
                      <a16:creationId xmlns:a16="http://schemas.microsoft.com/office/drawing/2014/main" id="{B5E0106F-C52F-1363-C12F-493152325337}"/>
                    </a:ext>
                  </a:extLst>
                </p:cNvPr>
                <p:cNvSpPr/>
                <p:nvPr/>
              </p:nvSpPr>
              <p:spPr>
                <a:xfrm>
                  <a:off x="3155331" y="2707092"/>
                  <a:ext cx="85613" cy="144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613" h="144438">
                      <a:moveTo>
                        <a:pt x="8706" y="0"/>
                      </a:moveTo>
                      <a:lnTo>
                        <a:pt x="80813" y="0"/>
                      </a:lnTo>
                      <a:cubicBezTo>
                        <a:pt x="81483" y="0"/>
                        <a:pt x="82079" y="186"/>
                        <a:pt x="82599" y="559"/>
                      </a:cubicBezTo>
                      <a:cubicBezTo>
                        <a:pt x="83120" y="931"/>
                        <a:pt x="83567" y="1582"/>
                        <a:pt x="83939" y="2512"/>
                      </a:cubicBezTo>
                      <a:cubicBezTo>
                        <a:pt x="84311" y="3442"/>
                        <a:pt x="84590" y="4633"/>
                        <a:pt x="84776" y="6084"/>
                      </a:cubicBezTo>
                      <a:cubicBezTo>
                        <a:pt x="84962" y="7535"/>
                        <a:pt x="85055" y="9377"/>
                        <a:pt x="85055" y="11609"/>
                      </a:cubicBezTo>
                      <a:cubicBezTo>
                        <a:pt x="85055" y="13693"/>
                        <a:pt x="84962" y="15460"/>
                        <a:pt x="84776" y="16911"/>
                      </a:cubicBezTo>
                      <a:cubicBezTo>
                        <a:pt x="84590" y="18362"/>
                        <a:pt x="84311" y="19534"/>
                        <a:pt x="83939" y="20427"/>
                      </a:cubicBezTo>
                      <a:cubicBezTo>
                        <a:pt x="83567" y="21320"/>
                        <a:pt x="83120" y="21971"/>
                        <a:pt x="82599" y="22380"/>
                      </a:cubicBezTo>
                      <a:cubicBezTo>
                        <a:pt x="82079" y="22790"/>
                        <a:pt x="81483" y="22994"/>
                        <a:pt x="80813" y="22994"/>
                      </a:cubicBezTo>
                      <a:lnTo>
                        <a:pt x="29245" y="22994"/>
                      </a:lnTo>
                      <a:lnTo>
                        <a:pt x="29245" y="58267"/>
                      </a:lnTo>
                      <a:lnTo>
                        <a:pt x="72888" y="58267"/>
                      </a:lnTo>
                      <a:cubicBezTo>
                        <a:pt x="73558" y="58267"/>
                        <a:pt x="74172" y="58471"/>
                        <a:pt x="74730" y="58881"/>
                      </a:cubicBezTo>
                      <a:cubicBezTo>
                        <a:pt x="75288" y="59290"/>
                        <a:pt x="75753" y="59922"/>
                        <a:pt x="76125" y="60778"/>
                      </a:cubicBezTo>
                      <a:cubicBezTo>
                        <a:pt x="76497" y="61634"/>
                        <a:pt x="76777" y="62787"/>
                        <a:pt x="76963" y="64238"/>
                      </a:cubicBezTo>
                      <a:cubicBezTo>
                        <a:pt x="77149" y="65689"/>
                        <a:pt x="77242" y="67457"/>
                        <a:pt x="77242" y="69540"/>
                      </a:cubicBezTo>
                      <a:cubicBezTo>
                        <a:pt x="77242" y="71698"/>
                        <a:pt x="77149" y="73484"/>
                        <a:pt x="76963" y="74898"/>
                      </a:cubicBezTo>
                      <a:cubicBezTo>
                        <a:pt x="76777" y="76312"/>
                        <a:pt x="76497" y="77447"/>
                        <a:pt x="76125" y="78303"/>
                      </a:cubicBezTo>
                      <a:cubicBezTo>
                        <a:pt x="75753" y="79158"/>
                        <a:pt x="75288" y="79772"/>
                        <a:pt x="74730" y="80144"/>
                      </a:cubicBezTo>
                      <a:cubicBezTo>
                        <a:pt x="74172" y="80516"/>
                        <a:pt x="73558" y="80702"/>
                        <a:pt x="72888" y="80702"/>
                      </a:cubicBezTo>
                      <a:lnTo>
                        <a:pt x="29245" y="80702"/>
                      </a:lnTo>
                      <a:lnTo>
                        <a:pt x="29245" y="121444"/>
                      </a:lnTo>
                      <a:lnTo>
                        <a:pt x="81260" y="121444"/>
                      </a:lnTo>
                      <a:cubicBezTo>
                        <a:pt x="81930" y="121444"/>
                        <a:pt x="82544" y="121649"/>
                        <a:pt x="83102" y="122058"/>
                      </a:cubicBezTo>
                      <a:cubicBezTo>
                        <a:pt x="83660" y="122467"/>
                        <a:pt x="84125" y="123118"/>
                        <a:pt x="84497" y="124011"/>
                      </a:cubicBezTo>
                      <a:cubicBezTo>
                        <a:pt x="84869" y="124904"/>
                        <a:pt x="85148" y="126076"/>
                        <a:pt x="85334" y="127528"/>
                      </a:cubicBezTo>
                      <a:cubicBezTo>
                        <a:pt x="85520" y="128979"/>
                        <a:pt x="85613" y="130783"/>
                        <a:pt x="85613" y="132941"/>
                      </a:cubicBezTo>
                      <a:cubicBezTo>
                        <a:pt x="85613" y="135099"/>
                        <a:pt x="85520" y="136904"/>
                        <a:pt x="85334" y="138355"/>
                      </a:cubicBezTo>
                      <a:cubicBezTo>
                        <a:pt x="85148" y="139806"/>
                        <a:pt x="84869" y="140978"/>
                        <a:pt x="84497" y="141871"/>
                      </a:cubicBezTo>
                      <a:cubicBezTo>
                        <a:pt x="84125" y="142764"/>
                        <a:pt x="83660" y="143415"/>
                        <a:pt x="83102" y="143824"/>
                      </a:cubicBezTo>
                      <a:cubicBezTo>
                        <a:pt x="82544" y="144233"/>
                        <a:pt x="81930" y="144438"/>
                        <a:pt x="81260" y="144438"/>
                      </a:cubicBezTo>
                      <a:lnTo>
                        <a:pt x="8706" y="144438"/>
                      </a:lnTo>
                      <a:cubicBezTo>
                        <a:pt x="6251" y="144438"/>
                        <a:pt x="4186" y="143713"/>
                        <a:pt x="2511" y="142262"/>
                      </a:cubicBezTo>
                      <a:cubicBezTo>
                        <a:pt x="837" y="140810"/>
                        <a:pt x="0" y="138448"/>
                        <a:pt x="0" y="135174"/>
                      </a:cubicBezTo>
                      <a:lnTo>
                        <a:pt x="0" y="9265"/>
                      </a:lnTo>
                      <a:cubicBezTo>
                        <a:pt x="0" y="5991"/>
                        <a:pt x="837" y="3628"/>
                        <a:pt x="2511" y="2177"/>
                      </a:cubicBezTo>
                      <a:cubicBezTo>
                        <a:pt x="4186" y="726"/>
                        <a:pt x="6251" y="0"/>
                        <a:pt x="870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09" name="Полілінія: фігура 108">
                  <a:extLst>
                    <a:ext uri="{FF2B5EF4-FFF2-40B4-BE49-F238E27FC236}">
                      <a16:creationId xmlns:a16="http://schemas.microsoft.com/office/drawing/2014/main" id="{364D3110-7EC3-6AF7-583A-EAEDF4ED0B1C}"/>
                    </a:ext>
                  </a:extLst>
                </p:cNvPr>
                <p:cNvSpPr/>
                <p:nvPr/>
              </p:nvSpPr>
              <p:spPr>
                <a:xfrm>
                  <a:off x="3407632" y="2707092"/>
                  <a:ext cx="110505" cy="14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505" h="145108">
                      <a:moveTo>
                        <a:pt x="4353" y="0"/>
                      </a:moveTo>
                      <a:lnTo>
                        <a:pt x="106151" y="0"/>
                      </a:lnTo>
                      <a:cubicBezTo>
                        <a:pt x="106821" y="0"/>
                        <a:pt x="107435" y="205"/>
                        <a:pt x="107993" y="614"/>
                      </a:cubicBezTo>
                      <a:cubicBezTo>
                        <a:pt x="108551" y="1024"/>
                        <a:pt x="109016" y="1693"/>
                        <a:pt x="109388" y="2624"/>
                      </a:cubicBezTo>
                      <a:cubicBezTo>
                        <a:pt x="109760" y="3554"/>
                        <a:pt x="110039" y="4800"/>
                        <a:pt x="110225" y="6363"/>
                      </a:cubicBezTo>
                      <a:cubicBezTo>
                        <a:pt x="110412" y="7926"/>
                        <a:pt x="110505" y="9823"/>
                        <a:pt x="110505" y="12056"/>
                      </a:cubicBezTo>
                      <a:cubicBezTo>
                        <a:pt x="110505" y="14214"/>
                        <a:pt x="110412" y="16055"/>
                        <a:pt x="110225" y="17581"/>
                      </a:cubicBezTo>
                      <a:cubicBezTo>
                        <a:pt x="110039" y="19106"/>
                        <a:pt x="109760" y="20334"/>
                        <a:pt x="109388" y="21264"/>
                      </a:cubicBezTo>
                      <a:cubicBezTo>
                        <a:pt x="109016" y="22194"/>
                        <a:pt x="108551" y="22883"/>
                        <a:pt x="107993" y="23329"/>
                      </a:cubicBezTo>
                      <a:cubicBezTo>
                        <a:pt x="107435" y="23776"/>
                        <a:pt x="106821" y="23999"/>
                        <a:pt x="106151" y="23999"/>
                      </a:cubicBezTo>
                      <a:lnTo>
                        <a:pt x="69986" y="23999"/>
                      </a:lnTo>
                      <a:lnTo>
                        <a:pt x="69986" y="140420"/>
                      </a:lnTo>
                      <a:cubicBezTo>
                        <a:pt x="69986" y="141164"/>
                        <a:pt x="69744" y="141834"/>
                        <a:pt x="69261" y="142429"/>
                      </a:cubicBezTo>
                      <a:cubicBezTo>
                        <a:pt x="68777" y="143024"/>
                        <a:pt x="67977" y="143508"/>
                        <a:pt x="66861" y="143880"/>
                      </a:cubicBezTo>
                      <a:cubicBezTo>
                        <a:pt x="65744" y="144252"/>
                        <a:pt x="64238" y="144550"/>
                        <a:pt x="62340" y="144773"/>
                      </a:cubicBezTo>
                      <a:cubicBezTo>
                        <a:pt x="60442" y="144996"/>
                        <a:pt x="58080" y="145108"/>
                        <a:pt x="55252" y="145108"/>
                      </a:cubicBezTo>
                      <a:cubicBezTo>
                        <a:pt x="52424" y="145108"/>
                        <a:pt x="50062" y="144996"/>
                        <a:pt x="48164" y="144773"/>
                      </a:cubicBezTo>
                      <a:cubicBezTo>
                        <a:pt x="46267" y="144550"/>
                        <a:pt x="44760" y="144252"/>
                        <a:pt x="43643" y="143880"/>
                      </a:cubicBezTo>
                      <a:cubicBezTo>
                        <a:pt x="42527" y="143508"/>
                        <a:pt x="41727" y="143024"/>
                        <a:pt x="41244" y="142429"/>
                      </a:cubicBezTo>
                      <a:cubicBezTo>
                        <a:pt x="40760" y="141834"/>
                        <a:pt x="40518" y="141164"/>
                        <a:pt x="40518" y="140420"/>
                      </a:cubicBezTo>
                      <a:lnTo>
                        <a:pt x="40518" y="23999"/>
                      </a:lnTo>
                      <a:lnTo>
                        <a:pt x="4353" y="23999"/>
                      </a:lnTo>
                      <a:cubicBezTo>
                        <a:pt x="3609" y="23999"/>
                        <a:pt x="2976" y="23776"/>
                        <a:pt x="2455" y="23329"/>
                      </a:cubicBezTo>
                      <a:cubicBezTo>
                        <a:pt x="1934" y="22883"/>
                        <a:pt x="1488" y="22194"/>
                        <a:pt x="1116" y="21264"/>
                      </a:cubicBezTo>
                      <a:cubicBezTo>
                        <a:pt x="744" y="20334"/>
                        <a:pt x="465" y="19106"/>
                        <a:pt x="279" y="17581"/>
                      </a:cubicBezTo>
                      <a:cubicBezTo>
                        <a:pt x="93" y="16055"/>
                        <a:pt x="0" y="14214"/>
                        <a:pt x="0" y="12056"/>
                      </a:cubicBezTo>
                      <a:cubicBezTo>
                        <a:pt x="0" y="9823"/>
                        <a:pt x="93" y="7926"/>
                        <a:pt x="279" y="6363"/>
                      </a:cubicBezTo>
                      <a:cubicBezTo>
                        <a:pt x="465" y="4800"/>
                        <a:pt x="744" y="3554"/>
                        <a:pt x="1116" y="2624"/>
                      </a:cubicBezTo>
                      <a:cubicBezTo>
                        <a:pt x="1488" y="1693"/>
                        <a:pt x="1934" y="1024"/>
                        <a:pt x="2455" y="614"/>
                      </a:cubicBezTo>
                      <a:cubicBezTo>
                        <a:pt x="2976" y="205"/>
                        <a:pt x="3609" y="0"/>
                        <a:pt x="435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10" name="Полілінія: фігура 109">
                  <a:extLst>
                    <a:ext uri="{FF2B5EF4-FFF2-40B4-BE49-F238E27FC236}">
                      <a16:creationId xmlns:a16="http://schemas.microsoft.com/office/drawing/2014/main" id="{D3C2F8FF-CA32-3097-BB57-F9C32EDB2046}"/>
                    </a:ext>
                  </a:extLst>
                </p:cNvPr>
                <p:cNvSpPr/>
                <p:nvPr/>
              </p:nvSpPr>
              <p:spPr>
                <a:xfrm>
                  <a:off x="3536330" y="2707092"/>
                  <a:ext cx="107156" cy="14510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7156" h="145108">
                      <a:moveTo>
                        <a:pt x="8706" y="0"/>
                      </a:moveTo>
                      <a:lnTo>
                        <a:pt x="46099" y="0"/>
                      </a:lnTo>
                      <a:cubicBezTo>
                        <a:pt x="49894" y="0"/>
                        <a:pt x="53020" y="75"/>
                        <a:pt x="55475" y="224"/>
                      </a:cubicBezTo>
                      <a:cubicBezTo>
                        <a:pt x="57931" y="373"/>
                        <a:pt x="60164" y="559"/>
                        <a:pt x="62173" y="782"/>
                      </a:cubicBezTo>
                      <a:cubicBezTo>
                        <a:pt x="67977" y="1600"/>
                        <a:pt x="73205" y="3014"/>
                        <a:pt x="77855" y="5023"/>
                      </a:cubicBezTo>
                      <a:cubicBezTo>
                        <a:pt x="82506" y="7033"/>
                        <a:pt x="86450" y="9656"/>
                        <a:pt x="89687" y="12893"/>
                      </a:cubicBezTo>
                      <a:cubicBezTo>
                        <a:pt x="92924" y="16130"/>
                        <a:pt x="95399" y="19962"/>
                        <a:pt x="97110" y="24390"/>
                      </a:cubicBezTo>
                      <a:cubicBezTo>
                        <a:pt x="98822" y="28817"/>
                        <a:pt x="99677" y="33896"/>
                        <a:pt x="99677" y="39626"/>
                      </a:cubicBezTo>
                      <a:cubicBezTo>
                        <a:pt x="99677" y="44463"/>
                        <a:pt x="99063" y="48872"/>
                        <a:pt x="97836" y="52853"/>
                      </a:cubicBezTo>
                      <a:cubicBezTo>
                        <a:pt x="96608" y="56834"/>
                        <a:pt x="94803" y="60387"/>
                        <a:pt x="92422" y="63513"/>
                      </a:cubicBezTo>
                      <a:cubicBezTo>
                        <a:pt x="90041" y="66638"/>
                        <a:pt x="87101" y="69354"/>
                        <a:pt x="83604" y="71661"/>
                      </a:cubicBezTo>
                      <a:cubicBezTo>
                        <a:pt x="80106" y="73968"/>
                        <a:pt x="76125" y="75828"/>
                        <a:pt x="71660" y="77242"/>
                      </a:cubicBezTo>
                      <a:cubicBezTo>
                        <a:pt x="73819" y="78284"/>
                        <a:pt x="75846" y="79549"/>
                        <a:pt x="77744" y="81037"/>
                      </a:cubicBezTo>
                      <a:cubicBezTo>
                        <a:pt x="79641" y="82526"/>
                        <a:pt x="81427" y="84330"/>
                        <a:pt x="83102" y="86451"/>
                      </a:cubicBezTo>
                      <a:cubicBezTo>
                        <a:pt x="84776" y="88572"/>
                        <a:pt x="86357" y="90990"/>
                        <a:pt x="87846" y="93706"/>
                      </a:cubicBezTo>
                      <a:cubicBezTo>
                        <a:pt x="89334" y="96422"/>
                        <a:pt x="90785" y="99492"/>
                        <a:pt x="92199" y="102915"/>
                      </a:cubicBezTo>
                      <a:lnTo>
                        <a:pt x="104365" y="131378"/>
                      </a:lnTo>
                      <a:cubicBezTo>
                        <a:pt x="105482" y="134206"/>
                        <a:pt x="106226" y="136271"/>
                        <a:pt x="106598" y="137573"/>
                      </a:cubicBezTo>
                      <a:cubicBezTo>
                        <a:pt x="106970" y="138876"/>
                        <a:pt x="107156" y="139899"/>
                        <a:pt x="107156" y="140643"/>
                      </a:cubicBezTo>
                      <a:cubicBezTo>
                        <a:pt x="107156" y="141462"/>
                        <a:pt x="107007" y="142150"/>
                        <a:pt x="106710" y="142708"/>
                      </a:cubicBezTo>
                      <a:cubicBezTo>
                        <a:pt x="106412" y="143266"/>
                        <a:pt x="105705" y="143731"/>
                        <a:pt x="104589" y="144103"/>
                      </a:cubicBezTo>
                      <a:cubicBezTo>
                        <a:pt x="103473" y="144475"/>
                        <a:pt x="101835" y="144736"/>
                        <a:pt x="99677" y="144885"/>
                      </a:cubicBezTo>
                      <a:cubicBezTo>
                        <a:pt x="97519" y="145033"/>
                        <a:pt x="94580" y="145108"/>
                        <a:pt x="90859" y="145108"/>
                      </a:cubicBezTo>
                      <a:cubicBezTo>
                        <a:pt x="87734" y="145108"/>
                        <a:pt x="85241" y="145033"/>
                        <a:pt x="83381" y="144885"/>
                      </a:cubicBezTo>
                      <a:cubicBezTo>
                        <a:pt x="81520" y="144736"/>
                        <a:pt x="80051" y="144457"/>
                        <a:pt x="78972" y="144047"/>
                      </a:cubicBezTo>
                      <a:cubicBezTo>
                        <a:pt x="77893" y="143638"/>
                        <a:pt x="77130" y="143117"/>
                        <a:pt x="76683" y="142485"/>
                      </a:cubicBezTo>
                      <a:cubicBezTo>
                        <a:pt x="76237" y="141852"/>
                        <a:pt x="75865" y="141089"/>
                        <a:pt x="75567" y="140197"/>
                      </a:cubicBezTo>
                      <a:lnTo>
                        <a:pt x="62619" y="107938"/>
                      </a:lnTo>
                      <a:cubicBezTo>
                        <a:pt x="61056" y="104292"/>
                        <a:pt x="59531" y="101055"/>
                        <a:pt x="58043" y="98227"/>
                      </a:cubicBezTo>
                      <a:cubicBezTo>
                        <a:pt x="56554" y="95399"/>
                        <a:pt x="54899" y="93037"/>
                        <a:pt x="53076" y="91139"/>
                      </a:cubicBezTo>
                      <a:cubicBezTo>
                        <a:pt x="51252" y="89241"/>
                        <a:pt x="49150" y="87809"/>
                        <a:pt x="46769" y="86842"/>
                      </a:cubicBezTo>
                      <a:cubicBezTo>
                        <a:pt x="44388" y="85874"/>
                        <a:pt x="41634" y="85391"/>
                        <a:pt x="38509" y="85391"/>
                      </a:cubicBezTo>
                      <a:lnTo>
                        <a:pt x="29356" y="85391"/>
                      </a:lnTo>
                      <a:lnTo>
                        <a:pt x="29356" y="140420"/>
                      </a:lnTo>
                      <a:cubicBezTo>
                        <a:pt x="29356" y="141164"/>
                        <a:pt x="29114" y="141834"/>
                        <a:pt x="28631" y="142429"/>
                      </a:cubicBezTo>
                      <a:cubicBezTo>
                        <a:pt x="28147" y="143024"/>
                        <a:pt x="27347" y="143508"/>
                        <a:pt x="26231" y="143880"/>
                      </a:cubicBezTo>
                      <a:cubicBezTo>
                        <a:pt x="25115" y="144252"/>
                        <a:pt x="23626" y="144550"/>
                        <a:pt x="21766" y="144773"/>
                      </a:cubicBezTo>
                      <a:cubicBezTo>
                        <a:pt x="19906" y="144996"/>
                        <a:pt x="17524" y="145108"/>
                        <a:pt x="14622" y="145108"/>
                      </a:cubicBezTo>
                      <a:cubicBezTo>
                        <a:pt x="11794" y="145108"/>
                        <a:pt x="9432" y="144996"/>
                        <a:pt x="7534" y="144773"/>
                      </a:cubicBezTo>
                      <a:cubicBezTo>
                        <a:pt x="5637" y="144550"/>
                        <a:pt x="4130" y="144252"/>
                        <a:pt x="3014" y="143880"/>
                      </a:cubicBezTo>
                      <a:cubicBezTo>
                        <a:pt x="1897" y="143508"/>
                        <a:pt x="1116" y="143024"/>
                        <a:pt x="669" y="142429"/>
                      </a:cubicBezTo>
                      <a:cubicBezTo>
                        <a:pt x="223" y="141834"/>
                        <a:pt x="0" y="141164"/>
                        <a:pt x="0" y="140420"/>
                      </a:cubicBezTo>
                      <a:lnTo>
                        <a:pt x="0" y="9265"/>
                      </a:lnTo>
                      <a:cubicBezTo>
                        <a:pt x="0" y="5991"/>
                        <a:pt x="837" y="3628"/>
                        <a:pt x="2511" y="2177"/>
                      </a:cubicBezTo>
                      <a:cubicBezTo>
                        <a:pt x="4186" y="726"/>
                        <a:pt x="6251" y="0"/>
                        <a:pt x="8706" y="0"/>
                      </a:cubicBezTo>
                      <a:close/>
                      <a:moveTo>
                        <a:pt x="29356" y="22436"/>
                      </a:moveTo>
                      <a:lnTo>
                        <a:pt x="29356" y="63401"/>
                      </a:lnTo>
                      <a:lnTo>
                        <a:pt x="44313" y="63401"/>
                      </a:lnTo>
                      <a:cubicBezTo>
                        <a:pt x="48481" y="63401"/>
                        <a:pt x="52127" y="62899"/>
                        <a:pt x="55252" y="61894"/>
                      </a:cubicBezTo>
                      <a:cubicBezTo>
                        <a:pt x="58378" y="60890"/>
                        <a:pt x="60982" y="59476"/>
                        <a:pt x="63066" y="57653"/>
                      </a:cubicBezTo>
                      <a:cubicBezTo>
                        <a:pt x="65149" y="55830"/>
                        <a:pt x="66712" y="53653"/>
                        <a:pt x="67754" y="51123"/>
                      </a:cubicBezTo>
                      <a:cubicBezTo>
                        <a:pt x="68796" y="48593"/>
                        <a:pt x="69316" y="45765"/>
                        <a:pt x="69316" y="42640"/>
                      </a:cubicBezTo>
                      <a:cubicBezTo>
                        <a:pt x="69316" y="37877"/>
                        <a:pt x="68237" y="33859"/>
                        <a:pt x="66079" y="30585"/>
                      </a:cubicBezTo>
                      <a:cubicBezTo>
                        <a:pt x="63921" y="27310"/>
                        <a:pt x="60387" y="25004"/>
                        <a:pt x="55475" y="23664"/>
                      </a:cubicBezTo>
                      <a:cubicBezTo>
                        <a:pt x="53987" y="23292"/>
                        <a:pt x="52294" y="22994"/>
                        <a:pt x="50397" y="22771"/>
                      </a:cubicBezTo>
                      <a:cubicBezTo>
                        <a:pt x="48499" y="22548"/>
                        <a:pt x="45876" y="22436"/>
                        <a:pt x="42527" y="22436"/>
                      </a:cubicBezTo>
                      <a:lnTo>
                        <a:pt x="29356" y="2243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  <p:sp>
              <p:nvSpPr>
                <p:cNvPr id="111" name="Полілінія: фігура 110">
                  <a:extLst>
                    <a:ext uri="{FF2B5EF4-FFF2-40B4-BE49-F238E27FC236}">
                      <a16:creationId xmlns:a16="http://schemas.microsoft.com/office/drawing/2014/main" id="{186780AF-0621-4BA4-7195-1CDF01561813}"/>
                    </a:ext>
                  </a:extLst>
                </p:cNvPr>
                <p:cNvSpPr/>
                <p:nvPr/>
              </p:nvSpPr>
              <p:spPr>
                <a:xfrm>
                  <a:off x="3669681" y="2707092"/>
                  <a:ext cx="85613" cy="1444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613" h="144438">
                      <a:moveTo>
                        <a:pt x="8706" y="0"/>
                      </a:moveTo>
                      <a:lnTo>
                        <a:pt x="80813" y="0"/>
                      </a:lnTo>
                      <a:cubicBezTo>
                        <a:pt x="81483" y="0"/>
                        <a:pt x="82078" y="186"/>
                        <a:pt x="82599" y="559"/>
                      </a:cubicBezTo>
                      <a:cubicBezTo>
                        <a:pt x="83120" y="931"/>
                        <a:pt x="83567" y="1582"/>
                        <a:pt x="83939" y="2512"/>
                      </a:cubicBezTo>
                      <a:cubicBezTo>
                        <a:pt x="84311" y="3442"/>
                        <a:pt x="84590" y="4633"/>
                        <a:pt x="84776" y="6084"/>
                      </a:cubicBezTo>
                      <a:cubicBezTo>
                        <a:pt x="84962" y="7535"/>
                        <a:pt x="85055" y="9377"/>
                        <a:pt x="85055" y="11609"/>
                      </a:cubicBezTo>
                      <a:cubicBezTo>
                        <a:pt x="85055" y="13693"/>
                        <a:pt x="84962" y="15460"/>
                        <a:pt x="84776" y="16911"/>
                      </a:cubicBezTo>
                      <a:cubicBezTo>
                        <a:pt x="84590" y="18362"/>
                        <a:pt x="84311" y="19534"/>
                        <a:pt x="83939" y="20427"/>
                      </a:cubicBezTo>
                      <a:cubicBezTo>
                        <a:pt x="83567" y="21320"/>
                        <a:pt x="83120" y="21971"/>
                        <a:pt x="82599" y="22380"/>
                      </a:cubicBezTo>
                      <a:cubicBezTo>
                        <a:pt x="82078" y="22790"/>
                        <a:pt x="81483" y="22994"/>
                        <a:pt x="80813" y="22994"/>
                      </a:cubicBezTo>
                      <a:lnTo>
                        <a:pt x="29244" y="22994"/>
                      </a:lnTo>
                      <a:lnTo>
                        <a:pt x="29244" y="58267"/>
                      </a:lnTo>
                      <a:lnTo>
                        <a:pt x="72888" y="58267"/>
                      </a:lnTo>
                      <a:cubicBezTo>
                        <a:pt x="73558" y="58267"/>
                        <a:pt x="74172" y="58471"/>
                        <a:pt x="74730" y="58881"/>
                      </a:cubicBezTo>
                      <a:cubicBezTo>
                        <a:pt x="75288" y="59290"/>
                        <a:pt x="75753" y="59922"/>
                        <a:pt x="76125" y="60778"/>
                      </a:cubicBezTo>
                      <a:cubicBezTo>
                        <a:pt x="76497" y="61634"/>
                        <a:pt x="76776" y="62787"/>
                        <a:pt x="76963" y="64238"/>
                      </a:cubicBezTo>
                      <a:cubicBezTo>
                        <a:pt x="77149" y="65689"/>
                        <a:pt x="77242" y="67457"/>
                        <a:pt x="77242" y="69540"/>
                      </a:cubicBezTo>
                      <a:cubicBezTo>
                        <a:pt x="77242" y="71698"/>
                        <a:pt x="77149" y="73484"/>
                        <a:pt x="76963" y="74898"/>
                      </a:cubicBezTo>
                      <a:cubicBezTo>
                        <a:pt x="76776" y="76312"/>
                        <a:pt x="76497" y="77447"/>
                        <a:pt x="76125" y="78303"/>
                      </a:cubicBezTo>
                      <a:cubicBezTo>
                        <a:pt x="75753" y="79158"/>
                        <a:pt x="75288" y="79772"/>
                        <a:pt x="74730" y="80144"/>
                      </a:cubicBezTo>
                      <a:cubicBezTo>
                        <a:pt x="74172" y="80516"/>
                        <a:pt x="73558" y="80702"/>
                        <a:pt x="72888" y="80702"/>
                      </a:cubicBezTo>
                      <a:lnTo>
                        <a:pt x="29244" y="80702"/>
                      </a:lnTo>
                      <a:lnTo>
                        <a:pt x="29244" y="121444"/>
                      </a:lnTo>
                      <a:lnTo>
                        <a:pt x="81260" y="121444"/>
                      </a:lnTo>
                      <a:cubicBezTo>
                        <a:pt x="81930" y="121444"/>
                        <a:pt x="82544" y="121649"/>
                        <a:pt x="83102" y="122058"/>
                      </a:cubicBezTo>
                      <a:cubicBezTo>
                        <a:pt x="83660" y="122467"/>
                        <a:pt x="84125" y="123118"/>
                        <a:pt x="84497" y="124011"/>
                      </a:cubicBezTo>
                      <a:cubicBezTo>
                        <a:pt x="84869" y="124904"/>
                        <a:pt x="85148" y="126076"/>
                        <a:pt x="85334" y="127528"/>
                      </a:cubicBezTo>
                      <a:cubicBezTo>
                        <a:pt x="85520" y="128979"/>
                        <a:pt x="85613" y="130783"/>
                        <a:pt x="85613" y="132941"/>
                      </a:cubicBezTo>
                      <a:cubicBezTo>
                        <a:pt x="85613" y="135099"/>
                        <a:pt x="85520" y="136904"/>
                        <a:pt x="85334" y="138355"/>
                      </a:cubicBezTo>
                      <a:cubicBezTo>
                        <a:pt x="85148" y="139806"/>
                        <a:pt x="84869" y="140978"/>
                        <a:pt x="84497" y="141871"/>
                      </a:cubicBezTo>
                      <a:cubicBezTo>
                        <a:pt x="84125" y="142764"/>
                        <a:pt x="83660" y="143415"/>
                        <a:pt x="83102" y="143824"/>
                      </a:cubicBezTo>
                      <a:cubicBezTo>
                        <a:pt x="82544" y="144233"/>
                        <a:pt x="81930" y="144438"/>
                        <a:pt x="81260" y="144438"/>
                      </a:cubicBezTo>
                      <a:lnTo>
                        <a:pt x="8706" y="144438"/>
                      </a:lnTo>
                      <a:cubicBezTo>
                        <a:pt x="6251" y="144438"/>
                        <a:pt x="4186" y="143713"/>
                        <a:pt x="2511" y="142262"/>
                      </a:cubicBezTo>
                      <a:cubicBezTo>
                        <a:pt x="837" y="140810"/>
                        <a:pt x="0" y="138448"/>
                        <a:pt x="0" y="135174"/>
                      </a:cubicBezTo>
                      <a:lnTo>
                        <a:pt x="0" y="9265"/>
                      </a:lnTo>
                      <a:cubicBezTo>
                        <a:pt x="0" y="5991"/>
                        <a:pt x="837" y="3628"/>
                        <a:pt x="2511" y="2177"/>
                      </a:cubicBezTo>
                      <a:cubicBezTo>
                        <a:pt x="4186" y="726"/>
                        <a:pt x="6251" y="0"/>
                        <a:pt x="870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>
                    <a:solidFill>
                      <a:srgbClr val="5E5B5C"/>
                    </a:solidFill>
                  </a:endParaRPr>
                </a:p>
              </p:txBody>
            </p:sp>
          </p:grpSp>
          <p:pic>
            <p:nvPicPr>
              <p:cNvPr id="92" name="Picture 6">
                <a:extLst>
                  <a:ext uri="{FF2B5EF4-FFF2-40B4-BE49-F238E27FC236}">
                    <a16:creationId xmlns:a16="http://schemas.microsoft.com/office/drawing/2014/main" id="{4E16E033-CF23-0B44-C257-385329501936}"/>
                  </a:ext>
                </a:extLst>
              </p:cNvPr>
              <p:cNvPicPr/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48933" y="2080725"/>
                <a:ext cx="1815592" cy="4773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192" name="Picture 1031">
            <a:extLst>
              <a:ext uri="{FF2B5EF4-FFF2-40B4-BE49-F238E27FC236}">
                <a16:creationId xmlns:a16="http://schemas.microsoft.com/office/drawing/2014/main" id="{549F52A4-DF2B-9912-7A2D-BFF364BA6AEA}"/>
              </a:ext>
            </a:extLst>
          </p:cNvPr>
          <p:cNvPicPr/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8000"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75" t="1445" r="4250" b="48847"/>
          <a:stretch/>
        </p:blipFill>
        <p:spPr>
          <a:xfrm>
            <a:off x="186604" y="2565200"/>
            <a:ext cx="5686234" cy="427798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8000"/>
              </a:prstClr>
            </a:outerShdw>
          </a:effectLst>
        </p:spPr>
      </p:pic>
      <p:grpSp>
        <p:nvGrpSpPr>
          <p:cNvPr id="193" name="Групувати 192">
            <a:extLst>
              <a:ext uri="{FF2B5EF4-FFF2-40B4-BE49-F238E27FC236}">
                <a16:creationId xmlns:a16="http://schemas.microsoft.com/office/drawing/2014/main" id="{FC44B0C1-6505-B26C-9CF4-7EDEA57BF127}"/>
              </a:ext>
            </a:extLst>
          </p:cNvPr>
          <p:cNvGrpSpPr/>
          <p:nvPr/>
        </p:nvGrpSpPr>
        <p:grpSpPr>
          <a:xfrm>
            <a:off x="1345590" y="4370715"/>
            <a:ext cx="5650147" cy="2486985"/>
            <a:chOff x="467646" y="4384305"/>
            <a:chExt cx="5650147" cy="2486985"/>
          </a:xfrm>
        </p:grpSpPr>
        <p:sp>
          <p:nvSpPr>
            <p:cNvPr id="194" name="Прямокутник: один зрізаний кут 193">
              <a:extLst>
                <a:ext uri="{FF2B5EF4-FFF2-40B4-BE49-F238E27FC236}">
                  <a16:creationId xmlns:a16="http://schemas.microsoft.com/office/drawing/2014/main" id="{CF99C7A5-612D-63DB-6446-648D3698BF17}"/>
                </a:ext>
              </a:extLst>
            </p:cNvPr>
            <p:cNvSpPr/>
            <p:nvPr/>
          </p:nvSpPr>
          <p:spPr>
            <a:xfrm>
              <a:off x="467646" y="4384305"/>
              <a:ext cx="5650147" cy="2486985"/>
            </a:xfrm>
            <a:prstGeom prst="snip1Rect">
              <a:avLst>
                <a:gd name="adj" fmla="val 30731"/>
              </a:avLst>
            </a:prstGeom>
            <a:solidFill>
              <a:srgbClr val="CAEBF8"/>
            </a:solidFill>
            <a:ln>
              <a:noFill/>
            </a:ln>
            <a:effectLst>
              <a:outerShdw blurRad="203200" dist="114300" dir="106200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195" name="Rectangle 1045">
              <a:extLst>
                <a:ext uri="{FF2B5EF4-FFF2-40B4-BE49-F238E27FC236}">
                  <a16:creationId xmlns:a16="http://schemas.microsoft.com/office/drawing/2014/main" id="{914827E2-48A1-5E5C-74CB-2D13BE72C474}"/>
                </a:ext>
              </a:extLst>
            </p:cNvPr>
            <p:cNvSpPr/>
            <p:nvPr/>
          </p:nvSpPr>
          <p:spPr>
            <a:xfrm>
              <a:off x="889257" y="4523885"/>
              <a:ext cx="4922390" cy="221599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>
                <a:buClr>
                  <a:schemeClr val="tx1">
                    <a:lumMod val="50000"/>
                    <a:lumOff val="50000"/>
                  </a:schemeClr>
                </a:buClr>
                <a:buSzPct val="120000"/>
              </a:pPr>
              <a:r>
                <a:rPr lang="en-US" b="1" dirty="0">
                  <a:latin typeface="Calibri-Bold"/>
                </a:rPr>
                <a:t>Ukrtransgaz inputs:</a:t>
              </a:r>
            </a:p>
            <a:p>
              <a:pPr>
                <a:buClr>
                  <a:schemeClr val="tx1">
                    <a:lumMod val="50000"/>
                    <a:lumOff val="50000"/>
                  </a:schemeClr>
                </a:buClr>
                <a:buSzPct val="120000"/>
              </a:pPr>
              <a:endParaRPr lang="en-US" sz="1800" b="1" dirty="0">
                <a:latin typeface="+mj-lt"/>
                <a:cs typeface="Calibri" panose="020F0502020204030204" pitchFamily="34" charset="0"/>
              </a:endParaRPr>
            </a:p>
            <a:p>
              <a:pPr marL="129616" indent="-129616">
                <a:buClr>
                  <a:schemeClr val="tx1">
                    <a:lumMod val="50000"/>
                    <a:lumOff val="50000"/>
                  </a:schemeClr>
                </a:buClr>
                <a:buSzPct val="120000"/>
                <a:buFont typeface="Calibri Light" panose="020F0302020204030204" pitchFamily="34" charset="0"/>
                <a:buChar char="›"/>
              </a:pPr>
              <a:r>
                <a:rPr lang="en-US" sz="1800" dirty="0">
                  <a:latin typeface="+mj-lt"/>
                  <a:cs typeface="Calibri" panose="020F0502020204030204" pitchFamily="34" charset="0"/>
                </a:rPr>
                <a:t>Storages technical characteristics</a:t>
              </a:r>
            </a:p>
            <a:p>
              <a:pPr marL="129616" indent="-129616">
                <a:buClr>
                  <a:schemeClr val="tx1">
                    <a:lumMod val="50000"/>
                    <a:lumOff val="50000"/>
                  </a:schemeClr>
                </a:buClr>
                <a:buSzPct val="120000"/>
                <a:buFont typeface="Calibri Light" panose="020F0302020204030204" pitchFamily="34" charset="0"/>
                <a:buChar char="›"/>
              </a:pPr>
              <a:r>
                <a:rPr lang="en-US" sz="1800" dirty="0">
                  <a:latin typeface="+mj-lt"/>
                  <a:cs typeface="Calibri" panose="020F0502020204030204" pitchFamily="34" charset="0"/>
                </a:rPr>
                <a:t>UGS</a:t>
              </a:r>
              <a:r>
                <a:rPr lang="uk-UA" sz="1800" dirty="0">
                  <a:latin typeface="+mj-lt"/>
                  <a:cs typeface="Calibri" panose="020F0502020204030204" pitchFamily="34" charset="0"/>
                </a:rPr>
                <a:t> </a:t>
              </a:r>
              <a:r>
                <a:rPr lang="en-US" sz="1800" dirty="0">
                  <a:latin typeface="+mj-lt"/>
                  <a:cs typeface="Calibri" panose="020F0502020204030204" pitchFamily="34" charset="0"/>
                </a:rPr>
                <a:t>volume allocation</a:t>
              </a:r>
            </a:p>
            <a:p>
              <a:pPr marL="129616" indent="-129616">
                <a:buClr>
                  <a:schemeClr val="tx1">
                    <a:lumMod val="50000"/>
                    <a:lumOff val="50000"/>
                  </a:schemeClr>
                </a:buClr>
                <a:buSzPct val="120000"/>
                <a:buFont typeface="Calibri Light" panose="020F0302020204030204" pitchFamily="34" charset="0"/>
                <a:buChar char="›"/>
              </a:pPr>
              <a:r>
                <a:rPr lang="en-US" sz="1800" dirty="0">
                  <a:latin typeface="+mj-lt"/>
                  <a:cs typeface="Calibri" panose="020F0502020204030204" pitchFamily="34" charset="0"/>
                </a:rPr>
                <a:t>Gas withdrawal capacity for each UGS </a:t>
              </a:r>
            </a:p>
            <a:p>
              <a:pPr marL="129616" indent="-129616">
                <a:buClr>
                  <a:schemeClr val="tx1">
                    <a:lumMod val="50000"/>
                    <a:lumOff val="50000"/>
                  </a:schemeClr>
                </a:buClr>
                <a:buSzPct val="120000"/>
                <a:buFont typeface="Calibri Light" panose="020F0302020204030204" pitchFamily="34" charset="0"/>
                <a:buChar char="›"/>
              </a:pPr>
              <a:r>
                <a:rPr lang="en-US" sz="1800" dirty="0">
                  <a:latin typeface="+mj-lt"/>
                </a:rPr>
                <a:t>Alternative modes of gas withdrawal </a:t>
              </a:r>
              <a:endParaRPr lang="en-US" dirty="0">
                <a:latin typeface="+mj-lt"/>
                <a:cs typeface="Calibri" panose="020F0502020204030204" pitchFamily="34" charset="0"/>
              </a:endParaRPr>
            </a:p>
            <a:p>
              <a:pPr marL="129616" indent="-129616">
                <a:buClr>
                  <a:schemeClr val="tx1">
                    <a:lumMod val="50000"/>
                    <a:lumOff val="50000"/>
                  </a:schemeClr>
                </a:buClr>
                <a:buSzPct val="120000"/>
                <a:buFont typeface="Calibri Light" panose="020F0302020204030204" pitchFamily="34" charset="0"/>
                <a:buChar char="›"/>
              </a:pPr>
              <a:r>
                <a:rPr lang="en-US" dirty="0">
                  <a:latin typeface="+mj-lt"/>
                  <a:cs typeface="Calibri" panose="020F0502020204030204" pitchFamily="34" charset="0"/>
                </a:rPr>
                <a:t>Participating in independent technical review  </a:t>
              </a:r>
              <a:r>
                <a:rPr lang="en-US" sz="1800" dirty="0">
                  <a:latin typeface="+mj-lt"/>
                  <a:cs typeface="Calibri" panose="020F0502020204030204" pitchFamily="34" charset="0"/>
                </a:rPr>
                <a:t>(Prague, March 18-20)</a:t>
              </a:r>
            </a:p>
          </p:txBody>
        </p:sp>
      </p:grpSp>
      <p:grpSp>
        <p:nvGrpSpPr>
          <p:cNvPr id="196" name="Групувати 195">
            <a:extLst>
              <a:ext uri="{FF2B5EF4-FFF2-40B4-BE49-F238E27FC236}">
                <a16:creationId xmlns:a16="http://schemas.microsoft.com/office/drawing/2014/main" id="{5FB0FAF7-6097-D546-4EF2-1FE76CCDF506}"/>
              </a:ext>
            </a:extLst>
          </p:cNvPr>
          <p:cNvGrpSpPr/>
          <p:nvPr/>
        </p:nvGrpSpPr>
        <p:grpSpPr>
          <a:xfrm>
            <a:off x="826689" y="733201"/>
            <a:ext cx="10627523" cy="1764094"/>
            <a:chOff x="826689" y="733201"/>
            <a:chExt cx="10627523" cy="1764094"/>
          </a:xfrm>
        </p:grpSpPr>
        <p:cxnSp>
          <p:nvCxnSpPr>
            <p:cNvPr id="197" name="Пряма сполучна лінія 196">
              <a:extLst>
                <a:ext uri="{FF2B5EF4-FFF2-40B4-BE49-F238E27FC236}">
                  <a16:creationId xmlns:a16="http://schemas.microsoft.com/office/drawing/2014/main" id="{AB3F0C31-76CE-D1BB-58FD-65FD7694F9C0}"/>
                </a:ext>
              </a:extLst>
            </p:cNvPr>
            <p:cNvCxnSpPr/>
            <p:nvPr/>
          </p:nvCxnSpPr>
          <p:spPr>
            <a:xfrm>
              <a:off x="6072984" y="733201"/>
              <a:ext cx="0" cy="1764094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Пряма сполучна лінія 197">
              <a:extLst>
                <a:ext uri="{FF2B5EF4-FFF2-40B4-BE49-F238E27FC236}">
                  <a16:creationId xmlns:a16="http://schemas.microsoft.com/office/drawing/2014/main" id="{D34052FA-9B6E-8A9E-758A-1EABAF95A840}"/>
                </a:ext>
              </a:extLst>
            </p:cNvPr>
            <p:cNvCxnSpPr/>
            <p:nvPr/>
          </p:nvCxnSpPr>
          <p:spPr>
            <a:xfrm flipH="1">
              <a:off x="826689" y="1096278"/>
              <a:ext cx="10538623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Пряма сполучна лінія 198">
              <a:extLst>
                <a:ext uri="{FF2B5EF4-FFF2-40B4-BE49-F238E27FC236}">
                  <a16:creationId xmlns:a16="http://schemas.microsoft.com/office/drawing/2014/main" id="{8AFE8AFC-DEF2-5021-A10F-C686B814ECF9}"/>
                </a:ext>
              </a:extLst>
            </p:cNvPr>
            <p:cNvCxnSpPr/>
            <p:nvPr/>
          </p:nvCxnSpPr>
          <p:spPr>
            <a:xfrm flipH="1">
              <a:off x="915589" y="2488673"/>
              <a:ext cx="10538623" cy="0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01" name="Таблиця 200">
            <a:extLst>
              <a:ext uri="{FF2B5EF4-FFF2-40B4-BE49-F238E27FC236}">
                <a16:creationId xmlns:a16="http://schemas.microsoft.com/office/drawing/2014/main" id="{0206C069-BB06-DA66-8C35-8C0B080F1E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3232372"/>
              </p:ext>
            </p:extLst>
          </p:nvPr>
        </p:nvGraphicFramePr>
        <p:xfrm>
          <a:off x="1417785" y="702923"/>
          <a:ext cx="10422492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9635">
                  <a:extLst>
                    <a:ext uri="{9D8B030D-6E8A-4147-A177-3AD203B41FA5}">
                      <a16:colId xmlns:a16="http://schemas.microsoft.com/office/drawing/2014/main" val="471156864"/>
                    </a:ext>
                  </a:extLst>
                </a:gridCol>
                <a:gridCol w="5442857">
                  <a:extLst>
                    <a:ext uri="{9D8B030D-6E8A-4147-A177-3AD203B41FA5}">
                      <a16:colId xmlns:a16="http://schemas.microsoft.com/office/drawing/2014/main" val="3217392733"/>
                    </a:ext>
                  </a:extLst>
                </a:gridCol>
              </a:tblGrid>
              <a:tr h="151889">
                <a:tc>
                  <a:txBody>
                    <a:bodyPr/>
                    <a:lstStyle/>
                    <a:p>
                      <a:pPr marL="0" algn="l"/>
                      <a:r>
                        <a:rPr lang="en-US" b="1" i="0" spc="0" baseline="0" dirty="0">
                          <a:solidFill>
                            <a:srgbClr val="2A2A2A"/>
                          </a:solidFill>
                          <a:latin typeface="Calibri-Bold"/>
                        </a:rPr>
                        <a:t>         Stress-test scenarios 2023/2024</a:t>
                      </a:r>
                      <a:r>
                        <a:rPr lang="en-US" b="1" dirty="0">
                          <a:solidFill>
                            <a:srgbClr val="2A2A2A"/>
                          </a:solidFill>
                          <a:latin typeface="Calibri-Bold"/>
                        </a:rPr>
                        <a:t>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/>
                      <a:r>
                        <a:rPr lang="en-US" b="1" i="0" spc="0" baseline="0" dirty="0">
                          <a:solidFill>
                            <a:srgbClr val="2A2A2A"/>
                          </a:solidFill>
                          <a:latin typeface="Calibri-Bold"/>
                        </a:rPr>
                        <a:t>           Stress-test scenarios 2024/2025</a:t>
                      </a:r>
                      <a:r>
                        <a:rPr lang="en-US" b="1" dirty="0">
                          <a:solidFill>
                            <a:srgbClr val="2A2A2A"/>
                          </a:solidFill>
                          <a:latin typeface="Calibri-Bold"/>
                        </a:rPr>
                        <a:t>:</a:t>
                      </a:r>
                      <a:endParaRPr lang="en-US" b="1" i="0" spc="0" baseline="0" dirty="0">
                        <a:solidFill>
                          <a:srgbClr val="2A2A2A"/>
                        </a:solidFill>
                        <a:latin typeface="Calibri-Bold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295770"/>
                  </a:ext>
                </a:extLst>
              </a:tr>
              <a:tr h="1170332">
                <a:tc>
                  <a:txBody>
                    <a:bodyPr/>
                    <a:lstStyle/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Up to 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.5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bcm </a:t>
                      </a:r>
                    </a:p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old/Mild winter </a:t>
                      </a:r>
                    </a:p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cenarios including 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transit</a:t>
                      </a:r>
                    </a:p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ritical infrastructure damage scenarios</a:t>
                      </a:r>
                      <a:endParaRPr lang="uk-UA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Up to 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bcm</a:t>
                      </a:r>
                    </a:p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old/Severe winter</a:t>
                      </a:r>
                    </a:p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8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cenarios including 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0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transit</a:t>
                      </a:r>
                    </a:p>
                    <a:p>
                      <a:pPr marL="129616" indent="-129616">
                        <a:buClr>
                          <a:schemeClr val="tx1">
                            <a:lumMod val="50000"/>
                            <a:lumOff val="50000"/>
                          </a:schemeClr>
                        </a:buClr>
                        <a:buSzPct val="120000"/>
                        <a:buFont typeface="Calibri Light" panose="020F0302020204030204" pitchFamily="34" charset="0"/>
                        <a:buChar char="›"/>
                      </a:pP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Even tougher critical infrastructure damage scenarios</a:t>
                      </a:r>
                      <a:endParaRPr lang="uk-UA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9334754"/>
                  </a:ext>
                </a:extLst>
              </a:tr>
            </a:tbl>
          </a:graphicData>
        </a:graphic>
      </p:graphicFrame>
      <p:grpSp>
        <p:nvGrpSpPr>
          <p:cNvPr id="3" name="Групувати 2">
            <a:extLst>
              <a:ext uri="{FF2B5EF4-FFF2-40B4-BE49-F238E27FC236}">
                <a16:creationId xmlns:a16="http://schemas.microsoft.com/office/drawing/2014/main" id="{41678EC8-EDFA-C583-CE09-038048BBB996}"/>
              </a:ext>
            </a:extLst>
          </p:cNvPr>
          <p:cNvGrpSpPr/>
          <p:nvPr/>
        </p:nvGrpSpPr>
        <p:grpSpPr>
          <a:xfrm>
            <a:off x="10613803" y="104129"/>
            <a:ext cx="1405132" cy="300056"/>
            <a:chOff x="8944864" y="1776832"/>
            <a:chExt cx="1022457" cy="221924"/>
          </a:xfrm>
        </p:grpSpPr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DD43932B-250E-4F7D-0034-D57600882E3E}"/>
                </a:ext>
              </a:extLst>
            </p:cNvPr>
            <p:cNvSpPr txBox="1"/>
            <p:nvPr/>
          </p:nvSpPr>
          <p:spPr>
            <a:xfrm>
              <a:off x="9569202" y="1795187"/>
              <a:ext cx="97196" cy="96262"/>
            </a:xfrm>
            <a:custGeom>
              <a:avLst/>
              <a:gdLst/>
              <a:ahLst/>
              <a:cxnLst/>
              <a:rect l="l" t="t" r="r" b="b"/>
              <a:pathLst>
                <a:path w="97196" h="96262">
                  <a:moveTo>
                    <a:pt x="48531" y="0"/>
                  </a:moveTo>
                  <a:cubicBezTo>
                    <a:pt x="57866" y="55"/>
                    <a:pt x="66182" y="2061"/>
                    <a:pt x="73479" y="6016"/>
                  </a:cubicBezTo>
                  <a:cubicBezTo>
                    <a:pt x="80775" y="9972"/>
                    <a:pt x="86530" y="15542"/>
                    <a:pt x="90744" y="22729"/>
                  </a:cubicBezTo>
                  <a:cubicBezTo>
                    <a:pt x="94958" y="29915"/>
                    <a:pt x="97109" y="38382"/>
                    <a:pt x="97196" y="48130"/>
                  </a:cubicBezTo>
                  <a:cubicBezTo>
                    <a:pt x="97109" y="57543"/>
                    <a:pt x="94958" y="65852"/>
                    <a:pt x="90744" y="73058"/>
                  </a:cubicBezTo>
                  <a:cubicBezTo>
                    <a:pt x="86530" y="80264"/>
                    <a:pt x="80775" y="85914"/>
                    <a:pt x="73479" y="90008"/>
                  </a:cubicBezTo>
                  <a:cubicBezTo>
                    <a:pt x="66182" y="94102"/>
                    <a:pt x="57866" y="96186"/>
                    <a:pt x="48531" y="96262"/>
                  </a:cubicBezTo>
                  <a:cubicBezTo>
                    <a:pt x="39198" y="96206"/>
                    <a:pt x="30894" y="94200"/>
                    <a:pt x="23618" y="90245"/>
                  </a:cubicBezTo>
                  <a:cubicBezTo>
                    <a:pt x="16343" y="86290"/>
                    <a:pt x="10610" y="80719"/>
                    <a:pt x="6417" y="73532"/>
                  </a:cubicBezTo>
                  <a:cubicBezTo>
                    <a:pt x="2225" y="66346"/>
                    <a:pt x="86" y="57879"/>
                    <a:pt x="0" y="48130"/>
                  </a:cubicBezTo>
                  <a:cubicBezTo>
                    <a:pt x="68" y="39012"/>
                    <a:pt x="2138" y="30841"/>
                    <a:pt x="6210" y="23618"/>
                  </a:cubicBezTo>
                  <a:cubicBezTo>
                    <a:pt x="10281" y="16395"/>
                    <a:pt x="15946" y="10676"/>
                    <a:pt x="23203" y="6461"/>
                  </a:cubicBezTo>
                  <a:cubicBezTo>
                    <a:pt x="30461" y="2246"/>
                    <a:pt x="38904" y="92"/>
                    <a:pt x="48531" y="0"/>
                  </a:cubicBezTo>
                  <a:close/>
                  <a:moveTo>
                    <a:pt x="48531" y="15318"/>
                  </a:moveTo>
                  <a:cubicBezTo>
                    <a:pt x="39411" y="15477"/>
                    <a:pt x="31975" y="18528"/>
                    <a:pt x="26223" y="24472"/>
                  </a:cubicBezTo>
                  <a:cubicBezTo>
                    <a:pt x="20470" y="30415"/>
                    <a:pt x="17503" y="38302"/>
                    <a:pt x="17319" y="48130"/>
                  </a:cubicBezTo>
                  <a:cubicBezTo>
                    <a:pt x="17528" y="57667"/>
                    <a:pt x="20545" y="65470"/>
                    <a:pt x="26373" y="71539"/>
                  </a:cubicBezTo>
                  <a:cubicBezTo>
                    <a:pt x="32200" y="77608"/>
                    <a:pt x="39586" y="80743"/>
                    <a:pt x="48531" y="80943"/>
                  </a:cubicBezTo>
                  <a:cubicBezTo>
                    <a:pt x="58415" y="80726"/>
                    <a:pt x="66091" y="77558"/>
                    <a:pt x="71557" y="71439"/>
                  </a:cubicBezTo>
                  <a:cubicBezTo>
                    <a:pt x="77023" y="65320"/>
                    <a:pt x="79796" y="57551"/>
                    <a:pt x="79877" y="48130"/>
                  </a:cubicBezTo>
                  <a:cubicBezTo>
                    <a:pt x="79671" y="38302"/>
                    <a:pt x="76648" y="30415"/>
                    <a:pt x="70807" y="24472"/>
                  </a:cubicBezTo>
                  <a:cubicBezTo>
                    <a:pt x="64965" y="18528"/>
                    <a:pt x="57540" y="15477"/>
                    <a:pt x="48531" y="15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D95D480B-780B-86D7-2131-1B21173C4B2E}"/>
                </a:ext>
              </a:extLst>
            </p:cNvPr>
            <p:cNvSpPr txBox="1"/>
            <p:nvPr/>
          </p:nvSpPr>
          <p:spPr>
            <a:xfrm>
              <a:off x="9683502" y="1795187"/>
              <a:ext cx="83594" cy="96262"/>
            </a:xfrm>
            <a:custGeom>
              <a:avLst/>
              <a:gdLst/>
              <a:ahLst/>
              <a:cxnLst/>
              <a:rect l="l" t="t" r="r" b="b"/>
              <a:pathLst>
                <a:path w="83594" h="96262">
                  <a:moveTo>
                    <a:pt x="46532" y="0"/>
                  </a:moveTo>
                  <a:cubicBezTo>
                    <a:pt x="53144" y="19"/>
                    <a:pt x="58862" y="846"/>
                    <a:pt x="63688" y="2481"/>
                  </a:cubicBezTo>
                  <a:cubicBezTo>
                    <a:pt x="68514" y="4115"/>
                    <a:pt x="72796" y="6441"/>
                    <a:pt x="76534" y="9457"/>
                  </a:cubicBezTo>
                  <a:lnTo>
                    <a:pt x="69608" y="22523"/>
                  </a:lnTo>
                  <a:cubicBezTo>
                    <a:pt x="67196" y="20297"/>
                    <a:pt x="64117" y="18546"/>
                    <a:pt x="60371" y="17270"/>
                  </a:cubicBezTo>
                  <a:cubicBezTo>
                    <a:pt x="56625" y="15994"/>
                    <a:pt x="52679" y="15343"/>
                    <a:pt x="48533" y="15318"/>
                  </a:cubicBezTo>
                  <a:cubicBezTo>
                    <a:pt x="39354" y="15385"/>
                    <a:pt x="31901" y="18253"/>
                    <a:pt x="26173" y="23923"/>
                  </a:cubicBezTo>
                  <a:cubicBezTo>
                    <a:pt x="20446" y="29593"/>
                    <a:pt x="17494" y="37664"/>
                    <a:pt x="17319" y="48135"/>
                  </a:cubicBezTo>
                  <a:cubicBezTo>
                    <a:pt x="17453" y="58192"/>
                    <a:pt x="20354" y="66143"/>
                    <a:pt x="26023" y="71988"/>
                  </a:cubicBezTo>
                  <a:cubicBezTo>
                    <a:pt x="31692" y="77832"/>
                    <a:pt x="39329" y="80817"/>
                    <a:pt x="48933" y="80943"/>
                  </a:cubicBezTo>
                  <a:cubicBezTo>
                    <a:pt x="52674" y="80885"/>
                    <a:pt x="56364" y="80234"/>
                    <a:pt x="60005" y="78991"/>
                  </a:cubicBezTo>
                  <a:cubicBezTo>
                    <a:pt x="63645" y="77748"/>
                    <a:pt x="66402" y="76264"/>
                    <a:pt x="68276" y="74537"/>
                  </a:cubicBezTo>
                  <a:lnTo>
                    <a:pt x="68276" y="59857"/>
                  </a:lnTo>
                  <a:lnTo>
                    <a:pt x="45732" y="59857"/>
                  </a:lnTo>
                  <a:lnTo>
                    <a:pt x="45732" y="44539"/>
                  </a:lnTo>
                  <a:lnTo>
                    <a:pt x="83594" y="44539"/>
                  </a:lnTo>
                  <a:lnTo>
                    <a:pt x="83594" y="83208"/>
                  </a:lnTo>
                  <a:cubicBezTo>
                    <a:pt x="79251" y="87365"/>
                    <a:pt x="73848" y="90573"/>
                    <a:pt x="67385" y="92832"/>
                  </a:cubicBezTo>
                  <a:cubicBezTo>
                    <a:pt x="60922" y="95091"/>
                    <a:pt x="54683" y="96234"/>
                    <a:pt x="48666" y="96262"/>
                  </a:cubicBezTo>
                  <a:cubicBezTo>
                    <a:pt x="33274" y="96073"/>
                    <a:pt x="21345" y="91686"/>
                    <a:pt x="12878" y="83100"/>
                  </a:cubicBezTo>
                  <a:cubicBezTo>
                    <a:pt x="4412" y="74514"/>
                    <a:pt x="119" y="62859"/>
                    <a:pt x="0" y="48135"/>
                  </a:cubicBezTo>
                  <a:cubicBezTo>
                    <a:pt x="46" y="39100"/>
                    <a:pt x="1953" y="30968"/>
                    <a:pt x="5721" y="23739"/>
                  </a:cubicBezTo>
                  <a:cubicBezTo>
                    <a:pt x="9488" y="16510"/>
                    <a:pt x="14842" y="10771"/>
                    <a:pt x="21781" y="6521"/>
                  </a:cubicBezTo>
                  <a:cubicBezTo>
                    <a:pt x="28721" y="2271"/>
                    <a:pt x="36971" y="97"/>
                    <a:pt x="46532" y="0"/>
                  </a:cubicBez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EFFF364E-8703-8612-92F7-AED322B05AD5}"/>
                </a:ext>
              </a:extLst>
            </p:cNvPr>
            <p:cNvSpPr txBox="1"/>
            <p:nvPr/>
          </p:nvSpPr>
          <p:spPr>
            <a:xfrm>
              <a:off x="92879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58044804-04FA-F4BD-532B-33D00C93D94B}"/>
                </a:ext>
              </a:extLst>
            </p:cNvPr>
            <p:cNvSpPr txBox="1"/>
            <p:nvPr/>
          </p:nvSpPr>
          <p:spPr>
            <a:xfrm>
              <a:off x="97832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2D8EF9D4-FDC3-7D27-D6FD-BF371683A830}"/>
                </a:ext>
              </a:extLst>
            </p:cNvPr>
            <p:cNvSpPr txBox="1"/>
            <p:nvPr/>
          </p:nvSpPr>
          <p:spPr>
            <a:xfrm>
              <a:off x="9185612" y="1796788"/>
              <a:ext cx="79726" cy="93195"/>
            </a:xfrm>
            <a:custGeom>
              <a:avLst/>
              <a:gdLst/>
              <a:ahLst/>
              <a:cxnLst/>
              <a:rect l="l" t="t" r="r" b="b"/>
              <a:pathLst>
                <a:path w="79726" h="93195">
                  <a:moveTo>
                    <a:pt x="0" y="0"/>
                  </a:moveTo>
                  <a:lnTo>
                    <a:pt x="13054" y="0"/>
                  </a:lnTo>
                  <a:lnTo>
                    <a:pt x="64408" y="64837"/>
                  </a:lnTo>
                  <a:lnTo>
                    <a:pt x="64408" y="0"/>
                  </a:lnTo>
                  <a:lnTo>
                    <a:pt x="79726" y="0"/>
                  </a:lnTo>
                  <a:lnTo>
                    <a:pt x="79726" y="93195"/>
                  </a:lnTo>
                  <a:lnTo>
                    <a:pt x="66672" y="93195"/>
                  </a:lnTo>
                  <a:lnTo>
                    <a:pt x="15318" y="28624"/>
                  </a:lnTo>
                  <a:lnTo>
                    <a:pt x="15318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2034F2F9-CF1B-2629-B0B2-855F8A87A481}"/>
                </a:ext>
              </a:extLst>
            </p:cNvPr>
            <p:cNvSpPr txBox="1"/>
            <p:nvPr/>
          </p:nvSpPr>
          <p:spPr>
            <a:xfrm>
              <a:off x="9404688" y="1796788"/>
              <a:ext cx="53323" cy="93195"/>
            </a:xfrm>
            <a:custGeom>
              <a:avLst/>
              <a:gdLst/>
              <a:ahLst/>
              <a:cxnLst/>
              <a:rect l="l" t="t" r="r" b="b"/>
              <a:pathLst>
                <a:path w="53323" h="93195">
                  <a:moveTo>
                    <a:pt x="0" y="0"/>
                  </a:moveTo>
                  <a:lnTo>
                    <a:pt x="53323" y="0"/>
                  </a:lnTo>
                  <a:lnTo>
                    <a:pt x="53323" y="15318"/>
                  </a:lnTo>
                  <a:lnTo>
                    <a:pt x="16385" y="15318"/>
                  </a:lnTo>
                  <a:lnTo>
                    <a:pt x="16385" y="41605"/>
                  </a:lnTo>
                  <a:lnTo>
                    <a:pt x="49322" y="41605"/>
                  </a:lnTo>
                  <a:lnTo>
                    <a:pt x="49322" y="56924"/>
                  </a:lnTo>
                  <a:lnTo>
                    <a:pt x="16385" y="56924"/>
                  </a:lnTo>
                  <a:lnTo>
                    <a:pt x="16385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391B67D9-A7FF-4E31-6835-E7D0ADA885DC}"/>
                </a:ext>
              </a:extLst>
            </p:cNvPr>
            <p:cNvSpPr txBox="1"/>
            <p:nvPr/>
          </p:nvSpPr>
          <p:spPr>
            <a:xfrm>
              <a:off x="9478810" y="1796788"/>
              <a:ext cx="76926" cy="93195"/>
            </a:xfrm>
            <a:custGeom>
              <a:avLst/>
              <a:gdLst/>
              <a:ahLst/>
              <a:cxnLst/>
              <a:rect l="l" t="t" r="r" b="b"/>
              <a:pathLst>
                <a:path w="76926" h="93195">
                  <a:moveTo>
                    <a:pt x="0" y="0"/>
                  </a:moveTo>
                  <a:lnTo>
                    <a:pt x="76926" y="0"/>
                  </a:lnTo>
                  <a:lnTo>
                    <a:pt x="76926" y="15318"/>
                  </a:lnTo>
                  <a:lnTo>
                    <a:pt x="46656" y="15318"/>
                  </a:lnTo>
                  <a:lnTo>
                    <a:pt x="46656" y="93195"/>
                  </a:lnTo>
                  <a:lnTo>
                    <a:pt x="30270" y="93195"/>
                  </a:lnTo>
                  <a:lnTo>
                    <a:pt x="30270" y="15318"/>
                  </a:lnTo>
                  <a:lnTo>
                    <a:pt x="0" y="15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1F0E7A88-0D05-A595-EC6A-CB6B8388A053}"/>
                </a:ext>
              </a:extLst>
            </p:cNvPr>
            <p:cNvSpPr txBox="1"/>
            <p:nvPr/>
          </p:nvSpPr>
          <p:spPr>
            <a:xfrm>
              <a:off x="9892378" y="1796788"/>
              <a:ext cx="74943" cy="93195"/>
            </a:xfrm>
            <a:custGeom>
              <a:avLst/>
              <a:gdLst/>
              <a:ahLst/>
              <a:cxnLst/>
              <a:rect l="l" t="t" r="r" b="b"/>
              <a:pathLst>
                <a:path w="74943" h="93195">
                  <a:moveTo>
                    <a:pt x="2667" y="0"/>
                  </a:moveTo>
                  <a:lnTo>
                    <a:pt x="73609" y="0"/>
                  </a:lnTo>
                  <a:lnTo>
                    <a:pt x="73609" y="11322"/>
                  </a:lnTo>
                  <a:lnTo>
                    <a:pt x="21870" y="77876"/>
                  </a:lnTo>
                  <a:lnTo>
                    <a:pt x="74943" y="77876"/>
                  </a:lnTo>
                  <a:lnTo>
                    <a:pt x="74943" y="93195"/>
                  </a:lnTo>
                  <a:lnTo>
                    <a:pt x="0" y="93195"/>
                  </a:lnTo>
                  <a:lnTo>
                    <a:pt x="0" y="82006"/>
                  </a:lnTo>
                  <a:lnTo>
                    <a:pt x="51607" y="15318"/>
                  </a:lnTo>
                  <a:lnTo>
                    <a:pt x="2667" y="15318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210" name="Freeform 218">
              <a:extLst>
                <a:ext uri="{FF2B5EF4-FFF2-40B4-BE49-F238E27FC236}">
                  <a16:creationId xmlns:a16="http://schemas.microsoft.com/office/drawing/2014/main" id="{94C564C9-D6BE-2139-4964-D972CB40A952}"/>
                </a:ext>
              </a:extLst>
            </p:cNvPr>
            <p:cNvSpPr/>
            <p:nvPr/>
          </p:nvSpPr>
          <p:spPr>
            <a:xfrm>
              <a:off x="9064800" y="1991655"/>
              <a:ext cx="4609" cy="1336"/>
            </a:xfrm>
            <a:custGeom>
              <a:avLst/>
              <a:gdLst/>
              <a:ahLst/>
              <a:cxnLst/>
              <a:rect l="0" t="0" r="0" b="0"/>
              <a:pathLst>
                <a:path w="13665" h="3962">
                  <a:moveTo>
                    <a:pt x="0" y="3962"/>
                  </a:moveTo>
                  <a:cubicBezTo>
                    <a:pt x="4610" y="2731"/>
                    <a:pt x="9169" y="1626"/>
                    <a:pt x="13665" y="0"/>
                  </a:cubicBezTo>
                  <a:cubicBezTo>
                    <a:pt x="8978" y="1384"/>
                    <a:pt x="4508" y="2731"/>
                    <a:pt x="0" y="3962"/>
                  </a:cubicBezTo>
                </a:path>
              </a:pathLst>
            </a:custGeom>
            <a:solidFill>
              <a:srgbClr val="000000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pic>
          <p:nvPicPr>
            <p:cNvPr id="211" name="Picture 219">
              <a:extLst>
                <a:ext uri="{FF2B5EF4-FFF2-40B4-BE49-F238E27FC236}">
                  <a16:creationId xmlns:a16="http://schemas.microsoft.com/office/drawing/2014/main" id="{243A30F0-CD69-B64D-62F8-A2953476732F}"/>
                </a:ext>
              </a:extLst>
            </p:cNvPr>
            <p:cNvPicPr/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058175" y="1988501"/>
              <a:ext cx="15518" cy="10255"/>
            </a:xfrm>
            <a:prstGeom prst="rect">
              <a:avLst/>
            </a:prstGeom>
            <a:noFill/>
          </p:spPr>
        </p:pic>
        <p:grpSp>
          <p:nvGrpSpPr>
            <p:cNvPr id="212" name="Групувати 211">
              <a:extLst>
                <a:ext uri="{FF2B5EF4-FFF2-40B4-BE49-F238E27FC236}">
                  <a16:creationId xmlns:a16="http://schemas.microsoft.com/office/drawing/2014/main" id="{4C79A5C4-B1B8-C123-5521-60CDC735A0EF}"/>
                </a:ext>
              </a:extLst>
            </p:cNvPr>
            <p:cNvGrpSpPr/>
            <p:nvPr/>
          </p:nvGrpSpPr>
          <p:grpSpPr>
            <a:xfrm>
              <a:off x="8944864" y="1776832"/>
              <a:ext cx="207633" cy="206717"/>
              <a:chOff x="5192198" y="3302281"/>
              <a:chExt cx="207633" cy="206717"/>
            </a:xfrm>
          </p:grpSpPr>
          <p:sp>
            <p:nvSpPr>
              <p:cNvPr id="226" name="Freeform 220">
                <a:extLst>
                  <a:ext uri="{FF2B5EF4-FFF2-40B4-BE49-F238E27FC236}">
                    <a16:creationId xmlns:a16="http://schemas.microsoft.com/office/drawing/2014/main" id="{EB0366ED-6443-A9C0-12AD-01CD0C68038F}"/>
                  </a:ext>
                </a:extLst>
              </p:cNvPr>
              <p:cNvSpPr/>
              <p:nvPr/>
            </p:nvSpPr>
            <p:spPr>
              <a:xfrm>
                <a:off x="5309209" y="3316368"/>
                <a:ext cx="90622" cy="178639"/>
              </a:xfrm>
              <a:custGeom>
                <a:avLst/>
                <a:gdLst/>
                <a:ahLst/>
                <a:cxnLst/>
                <a:rect l="0" t="0" r="0" b="0"/>
                <a:pathLst>
                  <a:path w="268693" h="529665">
                    <a:moveTo>
                      <a:pt x="249186" y="162356"/>
                    </a:moveTo>
                    <a:cubicBezTo>
                      <a:pt x="249490" y="162482"/>
                      <a:pt x="249770" y="162521"/>
                      <a:pt x="250049" y="162724"/>
                    </a:cubicBezTo>
                    <a:cubicBezTo>
                      <a:pt x="233972" y="106400"/>
                      <a:pt x="199834" y="59042"/>
                      <a:pt x="150126" y="24841"/>
                    </a:cubicBezTo>
                    <a:cubicBezTo>
                      <a:pt x="127165" y="9055"/>
                      <a:pt x="100622" y="0"/>
                      <a:pt x="77356" y="0"/>
                    </a:cubicBezTo>
                    <a:cubicBezTo>
                      <a:pt x="63970" y="0"/>
                      <a:pt x="51701" y="2844"/>
                      <a:pt x="41008" y="8661"/>
                    </a:cubicBezTo>
                    <a:cubicBezTo>
                      <a:pt x="13894" y="24498"/>
                      <a:pt x="0" y="46990"/>
                      <a:pt x="0" y="75565"/>
                    </a:cubicBezTo>
                    <a:cubicBezTo>
                      <a:pt x="0" y="122174"/>
                      <a:pt x="27051" y="149669"/>
                      <a:pt x="67932" y="191324"/>
                    </a:cubicBezTo>
                    <a:cubicBezTo>
                      <a:pt x="89205" y="213003"/>
                      <a:pt x="113068" y="237336"/>
                      <a:pt x="136474" y="268591"/>
                    </a:cubicBezTo>
                    <a:cubicBezTo>
                      <a:pt x="174879" y="319785"/>
                      <a:pt x="184366" y="391375"/>
                      <a:pt x="161239" y="455687"/>
                    </a:cubicBezTo>
                    <a:cubicBezTo>
                      <a:pt x="151143" y="483754"/>
                      <a:pt x="135737" y="508431"/>
                      <a:pt x="115798" y="528992"/>
                    </a:cubicBezTo>
                    <a:cubicBezTo>
                      <a:pt x="115519" y="529068"/>
                      <a:pt x="115468" y="529462"/>
                      <a:pt x="115214" y="529665"/>
                    </a:cubicBezTo>
                    <a:cubicBezTo>
                      <a:pt x="163931" y="502233"/>
                      <a:pt x="200685" y="463269"/>
                      <a:pt x="223342" y="414768"/>
                    </a:cubicBezTo>
                    <a:cubicBezTo>
                      <a:pt x="268693" y="317359"/>
                      <a:pt x="235026" y="249795"/>
                      <a:pt x="214922" y="209384"/>
                    </a:cubicBezTo>
                    <a:cubicBezTo>
                      <a:pt x="204610" y="188670"/>
                      <a:pt x="197193" y="173531"/>
                      <a:pt x="204711" y="162191"/>
                    </a:cubicBezTo>
                    <a:cubicBezTo>
                      <a:pt x="213411" y="149098"/>
                      <a:pt x="229451" y="148463"/>
                      <a:pt x="249186" y="162356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sp>
            <p:nvSpPr>
              <p:cNvPr id="227" name="Freeform 221">
                <a:extLst>
                  <a:ext uri="{FF2B5EF4-FFF2-40B4-BE49-F238E27FC236}">
                    <a16:creationId xmlns:a16="http://schemas.microsoft.com/office/drawing/2014/main" id="{FF65BEB2-A818-7A75-A5BE-842274B811A0}"/>
                  </a:ext>
                </a:extLst>
              </p:cNvPr>
              <p:cNvSpPr/>
              <p:nvPr/>
            </p:nvSpPr>
            <p:spPr>
              <a:xfrm>
                <a:off x="5192198" y="3326401"/>
                <a:ext cx="131219" cy="179925"/>
              </a:xfrm>
              <a:custGeom>
                <a:avLst/>
                <a:gdLst/>
                <a:ahLst/>
                <a:cxnLst/>
                <a:rect l="0" t="0" r="0" b="0"/>
                <a:pathLst>
                  <a:path w="389064" h="533476">
                    <a:moveTo>
                      <a:pt x="374561" y="363639"/>
                    </a:moveTo>
                    <a:cubicBezTo>
                      <a:pt x="345733" y="318936"/>
                      <a:pt x="304800" y="303162"/>
                      <a:pt x="261519" y="286563"/>
                    </a:cubicBezTo>
                    <a:cubicBezTo>
                      <a:pt x="219050" y="270142"/>
                      <a:pt x="175095" y="253251"/>
                      <a:pt x="137757" y="209398"/>
                    </a:cubicBezTo>
                    <a:cubicBezTo>
                      <a:pt x="101156" y="166739"/>
                      <a:pt x="85764" y="111430"/>
                      <a:pt x="94044" y="53988"/>
                    </a:cubicBezTo>
                    <a:cubicBezTo>
                      <a:pt x="96635" y="36322"/>
                      <a:pt x="101651" y="19495"/>
                      <a:pt x="108243" y="3988"/>
                    </a:cubicBezTo>
                    <a:cubicBezTo>
                      <a:pt x="108509" y="3214"/>
                      <a:pt x="108801" y="2451"/>
                      <a:pt x="108827" y="2439"/>
                    </a:cubicBezTo>
                    <a:cubicBezTo>
                      <a:pt x="109182" y="1486"/>
                      <a:pt x="109386" y="788"/>
                      <a:pt x="109703" y="0"/>
                    </a:cubicBezTo>
                    <a:cubicBezTo>
                      <a:pt x="104902" y="3988"/>
                      <a:pt x="100559" y="8408"/>
                      <a:pt x="96063" y="12675"/>
                    </a:cubicBezTo>
                    <a:cubicBezTo>
                      <a:pt x="96139" y="12599"/>
                      <a:pt x="96241" y="12535"/>
                      <a:pt x="96330" y="12459"/>
                    </a:cubicBezTo>
                    <a:cubicBezTo>
                      <a:pt x="96241" y="12535"/>
                      <a:pt x="96139" y="12612"/>
                      <a:pt x="96063" y="12688"/>
                    </a:cubicBezTo>
                    <a:cubicBezTo>
                      <a:pt x="35345" y="69977"/>
                      <a:pt x="0" y="149556"/>
                      <a:pt x="0" y="234925"/>
                    </a:cubicBezTo>
                    <a:cubicBezTo>
                      <a:pt x="0" y="369468"/>
                      <a:pt x="90031" y="490258"/>
                      <a:pt x="218974" y="528586"/>
                    </a:cubicBezTo>
                    <a:cubicBezTo>
                      <a:pt x="231445" y="531837"/>
                      <a:pt x="244221" y="533476"/>
                      <a:pt x="256972" y="533476"/>
                    </a:cubicBezTo>
                    <a:cubicBezTo>
                      <a:pt x="300482" y="533476"/>
                      <a:pt x="339344" y="514349"/>
                      <a:pt x="363881" y="480910"/>
                    </a:cubicBezTo>
                    <a:cubicBezTo>
                      <a:pt x="376135" y="464070"/>
                      <a:pt x="383044" y="444995"/>
                      <a:pt x="385800" y="426034"/>
                    </a:cubicBezTo>
                    <a:cubicBezTo>
                      <a:pt x="389064" y="403453"/>
                      <a:pt x="385838" y="381190"/>
                      <a:pt x="374561" y="363639"/>
                    </a:cubicBezTo>
                  </a:path>
                </a:pathLst>
              </a:cu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 dirty="0"/>
              </a:p>
            </p:txBody>
          </p:sp>
          <p:sp>
            <p:nvSpPr>
              <p:cNvPr id="228" name="Freeform 222">
                <a:extLst>
                  <a:ext uri="{FF2B5EF4-FFF2-40B4-BE49-F238E27FC236}">
                    <a16:creationId xmlns:a16="http://schemas.microsoft.com/office/drawing/2014/main" id="{BC95C506-DA51-0C64-73F2-E2EBA7D43888}"/>
                  </a:ext>
                </a:extLst>
              </p:cNvPr>
              <p:cNvSpPr/>
              <p:nvPr/>
            </p:nvSpPr>
            <p:spPr>
              <a:xfrm>
                <a:off x="5231948" y="3302281"/>
                <a:ext cx="129163" cy="206717"/>
              </a:xfrm>
              <a:custGeom>
                <a:avLst/>
                <a:gdLst/>
                <a:ahLst/>
                <a:cxnLst/>
                <a:rect l="0" t="0" r="0" b="0"/>
                <a:pathLst>
                  <a:path w="382967" h="612914">
                    <a:moveTo>
                      <a:pt x="342366" y="327609"/>
                    </a:moveTo>
                    <a:cubicBezTo>
                      <a:pt x="320078" y="297904"/>
                      <a:pt x="296850" y="274142"/>
                      <a:pt x="276352" y="253340"/>
                    </a:cubicBezTo>
                    <a:cubicBezTo>
                      <a:pt x="233743" y="209868"/>
                      <a:pt x="200215" y="175692"/>
                      <a:pt x="200215" y="117323"/>
                    </a:cubicBezTo>
                    <a:cubicBezTo>
                      <a:pt x="200215" y="57811"/>
                      <a:pt x="243726" y="25121"/>
                      <a:pt x="284543" y="15316"/>
                    </a:cubicBezTo>
                    <a:cubicBezTo>
                      <a:pt x="282499" y="14656"/>
                      <a:pt x="280162" y="14313"/>
                      <a:pt x="278054" y="13742"/>
                    </a:cubicBezTo>
                    <a:cubicBezTo>
                      <a:pt x="249555" y="5157"/>
                      <a:pt x="218605" y="0"/>
                      <a:pt x="188531" y="0"/>
                    </a:cubicBezTo>
                    <a:cubicBezTo>
                      <a:pt x="138582" y="0"/>
                      <a:pt x="99174" y="10275"/>
                      <a:pt x="60719" y="33389"/>
                    </a:cubicBezTo>
                    <a:cubicBezTo>
                      <a:pt x="32842" y="50127"/>
                      <a:pt x="10960" y="87922"/>
                      <a:pt x="4864" y="129718"/>
                    </a:cubicBezTo>
                    <a:cubicBezTo>
                      <a:pt x="686" y="158141"/>
                      <a:pt x="0" y="213157"/>
                      <a:pt x="41846" y="262065"/>
                    </a:cubicBezTo>
                    <a:cubicBezTo>
                      <a:pt x="74536" y="300393"/>
                      <a:pt x="114948" y="316002"/>
                      <a:pt x="153987" y="331038"/>
                    </a:cubicBezTo>
                    <a:cubicBezTo>
                      <a:pt x="199809" y="348652"/>
                      <a:pt x="247002" y="366953"/>
                      <a:pt x="280975" y="419442"/>
                    </a:cubicBezTo>
                    <a:cubicBezTo>
                      <a:pt x="304025" y="455091"/>
                      <a:pt x="303886" y="505104"/>
                      <a:pt x="282499" y="547801"/>
                    </a:cubicBezTo>
                    <a:cubicBezTo>
                      <a:pt x="281102" y="550659"/>
                      <a:pt x="279552" y="553415"/>
                      <a:pt x="277952" y="556132"/>
                    </a:cubicBezTo>
                    <a:cubicBezTo>
                      <a:pt x="277520" y="556932"/>
                      <a:pt x="277038" y="557745"/>
                      <a:pt x="276581" y="558545"/>
                    </a:cubicBezTo>
                    <a:cubicBezTo>
                      <a:pt x="259715" y="585304"/>
                      <a:pt x="231902" y="606069"/>
                      <a:pt x="204165" y="612914"/>
                    </a:cubicBezTo>
                    <a:cubicBezTo>
                      <a:pt x="219011" y="610793"/>
                      <a:pt x="233401" y="607555"/>
                      <a:pt x="247307" y="602856"/>
                    </a:cubicBezTo>
                    <a:cubicBezTo>
                      <a:pt x="248679" y="602462"/>
                      <a:pt x="250038" y="602043"/>
                      <a:pt x="251435" y="601649"/>
                    </a:cubicBezTo>
                    <a:cubicBezTo>
                      <a:pt x="253213" y="601001"/>
                      <a:pt x="254864" y="600100"/>
                      <a:pt x="256603" y="599427"/>
                    </a:cubicBezTo>
                    <a:cubicBezTo>
                      <a:pt x="259804" y="598157"/>
                      <a:pt x="262979" y="596823"/>
                      <a:pt x="266103" y="595375"/>
                    </a:cubicBezTo>
                    <a:cubicBezTo>
                      <a:pt x="268084" y="594448"/>
                      <a:pt x="270091" y="593559"/>
                      <a:pt x="272110" y="592505"/>
                    </a:cubicBezTo>
                    <a:cubicBezTo>
                      <a:pt x="276936" y="590092"/>
                      <a:pt x="281686" y="587336"/>
                      <a:pt x="286334" y="584453"/>
                    </a:cubicBezTo>
                    <a:cubicBezTo>
                      <a:pt x="287007" y="584022"/>
                      <a:pt x="287642" y="583590"/>
                      <a:pt x="288252" y="583183"/>
                    </a:cubicBezTo>
                    <a:cubicBezTo>
                      <a:pt x="293408" y="579894"/>
                      <a:pt x="298386" y="576198"/>
                      <a:pt x="303301" y="572274"/>
                    </a:cubicBezTo>
                    <a:cubicBezTo>
                      <a:pt x="303695" y="571944"/>
                      <a:pt x="304101" y="571601"/>
                      <a:pt x="304495" y="571296"/>
                    </a:cubicBezTo>
                    <a:cubicBezTo>
                      <a:pt x="308991" y="567575"/>
                      <a:pt x="313398" y="563587"/>
                      <a:pt x="317716" y="559282"/>
                    </a:cubicBezTo>
                    <a:cubicBezTo>
                      <a:pt x="318795" y="558139"/>
                      <a:pt x="319900" y="556932"/>
                      <a:pt x="321018" y="555789"/>
                    </a:cubicBezTo>
                    <a:cubicBezTo>
                      <a:pt x="323939" y="552703"/>
                      <a:pt x="326796" y="549477"/>
                      <a:pt x="329565" y="546087"/>
                    </a:cubicBezTo>
                    <a:cubicBezTo>
                      <a:pt x="331787" y="543470"/>
                      <a:pt x="333832" y="540753"/>
                      <a:pt x="335877" y="538022"/>
                    </a:cubicBezTo>
                    <a:cubicBezTo>
                      <a:pt x="338036" y="535114"/>
                      <a:pt x="340182" y="532091"/>
                      <a:pt x="342265" y="529005"/>
                    </a:cubicBezTo>
                    <a:cubicBezTo>
                      <a:pt x="343255" y="527494"/>
                      <a:pt x="344283" y="526046"/>
                      <a:pt x="345210" y="524535"/>
                    </a:cubicBezTo>
                    <a:cubicBezTo>
                      <a:pt x="345502" y="524141"/>
                      <a:pt x="345782" y="523709"/>
                      <a:pt x="346087" y="523239"/>
                    </a:cubicBezTo>
                    <a:lnTo>
                      <a:pt x="346036" y="523062"/>
                    </a:lnTo>
                    <a:cubicBezTo>
                      <a:pt x="352792" y="511949"/>
                      <a:pt x="358609" y="500176"/>
                      <a:pt x="363092" y="487616"/>
                    </a:cubicBezTo>
                    <a:cubicBezTo>
                      <a:pt x="382967" y="432472"/>
                      <a:pt x="374992" y="371144"/>
                      <a:pt x="342366" y="327609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</p:grpSp>
        <p:grpSp>
          <p:nvGrpSpPr>
            <p:cNvPr id="213" name="Групувати 212">
              <a:extLst>
                <a:ext uri="{FF2B5EF4-FFF2-40B4-BE49-F238E27FC236}">
                  <a16:creationId xmlns:a16="http://schemas.microsoft.com/office/drawing/2014/main" id="{78C98FDE-EE1E-79BB-E325-4BAA7E28E790}"/>
                </a:ext>
              </a:extLst>
            </p:cNvPr>
            <p:cNvGrpSpPr/>
            <p:nvPr/>
          </p:nvGrpSpPr>
          <p:grpSpPr>
            <a:xfrm>
              <a:off x="9192478" y="1930875"/>
              <a:ext cx="575419" cy="50379"/>
              <a:chOff x="4220435" y="3738620"/>
              <a:chExt cx="575419" cy="50379"/>
            </a:xfrm>
          </p:grpSpPr>
          <p:sp>
            <p:nvSpPr>
              <p:cNvPr id="214" name="TextBox 213">
                <a:extLst>
                  <a:ext uri="{FF2B5EF4-FFF2-40B4-BE49-F238E27FC236}">
                    <a16:creationId xmlns:a16="http://schemas.microsoft.com/office/drawing/2014/main" id="{91A83DCD-8071-EBA0-199C-DB49DD5F5CD6}"/>
                  </a:ext>
                </a:extLst>
              </p:cNvPr>
              <p:cNvSpPr txBox="1"/>
              <p:nvPr/>
            </p:nvSpPr>
            <p:spPr>
              <a:xfrm>
                <a:off x="4600817" y="3741001"/>
                <a:ext cx="29929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29929" h="47998">
                    <a:moveTo>
                      <a:pt x="15198" y="0"/>
                    </a:moveTo>
                    <a:cubicBezTo>
                      <a:pt x="17931" y="19"/>
                      <a:pt x="20418" y="463"/>
                      <a:pt x="22659" y="1331"/>
                    </a:cubicBezTo>
                    <a:cubicBezTo>
                      <a:pt x="24899" y="2200"/>
                      <a:pt x="26701" y="3376"/>
                      <a:pt x="28065" y="4860"/>
                    </a:cubicBezTo>
                    <a:lnTo>
                      <a:pt x="25002" y="9127"/>
                    </a:lnTo>
                    <a:cubicBezTo>
                      <a:pt x="23783" y="7889"/>
                      <a:pt x="22405" y="6947"/>
                      <a:pt x="20868" y="6301"/>
                    </a:cubicBezTo>
                    <a:cubicBezTo>
                      <a:pt x="19331" y="5655"/>
                      <a:pt x="17552" y="5330"/>
                      <a:pt x="15531" y="5326"/>
                    </a:cubicBezTo>
                    <a:cubicBezTo>
                      <a:pt x="12905" y="5353"/>
                      <a:pt x="10853" y="5981"/>
                      <a:pt x="9377" y="7210"/>
                    </a:cubicBezTo>
                    <a:cubicBezTo>
                      <a:pt x="7902" y="8438"/>
                      <a:pt x="7151" y="10099"/>
                      <a:pt x="7126" y="12195"/>
                    </a:cubicBezTo>
                    <a:cubicBezTo>
                      <a:pt x="7187" y="14454"/>
                      <a:pt x="7977" y="16223"/>
                      <a:pt x="9498" y="17502"/>
                    </a:cubicBezTo>
                    <a:cubicBezTo>
                      <a:pt x="11018" y="18780"/>
                      <a:pt x="12903" y="19858"/>
                      <a:pt x="15153" y="20734"/>
                    </a:cubicBezTo>
                    <a:cubicBezTo>
                      <a:pt x="17403" y="21611"/>
                      <a:pt x="19652" y="22575"/>
                      <a:pt x="21902" y="23627"/>
                    </a:cubicBezTo>
                    <a:cubicBezTo>
                      <a:pt x="24152" y="24680"/>
                      <a:pt x="26037" y="26110"/>
                      <a:pt x="27557" y="27916"/>
                    </a:cubicBezTo>
                    <a:cubicBezTo>
                      <a:pt x="29078" y="29723"/>
                      <a:pt x="29868" y="32197"/>
                      <a:pt x="29929" y="35336"/>
                    </a:cubicBezTo>
                    <a:cubicBezTo>
                      <a:pt x="29825" y="39219"/>
                      <a:pt x="28351" y="42288"/>
                      <a:pt x="25507" y="44543"/>
                    </a:cubicBezTo>
                    <a:cubicBezTo>
                      <a:pt x="22663" y="46798"/>
                      <a:pt x="19071" y="47949"/>
                      <a:pt x="14731" y="47998"/>
                    </a:cubicBezTo>
                    <a:cubicBezTo>
                      <a:pt x="11753" y="47981"/>
                      <a:pt x="8872" y="47365"/>
                      <a:pt x="6089" y="46150"/>
                    </a:cubicBezTo>
                    <a:cubicBezTo>
                      <a:pt x="3305" y="44935"/>
                      <a:pt x="1276" y="43220"/>
                      <a:pt x="0" y="41005"/>
                    </a:cubicBezTo>
                    <a:lnTo>
                      <a:pt x="3264" y="37137"/>
                    </a:lnTo>
                    <a:cubicBezTo>
                      <a:pt x="4693" y="38943"/>
                      <a:pt x="6465" y="40316"/>
                      <a:pt x="8579" y="41255"/>
                    </a:cubicBezTo>
                    <a:cubicBezTo>
                      <a:pt x="10693" y="42194"/>
                      <a:pt x="12766" y="42666"/>
                      <a:pt x="14798" y="42672"/>
                    </a:cubicBezTo>
                    <a:cubicBezTo>
                      <a:pt x="17309" y="42665"/>
                      <a:pt x="19441" y="42045"/>
                      <a:pt x="21193" y="40813"/>
                    </a:cubicBezTo>
                    <a:cubicBezTo>
                      <a:pt x="22946" y="39581"/>
                      <a:pt x="23860" y="37777"/>
                      <a:pt x="23936" y="35403"/>
                    </a:cubicBezTo>
                    <a:cubicBezTo>
                      <a:pt x="23876" y="33168"/>
                      <a:pt x="23085" y="31398"/>
                      <a:pt x="21565" y="30095"/>
                    </a:cubicBezTo>
                    <a:cubicBezTo>
                      <a:pt x="20045" y="28792"/>
                      <a:pt x="18160" y="27681"/>
                      <a:pt x="15910" y="26763"/>
                    </a:cubicBezTo>
                    <a:cubicBezTo>
                      <a:pt x="13660" y="25844"/>
                      <a:pt x="11410" y="24845"/>
                      <a:pt x="9160" y="23763"/>
                    </a:cubicBezTo>
                    <a:cubicBezTo>
                      <a:pt x="6910" y="22682"/>
                      <a:pt x="5025" y="21246"/>
                      <a:pt x="3505" y="19455"/>
                    </a:cubicBezTo>
                    <a:cubicBezTo>
                      <a:pt x="1985" y="17663"/>
                      <a:pt x="1194" y="15243"/>
                      <a:pt x="1134" y="12195"/>
                    </a:cubicBezTo>
                    <a:cubicBezTo>
                      <a:pt x="1165" y="8740"/>
                      <a:pt x="2400" y="5865"/>
                      <a:pt x="4839" y="3571"/>
                    </a:cubicBezTo>
                    <a:cubicBezTo>
                      <a:pt x="7278" y="1278"/>
                      <a:pt x="10731" y="87"/>
                      <a:pt x="1519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15" name="TextBox 214">
                <a:extLst>
                  <a:ext uri="{FF2B5EF4-FFF2-40B4-BE49-F238E27FC236}">
                    <a16:creationId xmlns:a16="http://schemas.microsoft.com/office/drawing/2014/main" id="{26942760-F876-EF2F-D3A1-C1632B5E84BC}"/>
                  </a:ext>
                </a:extLst>
              </p:cNvPr>
              <p:cNvSpPr txBox="1"/>
              <p:nvPr/>
            </p:nvSpPr>
            <p:spPr>
              <a:xfrm>
                <a:off x="4646060" y="3741001"/>
                <a:ext cx="41130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41130" h="47998">
                    <a:moveTo>
                      <a:pt x="22933" y="0"/>
                    </a:moveTo>
                    <a:cubicBezTo>
                      <a:pt x="26078" y="1"/>
                      <a:pt x="28840" y="381"/>
                      <a:pt x="31219" y="1140"/>
                    </a:cubicBezTo>
                    <a:cubicBezTo>
                      <a:pt x="33597" y="1899"/>
                      <a:pt x="35725" y="3028"/>
                      <a:pt x="37602" y="4527"/>
                    </a:cubicBezTo>
                    <a:lnTo>
                      <a:pt x="35138" y="9061"/>
                    </a:lnTo>
                    <a:cubicBezTo>
                      <a:pt x="33740" y="7826"/>
                      <a:pt x="32033" y="6895"/>
                      <a:pt x="30019" y="6268"/>
                    </a:cubicBezTo>
                    <a:cubicBezTo>
                      <a:pt x="28004" y="5641"/>
                      <a:pt x="25864" y="5327"/>
                      <a:pt x="23600" y="5326"/>
                    </a:cubicBezTo>
                    <a:cubicBezTo>
                      <a:pt x="18314" y="5399"/>
                      <a:pt x="14079" y="7103"/>
                      <a:pt x="10895" y="10437"/>
                    </a:cubicBezTo>
                    <a:cubicBezTo>
                      <a:pt x="7710" y="13771"/>
                      <a:pt x="6076" y="18293"/>
                      <a:pt x="5993" y="24002"/>
                    </a:cubicBezTo>
                    <a:cubicBezTo>
                      <a:pt x="6072" y="29738"/>
                      <a:pt x="7714" y="34266"/>
                      <a:pt x="10920" y="37586"/>
                    </a:cubicBezTo>
                    <a:cubicBezTo>
                      <a:pt x="14125" y="40907"/>
                      <a:pt x="18418" y="42602"/>
                      <a:pt x="23800" y="42672"/>
                    </a:cubicBezTo>
                    <a:cubicBezTo>
                      <a:pt x="26071" y="42650"/>
                      <a:pt x="28314" y="42261"/>
                      <a:pt x="30527" y="41505"/>
                    </a:cubicBezTo>
                    <a:cubicBezTo>
                      <a:pt x="32741" y="40748"/>
                      <a:pt x="34500" y="39759"/>
                      <a:pt x="35805" y="38536"/>
                    </a:cubicBezTo>
                    <a:lnTo>
                      <a:pt x="35805" y="28929"/>
                    </a:lnTo>
                    <a:lnTo>
                      <a:pt x="23199" y="28929"/>
                    </a:lnTo>
                    <a:lnTo>
                      <a:pt x="23199" y="23603"/>
                    </a:lnTo>
                    <a:lnTo>
                      <a:pt x="41130" y="23603"/>
                    </a:lnTo>
                    <a:lnTo>
                      <a:pt x="41130" y="41538"/>
                    </a:lnTo>
                    <a:cubicBezTo>
                      <a:pt x="38960" y="43614"/>
                      <a:pt x="36258" y="45207"/>
                      <a:pt x="33026" y="46316"/>
                    </a:cubicBezTo>
                    <a:cubicBezTo>
                      <a:pt x="29795" y="47426"/>
                      <a:pt x="26675" y="47987"/>
                      <a:pt x="23666" y="47998"/>
                    </a:cubicBezTo>
                    <a:cubicBezTo>
                      <a:pt x="16319" y="47906"/>
                      <a:pt x="10558" y="45724"/>
                      <a:pt x="6381" y="41450"/>
                    </a:cubicBezTo>
                    <a:cubicBezTo>
                      <a:pt x="2204" y="37176"/>
                      <a:pt x="78" y="31361"/>
                      <a:pt x="0" y="24002"/>
                    </a:cubicBezTo>
                    <a:cubicBezTo>
                      <a:pt x="25" y="19485"/>
                      <a:pt x="974" y="15425"/>
                      <a:pt x="2848" y="11821"/>
                    </a:cubicBezTo>
                    <a:cubicBezTo>
                      <a:pt x="4722" y="8217"/>
                      <a:pt x="7370" y="5358"/>
                      <a:pt x="10792" y="3244"/>
                    </a:cubicBezTo>
                    <a:cubicBezTo>
                      <a:pt x="14215" y="1129"/>
                      <a:pt x="18261" y="48"/>
                      <a:pt x="2293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16" name="TextBox 215">
                <a:extLst>
                  <a:ext uri="{FF2B5EF4-FFF2-40B4-BE49-F238E27FC236}">
                    <a16:creationId xmlns:a16="http://schemas.microsoft.com/office/drawing/2014/main" id="{8CBA13AE-D12C-EFE7-C785-5FB47DDA790D}"/>
                  </a:ext>
                </a:extLst>
              </p:cNvPr>
              <p:cNvSpPr txBox="1"/>
              <p:nvPr/>
            </p:nvSpPr>
            <p:spPr>
              <a:xfrm>
                <a:off x="4479416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70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70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7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17" name="TextBox 216">
                <a:extLst>
                  <a:ext uri="{FF2B5EF4-FFF2-40B4-BE49-F238E27FC236}">
                    <a16:creationId xmlns:a16="http://schemas.microsoft.com/office/drawing/2014/main" id="{C2A850FC-4762-F260-3ACE-A700E7F256F1}"/>
                  </a:ext>
                </a:extLst>
              </p:cNvPr>
              <p:cNvSpPr txBox="1"/>
              <p:nvPr/>
            </p:nvSpPr>
            <p:spPr>
              <a:xfrm>
                <a:off x="4700872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69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69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8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18" name="TextBox 217">
                <a:extLst>
                  <a:ext uri="{FF2B5EF4-FFF2-40B4-BE49-F238E27FC236}">
                    <a16:creationId xmlns:a16="http://schemas.microsoft.com/office/drawing/2014/main" id="{B5FA51EF-64AC-6B94-3201-F28D08E245FB}"/>
                  </a:ext>
                </a:extLst>
              </p:cNvPr>
              <p:cNvSpPr txBox="1"/>
              <p:nvPr/>
            </p:nvSpPr>
            <p:spPr>
              <a:xfrm>
                <a:off x="4330639" y="3738620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60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9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19" name="TextBox 218">
                <a:extLst>
                  <a:ext uri="{FF2B5EF4-FFF2-40B4-BE49-F238E27FC236}">
                    <a16:creationId xmlns:a16="http://schemas.microsoft.com/office/drawing/2014/main" id="{2BE6C323-0311-AD7C-9D11-9818CB4D7958}"/>
                  </a:ext>
                </a:extLst>
              </p:cNvPr>
              <p:cNvSpPr txBox="1"/>
              <p:nvPr/>
            </p:nvSpPr>
            <p:spPr>
              <a:xfrm>
                <a:off x="4428271" y="3741001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59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8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20" name="TextBox 219">
                <a:extLst>
                  <a:ext uri="{FF2B5EF4-FFF2-40B4-BE49-F238E27FC236}">
                    <a16:creationId xmlns:a16="http://schemas.microsoft.com/office/drawing/2014/main" id="{9594B1D7-8032-0507-473B-CC498CC74A87}"/>
                  </a:ext>
                </a:extLst>
              </p:cNvPr>
              <p:cNvSpPr txBox="1"/>
              <p:nvPr/>
            </p:nvSpPr>
            <p:spPr>
              <a:xfrm>
                <a:off x="4220435" y="3738620"/>
                <a:ext cx="37396" cy="47264"/>
              </a:xfrm>
              <a:custGeom>
                <a:avLst/>
                <a:gdLst/>
                <a:ahLst/>
                <a:cxnLst/>
                <a:rect l="l" t="t" r="r" b="b"/>
                <a:pathLst>
                  <a:path w="37396" h="472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25670"/>
                    </a:lnTo>
                    <a:cubicBezTo>
                      <a:pt x="5682" y="30781"/>
                      <a:pt x="6869" y="34760"/>
                      <a:pt x="9219" y="37604"/>
                    </a:cubicBezTo>
                    <a:cubicBezTo>
                      <a:pt x="11568" y="40449"/>
                      <a:pt x="14939" y="41894"/>
                      <a:pt x="19331" y="41938"/>
                    </a:cubicBezTo>
                    <a:cubicBezTo>
                      <a:pt x="23204" y="41940"/>
                      <a:pt x="26230" y="40620"/>
                      <a:pt x="28410" y="37980"/>
                    </a:cubicBezTo>
                    <a:cubicBezTo>
                      <a:pt x="30591" y="35339"/>
                      <a:pt x="31699" y="31369"/>
                      <a:pt x="31737" y="26070"/>
                    </a:cubicBezTo>
                    <a:lnTo>
                      <a:pt x="31737" y="0"/>
                    </a:lnTo>
                    <a:lnTo>
                      <a:pt x="37396" y="0"/>
                    </a:lnTo>
                    <a:lnTo>
                      <a:pt x="37396" y="27203"/>
                    </a:lnTo>
                    <a:cubicBezTo>
                      <a:pt x="37349" y="31943"/>
                      <a:pt x="36495" y="35790"/>
                      <a:pt x="34832" y="38746"/>
                    </a:cubicBezTo>
                    <a:cubicBezTo>
                      <a:pt x="33169" y="41701"/>
                      <a:pt x="30976" y="43864"/>
                      <a:pt x="28254" y="45234"/>
                    </a:cubicBezTo>
                    <a:cubicBezTo>
                      <a:pt x="25531" y="46604"/>
                      <a:pt x="22557" y="47281"/>
                      <a:pt x="19331" y="47264"/>
                    </a:cubicBezTo>
                    <a:cubicBezTo>
                      <a:pt x="13624" y="47263"/>
                      <a:pt x="9001" y="45550"/>
                      <a:pt x="5464" y="42126"/>
                    </a:cubicBezTo>
                    <a:cubicBezTo>
                      <a:pt x="1926" y="38702"/>
                      <a:pt x="105" y="33572"/>
                      <a:pt x="0" y="267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21" name="TextBox 220">
                <a:extLst>
                  <a:ext uri="{FF2B5EF4-FFF2-40B4-BE49-F238E27FC236}">
                    <a16:creationId xmlns:a16="http://schemas.microsoft.com/office/drawing/2014/main" id="{374674A4-7099-0FFA-D8F2-FC21634F3F99}"/>
                  </a:ext>
                </a:extLst>
              </p:cNvPr>
              <p:cNvSpPr txBox="1"/>
              <p:nvPr/>
            </p:nvSpPr>
            <p:spPr>
              <a:xfrm>
                <a:off x="4278251" y="3738620"/>
                <a:ext cx="5659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5659" h="466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22" name="TextBox 221">
                <a:extLst>
                  <a:ext uri="{FF2B5EF4-FFF2-40B4-BE49-F238E27FC236}">
                    <a16:creationId xmlns:a16="http://schemas.microsoft.com/office/drawing/2014/main" id="{A7A6169F-55C3-2CBD-961D-85B092E9E2DC}"/>
                  </a:ext>
                </a:extLst>
              </p:cNvPr>
              <p:cNvSpPr txBox="1"/>
              <p:nvPr/>
            </p:nvSpPr>
            <p:spPr>
              <a:xfrm>
                <a:off x="4285044" y="3738620"/>
                <a:ext cx="28403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28403" h="46664">
                    <a:moveTo>
                      <a:pt x="20469" y="0"/>
                    </a:moveTo>
                    <a:lnTo>
                      <a:pt x="27337" y="0"/>
                    </a:lnTo>
                    <a:lnTo>
                      <a:pt x="6534" y="21932"/>
                    </a:lnTo>
                    <a:lnTo>
                      <a:pt x="28403" y="46664"/>
                    </a:lnTo>
                    <a:lnTo>
                      <a:pt x="21136" y="46664"/>
                    </a:lnTo>
                    <a:lnTo>
                      <a:pt x="0" y="22332"/>
                    </a:lnTo>
                    <a:lnTo>
                      <a:pt x="2046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48CC992F-9F7A-378E-49DE-DFE26524F563}"/>
                  </a:ext>
                </a:extLst>
              </p:cNvPr>
              <p:cNvSpPr txBox="1"/>
              <p:nvPr/>
            </p:nvSpPr>
            <p:spPr>
              <a:xfrm>
                <a:off x="4374312" y="3741001"/>
                <a:ext cx="38330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330" h="46664">
                    <a:moveTo>
                      <a:pt x="0" y="0"/>
                    </a:moveTo>
                    <a:lnTo>
                      <a:pt x="38330" y="0"/>
                    </a:lnTo>
                    <a:lnTo>
                      <a:pt x="38330" y="5325"/>
                    </a:lnTo>
                    <a:lnTo>
                      <a:pt x="21995" y="5325"/>
                    </a:lnTo>
                    <a:lnTo>
                      <a:pt x="21995" y="46664"/>
                    </a:lnTo>
                    <a:lnTo>
                      <a:pt x="16336" y="46664"/>
                    </a:lnTo>
                    <a:lnTo>
                      <a:pt x="16336" y="5325"/>
                    </a:lnTo>
                    <a:lnTo>
                      <a:pt x="0" y="53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63C95E2C-A55B-6FD3-DA14-30EEA7CF5C4B}"/>
                  </a:ext>
                </a:extLst>
              </p:cNvPr>
              <p:cNvSpPr txBox="1"/>
              <p:nvPr/>
            </p:nvSpPr>
            <p:spPr>
              <a:xfrm>
                <a:off x="4542571" y="3741001"/>
                <a:ext cx="38997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997" h="46664">
                    <a:moveTo>
                      <a:pt x="0" y="0"/>
                    </a:moveTo>
                    <a:lnTo>
                      <a:pt x="4527" y="0"/>
                    </a:lnTo>
                    <a:lnTo>
                      <a:pt x="33671" y="36798"/>
                    </a:lnTo>
                    <a:lnTo>
                      <a:pt x="33671" y="0"/>
                    </a:lnTo>
                    <a:lnTo>
                      <a:pt x="38997" y="0"/>
                    </a:lnTo>
                    <a:lnTo>
                      <a:pt x="38997" y="46664"/>
                    </a:lnTo>
                    <a:lnTo>
                      <a:pt x="34470" y="46664"/>
                    </a:lnTo>
                    <a:lnTo>
                      <a:pt x="5326" y="9999"/>
                    </a:lnTo>
                    <a:lnTo>
                      <a:pt x="5326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59EE00E5-C019-8FA1-FC8D-C94459120B15}"/>
                  </a:ext>
                </a:extLst>
              </p:cNvPr>
              <p:cNvSpPr txBox="1"/>
              <p:nvPr/>
            </p:nvSpPr>
            <p:spPr>
              <a:xfrm>
                <a:off x="4758121" y="3741001"/>
                <a:ext cx="37733" cy="47727"/>
              </a:xfrm>
              <a:custGeom>
                <a:avLst/>
                <a:gdLst/>
                <a:ahLst/>
                <a:cxnLst/>
                <a:rect l="l" t="t" r="r" b="b"/>
                <a:pathLst>
                  <a:path w="37733" h="47727">
                    <a:moveTo>
                      <a:pt x="2767" y="0"/>
                    </a:moveTo>
                    <a:lnTo>
                      <a:pt x="36951" y="0"/>
                    </a:lnTo>
                    <a:lnTo>
                      <a:pt x="36951" y="5632"/>
                    </a:lnTo>
                    <a:lnTo>
                      <a:pt x="10158" y="38742"/>
                    </a:lnTo>
                    <a:lnTo>
                      <a:pt x="7260" y="42095"/>
                    </a:lnTo>
                    <a:lnTo>
                      <a:pt x="37733" y="42095"/>
                    </a:lnTo>
                    <a:lnTo>
                      <a:pt x="37733" y="47727"/>
                    </a:lnTo>
                    <a:lnTo>
                      <a:pt x="0" y="47727"/>
                    </a:lnTo>
                    <a:lnTo>
                      <a:pt x="0" y="41867"/>
                    </a:lnTo>
                    <a:lnTo>
                      <a:pt x="24450" y="11297"/>
                    </a:lnTo>
                    <a:cubicBezTo>
                      <a:pt x="26186" y="9126"/>
                      <a:pt x="27836" y="7238"/>
                      <a:pt x="29398" y="5632"/>
                    </a:cubicBezTo>
                    <a:lnTo>
                      <a:pt x="2767" y="5632"/>
                    </a:lnTo>
                    <a:lnTo>
                      <a:pt x="276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1826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BA5E8B9-66DD-EF18-CC15-C1C47767BB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083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Полілінія: фігура 120">
            <a:extLst>
              <a:ext uri="{FF2B5EF4-FFF2-40B4-BE49-F238E27FC236}">
                <a16:creationId xmlns:a16="http://schemas.microsoft.com/office/drawing/2014/main" id="{CF81C6E8-47DC-0F6B-56D2-AECD3DE5BAE2}"/>
              </a:ext>
            </a:extLst>
          </p:cNvPr>
          <p:cNvSpPr/>
          <p:nvPr/>
        </p:nvSpPr>
        <p:spPr>
          <a:xfrm>
            <a:off x="9345524" y="-7979"/>
            <a:ext cx="2840812" cy="6865977"/>
          </a:xfrm>
          <a:custGeom>
            <a:avLst/>
            <a:gdLst>
              <a:gd name="connsiteX0" fmla="*/ 0 w 2840812"/>
              <a:gd name="connsiteY0" fmla="*/ 0 h 6865977"/>
              <a:gd name="connsiteX1" fmla="*/ 2840812 w 2840812"/>
              <a:gd name="connsiteY1" fmla="*/ 0 h 6865977"/>
              <a:gd name="connsiteX2" fmla="*/ 2840812 w 2840812"/>
              <a:gd name="connsiteY2" fmla="*/ 6865977 h 6865977"/>
              <a:gd name="connsiteX3" fmla="*/ 0 w 2840812"/>
              <a:gd name="connsiteY3" fmla="*/ 6865977 h 6865977"/>
              <a:gd name="connsiteX4" fmla="*/ 0 w 2840812"/>
              <a:gd name="connsiteY4" fmla="*/ 0 h 6865977"/>
              <a:gd name="connsiteX5" fmla="*/ 325517 w 2840812"/>
              <a:gd name="connsiteY5" fmla="*/ 1432289 h 6865977"/>
              <a:gd name="connsiteX6" fmla="*/ 105422 w 2840812"/>
              <a:gd name="connsiteY6" fmla="*/ 1652384 h 6865977"/>
              <a:gd name="connsiteX7" fmla="*/ 105422 w 2840812"/>
              <a:gd name="connsiteY7" fmla="*/ 5383268 h 6865977"/>
              <a:gd name="connsiteX8" fmla="*/ 325517 w 2840812"/>
              <a:gd name="connsiteY8" fmla="*/ 5603363 h 6865977"/>
              <a:gd name="connsiteX9" fmla="*/ 2548302 w 2840812"/>
              <a:gd name="connsiteY9" fmla="*/ 5603363 h 6865977"/>
              <a:gd name="connsiteX10" fmla="*/ 2768397 w 2840812"/>
              <a:gd name="connsiteY10" fmla="*/ 5383268 h 6865977"/>
              <a:gd name="connsiteX11" fmla="*/ 2768397 w 2840812"/>
              <a:gd name="connsiteY11" fmla="*/ 1652384 h 6865977"/>
              <a:gd name="connsiteX12" fmla="*/ 2548302 w 2840812"/>
              <a:gd name="connsiteY12" fmla="*/ 1432289 h 6865977"/>
              <a:gd name="connsiteX13" fmla="*/ 325517 w 2840812"/>
              <a:gd name="connsiteY13" fmla="*/ 1432289 h 686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840812" h="6865977">
                <a:moveTo>
                  <a:pt x="0" y="0"/>
                </a:moveTo>
                <a:lnTo>
                  <a:pt x="2840812" y="0"/>
                </a:lnTo>
                <a:lnTo>
                  <a:pt x="2840812" y="6865977"/>
                </a:lnTo>
                <a:lnTo>
                  <a:pt x="0" y="6865977"/>
                </a:lnTo>
                <a:lnTo>
                  <a:pt x="0" y="0"/>
                </a:lnTo>
                <a:close/>
                <a:moveTo>
                  <a:pt x="325517" y="1432289"/>
                </a:moveTo>
                <a:cubicBezTo>
                  <a:pt x="203962" y="1432289"/>
                  <a:pt x="105422" y="1530829"/>
                  <a:pt x="105422" y="1652384"/>
                </a:cubicBezTo>
                <a:lnTo>
                  <a:pt x="105422" y="5383268"/>
                </a:lnTo>
                <a:cubicBezTo>
                  <a:pt x="105422" y="5504823"/>
                  <a:pt x="203962" y="5603363"/>
                  <a:pt x="325517" y="5603363"/>
                </a:cubicBezTo>
                <a:lnTo>
                  <a:pt x="2548302" y="5603363"/>
                </a:lnTo>
                <a:cubicBezTo>
                  <a:pt x="2669857" y="5603363"/>
                  <a:pt x="2768397" y="5504823"/>
                  <a:pt x="2768397" y="5383268"/>
                </a:cubicBezTo>
                <a:lnTo>
                  <a:pt x="2768397" y="1652384"/>
                </a:lnTo>
                <a:cubicBezTo>
                  <a:pt x="2768397" y="1530829"/>
                  <a:pt x="2669857" y="1432289"/>
                  <a:pt x="2548302" y="1432289"/>
                </a:cubicBezTo>
                <a:lnTo>
                  <a:pt x="325517" y="1432289"/>
                </a:lnTo>
                <a:close/>
              </a:path>
            </a:pathLst>
          </a:cu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uk-UA"/>
          </a:p>
        </p:txBody>
      </p:sp>
      <p:pic>
        <p:nvPicPr>
          <p:cNvPr id="429" name="Рисунок 428" descr="Изображение выглядит как карта, текст">
            <a:extLst>
              <a:ext uri="{FF2B5EF4-FFF2-40B4-BE49-F238E27FC236}">
                <a16:creationId xmlns:a16="http://schemas.microsoft.com/office/drawing/2014/main" id="{00B59168-41DF-DC1C-E51F-12EFF99E4DA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3" t="12143" r="13566" b="23013"/>
          <a:stretch/>
        </p:blipFill>
        <p:spPr>
          <a:xfrm>
            <a:off x="11847" y="1534847"/>
            <a:ext cx="9133779" cy="5294713"/>
          </a:xfrm>
          <a:prstGeom prst="rect">
            <a:avLst/>
          </a:prstGeom>
        </p:spPr>
      </p:pic>
      <p:grpSp>
        <p:nvGrpSpPr>
          <p:cNvPr id="2" name="Групувати 1">
            <a:extLst>
              <a:ext uri="{FF2B5EF4-FFF2-40B4-BE49-F238E27FC236}">
                <a16:creationId xmlns:a16="http://schemas.microsoft.com/office/drawing/2014/main" id="{801CA9CE-A02E-CBE4-8E30-C8CE748CB748}"/>
              </a:ext>
            </a:extLst>
          </p:cNvPr>
          <p:cNvGrpSpPr/>
          <p:nvPr/>
        </p:nvGrpSpPr>
        <p:grpSpPr>
          <a:xfrm>
            <a:off x="10613803" y="104129"/>
            <a:ext cx="1405132" cy="300056"/>
            <a:chOff x="8944864" y="1776832"/>
            <a:chExt cx="1022457" cy="22192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92EB94C-DDC1-1064-003B-D04FC474BBE7}"/>
                </a:ext>
              </a:extLst>
            </p:cNvPr>
            <p:cNvSpPr txBox="1"/>
            <p:nvPr/>
          </p:nvSpPr>
          <p:spPr>
            <a:xfrm>
              <a:off x="9569202" y="1795187"/>
              <a:ext cx="97196" cy="96262"/>
            </a:xfrm>
            <a:custGeom>
              <a:avLst/>
              <a:gdLst/>
              <a:ahLst/>
              <a:cxnLst/>
              <a:rect l="l" t="t" r="r" b="b"/>
              <a:pathLst>
                <a:path w="97196" h="96262">
                  <a:moveTo>
                    <a:pt x="48531" y="0"/>
                  </a:moveTo>
                  <a:cubicBezTo>
                    <a:pt x="57866" y="55"/>
                    <a:pt x="66182" y="2061"/>
                    <a:pt x="73479" y="6016"/>
                  </a:cubicBezTo>
                  <a:cubicBezTo>
                    <a:pt x="80775" y="9972"/>
                    <a:pt x="86530" y="15542"/>
                    <a:pt x="90744" y="22729"/>
                  </a:cubicBezTo>
                  <a:cubicBezTo>
                    <a:pt x="94958" y="29915"/>
                    <a:pt x="97109" y="38382"/>
                    <a:pt x="97196" y="48130"/>
                  </a:cubicBezTo>
                  <a:cubicBezTo>
                    <a:pt x="97109" y="57543"/>
                    <a:pt x="94958" y="65852"/>
                    <a:pt x="90744" y="73058"/>
                  </a:cubicBezTo>
                  <a:cubicBezTo>
                    <a:pt x="86530" y="80264"/>
                    <a:pt x="80775" y="85914"/>
                    <a:pt x="73479" y="90008"/>
                  </a:cubicBezTo>
                  <a:cubicBezTo>
                    <a:pt x="66182" y="94102"/>
                    <a:pt x="57866" y="96186"/>
                    <a:pt x="48531" y="96262"/>
                  </a:cubicBezTo>
                  <a:cubicBezTo>
                    <a:pt x="39198" y="96206"/>
                    <a:pt x="30894" y="94200"/>
                    <a:pt x="23618" y="90245"/>
                  </a:cubicBezTo>
                  <a:cubicBezTo>
                    <a:pt x="16343" y="86290"/>
                    <a:pt x="10610" y="80719"/>
                    <a:pt x="6417" y="73532"/>
                  </a:cubicBezTo>
                  <a:cubicBezTo>
                    <a:pt x="2225" y="66346"/>
                    <a:pt x="86" y="57879"/>
                    <a:pt x="0" y="48130"/>
                  </a:cubicBezTo>
                  <a:cubicBezTo>
                    <a:pt x="68" y="39012"/>
                    <a:pt x="2138" y="30841"/>
                    <a:pt x="6210" y="23618"/>
                  </a:cubicBezTo>
                  <a:cubicBezTo>
                    <a:pt x="10281" y="16395"/>
                    <a:pt x="15946" y="10676"/>
                    <a:pt x="23203" y="6461"/>
                  </a:cubicBezTo>
                  <a:cubicBezTo>
                    <a:pt x="30461" y="2246"/>
                    <a:pt x="38904" y="92"/>
                    <a:pt x="48531" y="0"/>
                  </a:cubicBezTo>
                  <a:close/>
                  <a:moveTo>
                    <a:pt x="48531" y="15318"/>
                  </a:moveTo>
                  <a:cubicBezTo>
                    <a:pt x="39411" y="15477"/>
                    <a:pt x="31975" y="18528"/>
                    <a:pt x="26223" y="24472"/>
                  </a:cubicBezTo>
                  <a:cubicBezTo>
                    <a:pt x="20470" y="30415"/>
                    <a:pt x="17503" y="38302"/>
                    <a:pt x="17319" y="48130"/>
                  </a:cubicBezTo>
                  <a:cubicBezTo>
                    <a:pt x="17528" y="57667"/>
                    <a:pt x="20545" y="65470"/>
                    <a:pt x="26373" y="71539"/>
                  </a:cubicBezTo>
                  <a:cubicBezTo>
                    <a:pt x="32200" y="77608"/>
                    <a:pt x="39586" y="80743"/>
                    <a:pt x="48531" y="80943"/>
                  </a:cubicBezTo>
                  <a:cubicBezTo>
                    <a:pt x="58415" y="80726"/>
                    <a:pt x="66091" y="77558"/>
                    <a:pt x="71557" y="71439"/>
                  </a:cubicBezTo>
                  <a:cubicBezTo>
                    <a:pt x="77023" y="65320"/>
                    <a:pt x="79796" y="57551"/>
                    <a:pt x="79877" y="48130"/>
                  </a:cubicBezTo>
                  <a:cubicBezTo>
                    <a:pt x="79671" y="38302"/>
                    <a:pt x="76648" y="30415"/>
                    <a:pt x="70807" y="24472"/>
                  </a:cubicBezTo>
                  <a:cubicBezTo>
                    <a:pt x="64965" y="18528"/>
                    <a:pt x="57540" y="15477"/>
                    <a:pt x="48531" y="15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9944C1C-F7F7-4E60-E3A9-4D82C76B3937}"/>
                </a:ext>
              </a:extLst>
            </p:cNvPr>
            <p:cNvSpPr txBox="1"/>
            <p:nvPr/>
          </p:nvSpPr>
          <p:spPr>
            <a:xfrm>
              <a:off x="9683502" y="1795187"/>
              <a:ext cx="83594" cy="96262"/>
            </a:xfrm>
            <a:custGeom>
              <a:avLst/>
              <a:gdLst/>
              <a:ahLst/>
              <a:cxnLst/>
              <a:rect l="l" t="t" r="r" b="b"/>
              <a:pathLst>
                <a:path w="83594" h="96262">
                  <a:moveTo>
                    <a:pt x="46532" y="0"/>
                  </a:moveTo>
                  <a:cubicBezTo>
                    <a:pt x="53144" y="19"/>
                    <a:pt x="58862" y="846"/>
                    <a:pt x="63688" y="2481"/>
                  </a:cubicBezTo>
                  <a:cubicBezTo>
                    <a:pt x="68514" y="4115"/>
                    <a:pt x="72796" y="6441"/>
                    <a:pt x="76534" y="9457"/>
                  </a:cubicBezTo>
                  <a:lnTo>
                    <a:pt x="69608" y="22523"/>
                  </a:lnTo>
                  <a:cubicBezTo>
                    <a:pt x="67196" y="20297"/>
                    <a:pt x="64117" y="18546"/>
                    <a:pt x="60371" y="17270"/>
                  </a:cubicBezTo>
                  <a:cubicBezTo>
                    <a:pt x="56625" y="15994"/>
                    <a:pt x="52679" y="15343"/>
                    <a:pt x="48533" y="15318"/>
                  </a:cubicBezTo>
                  <a:cubicBezTo>
                    <a:pt x="39354" y="15385"/>
                    <a:pt x="31901" y="18253"/>
                    <a:pt x="26173" y="23923"/>
                  </a:cubicBezTo>
                  <a:cubicBezTo>
                    <a:pt x="20446" y="29593"/>
                    <a:pt x="17494" y="37664"/>
                    <a:pt x="17319" y="48135"/>
                  </a:cubicBezTo>
                  <a:cubicBezTo>
                    <a:pt x="17453" y="58192"/>
                    <a:pt x="20354" y="66143"/>
                    <a:pt x="26023" y="71988"/>
                  </a:cubicBezTo>
                  <a:cubicBezTo>
                    <a:pt x="31692" y="77832"/>
                    <a:pt x="39329" y="80817"/>
                    <a:pt x="48933" y="80943"/>
                  </a:cubicBezTo>
                  <a:cubicBezTo>
                    <a:pt x="52674" y="80885"/>
                    <a:pt x="56364" y="80234"/>
                    <a:pt x="60005" y="78991"/>
                  </a:cubicBezTo>
                  <a:cubicBezTo>
                    <a:pt x="63645" y="77748"/>
                    <a:pt x="66402" y="76264"/>
                    <a:pt x="68276" y="74537"/>
                  </a:cubicBezTo>
                  <a:lnTo>
                    <a:pt x="68276" y="59857"/>
                  </a:lnTo>
                  <a:lnTo>
                    <a:pt x="45732" y="59857"/>
                  </a:lnTo>
                  <a:lnTo>
                    <a:pt x="45732" y="44539"/>
                  </a:lnTo>
                  <a:lnTo>
                    <a:pt x="83594" y="44539"/>
                  </a:lnTo>
                  <a:lnTo>
                    <a:pt x="83594" y="83208"/>
                  </a:lnTo>
                  <a:cubicBezTo>
                    <a:pt x="79251" y="87365"/>
                    <a:pt x="73848" y="90573"/>
                    <a:pt x="67385" y="92832"/>
                  </a:cubicBezTo>
                  <a:cubicBezTo>
                    <a:pt x="60922" y="95091"/>
                    <a:pt x="54683" y="96234"/>
                    <a:pt x="48666" y="96262"/>
                  </a:cubicBezTo>
                  <a:cubicBezTo>
                    <a:pt x="33274" y="96073"/>
                    <a:pt x="21345" y="91686"/>
                    <a:pt x="12878" y="83100"/>
                  </a:cubicBezTo>
                  <a:cubicBezTo>
                    <a:pt x="4412" y="74514"/>
                    <a:pt x="119" y="62859"/>
                    <a:pt x="0" y="48135"/>
                  </a:cubicBezTo>
                  <a:cubicBezTo>
                    <a:pt x="46" y="39100"/>
                    <a:pt x="1953" y="30968"/>
                    <a:pt x="5721" y="23739"/>
                  </a:cubicBezTo>
                  <a:cubicBezTo>
                    <a:pt x="9488" y="16510"/>
                    <a:pt x="14842" y="10771"/>
                    <a:pt x="21781" y="6521"/>
                  </a:cubicBezTo>
                  <a:cubicBezTo>
                    <a:pt x="28721" y="2271"/>
                    <a:pt x="36971" y="97"/>
                    <a:pt x="46532" y="0"/>
                  </a:cubicBez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F6976B1-E30A-DF26-643E-D1D7E6B132A2}"/>
                </a:ext>
              </a:extLst>
            </p:cNvPr>
            <p:cNvSpPr txBox="1"/>
            <p:nvPr/>
          </p:nvSpPr>
          <p:spPr>
            <a:xfrm>
              <a:off x="92879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7575A92-0684-2594-28EF-78E05FDAC839}"/>
                </a:ext>
              </a:extLst>
            </p:cNvPr>
            <p:cNvSpPr txBox="1"/>
            <p:nvPr/>
          </p:nvSpPr>
          <p:spPr>
            <a:xfrm>
              <a:off x="9783203" y="1796388"/>
              <a:ext cx="93345" cy="93595"/>
            </a:xfrm>
            <a:custGeom>
              <a:avLst/>
              <a:gdLst/>
              <a:ahLst/>
              <a:cxnLst/>
              <a:rect l="l" t="t" r="r" b="b"/>
              <a:pathLst>
                <a:path w="93345" h="93595">
                  <a:moveTo>
                    <a:pt x="39471" y="0"/>
                  </a:moveTo>
                  <a:lnTo>
                    <a:pt x="53873" y="0"/>
                  </a:lnTo>
                  <a:lnTo>
                    <a:pt x="93345" y="93595"/>
                  </a:lnTo>
                  <a:lnTo>
                    <a:pt x="75876" y="93595"/>
                  </a:lnTo>
                  <a:lnTo>
                    <a:pt x="66141" y="69725"/>
                  </a:lnTo>
                  <a:lnTo>
                    <a:pt x="26270" y="69725"/>
                  </a:lnTo>
                  <a:lnTo>
                    <a:pt x="16535" y="93595"/>
                  </a:lnTo>
                  <a:lnTo>
                    <a:pt x="0" y="93595"/>
                  </a:lnTo>
                  <a:lnTo>
                    <a:pt x="39471" y="0"/>
                  </a:lnTo>
                  <a:close/>
                  <a:moveTo>
                    <a:pt x="46272" y="21202"/>
                  </a:moveTo>
                  <a:lnTo>
                    <a:pt x="32537" y="54407"/>
                  </a:lnTo>
                  <a:lnTo>
                    <a:pt x="59874" y="54407"/>
                  </a:lnTo>
                  <a:lnTo>
                    <a:pt x="46272" y="21202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ED1E8A8-B9F4-F4A8-F4B1-90BD0C7A1CFF}"/>
                </a:ext>
              </a:extLst>
            </p:cNvPr>
            <p:cNvSpPr txBox="1"/>
            <p:nvPr/>
          </p:nvSpPr>
          <p:spPr>
            <a:xfrm>
              <a:off x="9185612" y="1796788"/>
              <a:ext cx="79726" cy="93195"/>
            </a:xfrm>
            <a:custGeom>
              <a:avLst/>
              <a:gdLst/>
              <a:ahLst/>
              <a:cxnLst/>
              <a:rect l="l" t="t" r="r" b="b"/>
              <a:pathLst>
                <a:path w="79726" h="93195">
                  <a:moveTo>
                    <a:pt x="0" y="0"/>
                  </a:moveTo>
                  <a:lnTo>
                    <a:pt x="13054" y="0"/>
                  </a:lnTo>
                  <a:lnTo>
                    <a:pt x="64408" y="64837"/>
                  </a:lnTo>
                  <a:lnTo>
                    <a:pt x="64408" y="0"/>
                  </a:lnTo>
                  <a:lnTo>
                    <a:pt x="79726" y="0"/>
                  </a:lnTo>
                  <a:lnTo>
                    <a:pt x="79726" y="93195"/>
                  </a:lnTo>
                  <a:lnTo>
                    <a:pt x="66672" y="93195"/>
                  </a:lnTo>
                  <a:lnTo>
                    <a:pt x="15318" y="28624"/>
                  </a:lnTo>
                  <a:lnTo>
                    <a:pt x="15318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B324C39-D345-1507-188E-AF3CFA05A13C}"/>
                </a:ext>
              </a:extLst>
            </p:cNvPr>
            <p:cNvSpPr txBox="1"/>
            <p:nvPr/>
          </p:nvSpPr>
          <p:spPr>
            <a:xfrm>
              <a:off x="9404688" y="1796788"/>
              <a:ext cx="53323" cy="93195"/>
            </a:xfrm>
            <a:custGeom>
              <a:avLst/>
              <a:gdLst/>
              <a:ahLst/>
              <a:cxnLst/>
              <a:rect l="l" t="t" r="r" b="b"/>
              <a:pathLst>
                <a:path w="53323" h="93195">
                  <a:moveTo>
                    <a:pt x="0" y="0"/>
                  </a:moveTo>
                  <a:lnTo>
                    <a:pt x="53323" y="0"/>
                  </a:lnTo>
                  <a:lnTo>
                    <a:pt x="53323" y="15318"/>
                  </a:lnTo>
                  <a:lnTo>
                    <a:pt x="16385" y="15318"/>
                  </a:lnTo>
                  <a:lnTo>
                    <a:pt x="16385" y="41605"/>
                  </a:lnTo>
                  <a:lnTo>
                    <a:pt x="49322" y="41605"/>
                  </a:lnTo>
                  <a:lnTo>
                    <a:pt x="49322" y="56924"/>
                  </a:lnTo>
                  <a:lnTo>
                    <a:pt x="16385" y="56924"/>
                  </a:lnTo>
                  <a:lnTo>
                    <a:pt x="16385" y="93195"/>
                  </a:lnTo>
                  <a:lnTo>
                    <a:pt x="0" y="931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E3C18FA-A6D3-D9E0-185C-564AD52C44F0}"/>
                </a:ext>
              </a:extLst>
            </p:cNvPr>
            <p:cNvSpPr txBox="1"/>
            <p:nvPr/>
          </p:nvSpPr>
          <p:spPr>
            <a:xfrm>
              <a:off x="9478810" y="1796788"/>
              <a:ext cx="76926" cy="93195"/>
            </a:xfrm>
            <a:custGeom>
              <a:avLst/>
              <a:gdLst/>
              <a:ahLst/>
              <a:cxnLst/>
              <a:rect l="l" t="t" r="r" b="b"/>
              <a:pathLst>
                <a:path w="76926" h="93195">
                  <a:moveTo>
                    <a:pt x="0" y="0"/>
                  </a:moveTo>
                  <a:lnTo>
                    <a:pt x="76926" y="0"/>
                  </a:lnTo>
                  <a:lnTo>
                    <a:pt x="76926" y="15318"/>
                  </a:lnTo>
                  <a:lnTo>
                    <a:pt x="46656" y="15318"/>
                  </a:lnTo>
                  <a:lnTo>
                    <a:pt x="46656" y="93195"/>
                  </a:lnTo>
                  <a:lnTo>
                    <a:pt x="30270" y="93195"/>
                  </a:lnTo>
                  <a:lnTo>
                    <a:pt x="30270" y="15318"/>
                  </a:lnTo>
                  <a:lnTo>
                    <a:pt x="0" y="153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latin typeface="Circe Bold" panose="020B0602020203020203" pitchFamily="34" charset="-52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FC40D71-6C8E-E391-9C5C-6B8418985013}"/>
                </a:ext>
              </a:extLst>
            </p:cNvPr>
            <p:cNvSpPr txBox="1"/>
            <p:nvPr/>
          </p:nvSpPr>
          <p:spPr>
            <a:xfrm>
              <a:off x="9892378" y="1796788"/>
              <a:ext cx="74943" cy="93195"/>
            </a:xfrm>
            <a:custGeom>
              <a:avLst/>
              <a:gdLst/>
              <a:ahLst/>
              <a:cxnLst/>
              <a:rect l="l" t="t" r="r" b="b"/>
              <a:pathLst>
                <a:path w="74943" h="93195">
                  <a:moveTo>
                    <a:pt x="2667" y="0"/>
                  </a:moveTo>
                  <a:lnTo>
                    <a:pt x="73609" y="0"/>
                  </a:lnTo>
                  <a:lnTo>
                    <a:pt x="73609" y="11322"/>
                  </a:lnTo>
                  <a:lnTo>
                    <a:pt x="21870" y="77876"/>
                  </a:lnTo>
                  <a:lnTo>
                    <a:pt x="74943" y="77876"/>
                  </a:lnTo>
                  <a:lnTo>
                    <a:pt x="74943" y="93195"/>
                  </a:lnTo>
                  <a:lnTo>
                    <a:pt x="0" y="93195"/>
                  </a:lnTo>
                  <a:lnTo>
                    <a:pt x="0" y="82006"/>
                  </a:lnTo>
                  <a:lnTo>
                    <a:pt x="51607" y="15318"/>
                  </a:lnTo>
                  <a:lnTo>
                    <a:pt x="2667" y="15318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00A1D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uk-UA" sz="476" spc="50" dirty="0">
                <a:solidFill>
                  <a:srgbClr val="3399FF"/>
                </a:solidFill>
                <a:latin typeface="Circe Bold" panose="020B0602020203020203" pitchFamily="34" charset="-52"/>
              </a:endParaRPr>
            </a:p>
          </p:txBody>
        </p:sp>
        <p:sp>
          <p:nvSpPr>
            <p:cNvPr id="81" name="Freeform 218">
              <a:extLst>
                <a:ext uri="{FF2B5EF4-FFF2-40B4-BE49-F238E27FC236}">
                  <a16:creationId xmlns:a16="http://schemas.microsoft.com/office/drawing/2014/main" id="{A378CB30-B192-26A0-78D5-1CBE4732830F}"/>
                </a:ext>
              </a:extLst>
            </p:cNvPr>
            <p:cNvSpPr/>
            <p:nvPr/>
          </p:nvSpPr>
          <p:spPr>
            <a:xfrm>
              <a:off x="9064800" y="1991655"/>
              <a:ext cx="4609" cy="1336"/>
            </a:xfrm>
            <a:custGeom>
              <a:avLst/>
              <a:gdLst/>
              <a:ahLst/>
              <a:cxnLst/>
              <a:rect l="0" t="0" r="0" b="0"/>
              <a:pathLst>
                <a:path w="13665" h="3962">
                  <a:moveTo>
                    <a:pt x="0" y="3962"/>
                  </a:moveTo>
                  <a:cubicBezTo>
                    <a:pt x="4610" y="2731"/>
                    <a:pt x="9169" y="1626"/>
                    <a:pt x="13665" y="0"/>
                  </a:cubicBezTo>
                  <a:cubicBezTo>
                    <a:pt x="8978" y="1384"/>
                    <a:pt x="4508" y="2731"/>
                    <a:pt x="0" y="3962"/>
                  </a:cubicBezTo>
                </a:path>
              </a:pathLst>
            </a:custGeom>
            <a:solidFill>
              <a:srgbClr val="000000">
                <a:alpha val="100000"/>
              </a:srgb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uk-UA" sz="426"/>
            </a:p>
          </p:txBody>
        </p:sp>
        <p:pic>
          <p:nvPicPr>
            <p:cNvPr id="82" name="Picture 219">
              <a:extLst>
                <a:ext uri="{FF2B5EF4-FFF2-40B4-BE49-F238E27FC236}">
                  <a16:creationId xmlns:a16="http://schemas.microsoft.com/office/drawing/2014/main" id="{1919AC07-A028-2495-760F-2BFB2517AAAA}"/>
                </a:ext>
              </a:extLst>
            </p:cNvPr>
            <p:cNvPicPr/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058175" y="1988501"/>
              <a:ext cx="15518" cy="10255"/>
            </a:xfrm>
            <a:prstGeom prst="rect">
              <a:avLst/>
            </a:prstGeom>
            <a:noFill/>
          </p:spPr>
        </p:pic>
        <p:grpSp>
          <p:nvGrpSpPr>
            <p:cNvPr id="83" name="Групувати 82">
              <a:extLst>
                <a:ext uri="{FF2B5EF4-FFF2-40B4-BE49-F238E27FC236}">
                  <a16:creationId xmlns:a16="http://schemas.microsoft.com/office/drawing/2014/main" id="{46F52B07-A5E4-F9CA-A6E7-370B4964676E}"/>
                </a:ext>
              </a:extLst>
            </p:cNvPr>
            <p:cNvGrpSpPr/>
            <p:nvPr/>
          </p:nvGrpSpPr>
          <p:grpSpPr>
            <a:xfrm>
              <a:off x="8944864" y="1776832"/>
              <a:ext cx="207633" cy="206717"/>
              <a:chOff x="5192198" y="3302281"/>
              <a:chExt cx="207633" cy="206717"/>
            </a:xfrm>
          </p:grpSpPr>
          <p:sp>
            <p:nvSpPr>
              <p:cNvPr id="97" name="Freeform 220">
                <a:extLst>
                  <a:ext uri="{FF2B5EF4-FFF2-40B4-BE49-F238E27FC236}">
                    <a16:creationId xmlns:a16="http://schemas.microsoft.com/office/drawing/2014/main" id="{9ED71076-50F3-3F6C-86BE-99E8EF3A8FE4}"/>
                  </a:ext>
                </a:extLst>
              </p:cNvPr>
              <p:cNvSpPr/>
              <p:nvPr/>
            </p:nvSpPr>
            <p:spPr>
              <a:xfrm>
                <a:off x="5309209" y="3316368"/>
                <a:ext cx="90622" cy="178639"/>
              </a:xfrm>
              <a:custGeom>
                <a:avLst/>
                <a:gdLst/>
                <a:ahLst/>
                <a:cxnLst/>
                <a:rect l="0" t="0" r="0" b="0"/>
                <a:pathLst>
                  <a:path w="268693" h="529665">
                    <a:moveTo>
                      <a:pt x="249186" y="162356"/>
                    </a:moveTo>
                    <a:cubicBezTo>
                      <a:pt x="249490" y="162482"/>
                      <a:pt x="249770" y="162521"/>
                      <a:pt x="250049" y="162724"/>
                    </a:cubicBezTo>
                    <a:cubicBezTo>
                      <a:pt x="233972" y="106400"/>
                      <a:pt x="199834" y="59042"/>
                      <a:pt x="150126" y="24841"/>
                    </a:cubicBezTo>
                    <a:cubicBezTo>
                      <a:pt x="127165" y="9055"/>
                      <a:pt x="100622" y="0"/>
                      <a:pt x="77356" y="0"/>
                    </a:cubicBezTo>
                    <a:cubicBezTo>
                      <a:pt x="63970" y="0"/>
                      <a:pt x="51701" y="2844"/>
                      <a:pt x="41008" y="8661"/>
                    </a:cubicBezTo>
                    <a:cubicBezTo>
                      <a:pt x="13894" y="24498"/>
                      <a:pt x="0" y="46990"/>
                      <a:pt x="0" y="75565"/>
                    </a:cubicBezTo>
                    <a:cubicBezTo>
                      <a:pt x="0" y="122174"/>
                      <a:pt x="27051" y="149669"/>
                      <a:pt x="67932" y="191324"/>
                    </a:cubicBezTo>
                    <a:cubicBezTo>
                      <a:pt x="89205" y="213003"/>
                      <a:pt x="113068" y="237336"/>
                      <a:pt x="136474" y="268591"/>
                    </a:cubicBezTo>
                    <a:cubicBezTo>
                      <a:pt x="174879" y="319785"/>
                      <a:pt x="184366" y="391375"/>
                      <a:pt x="161239" y="455687"/>
                    </a:cubicBezTo>
                    <a:cubicBezTo>
                      <a:pt x="151143" y="483754"/>
                      <a:pt x="135737" y="508431"/>
                      <a:pt x="115798" y="528992"/>
                    </a:cubicBezTo>
                    <a:cubicBezTo>
                      <a:pt x="115519" y="529068"/>
                      <a:pt x="115468" y="529462"/>
                      <a:pt x="115214" y="529665"/>
                    </a:cubicBezTo>
                    <a:cubicBezTo>
                      <a:pt x="163931" y="502233"/>
                      <a:pt x="200685" y="463269"/>
                      <a:pt x="223342" y="414768"/>
                    </a:cubicBezTo>
                    <a:cubicBezTo>
                      <a:pt x="268693" y="317359"/>
                      <a:pt x="235026" y="249795"/>
                      <a:pt x="214922" y="209384"/>
                    </a:cubicBezTo>
                    <a:cubicBezTo>
                      <a:pt x="204610" y="188670"/>
                      <a:pt x="197193" y="173531"/>
                      <a:pt x="204711" y="162191"/>
                    </a:cubicBezTo>
                    <a:cubicBezTo>
                      <a:pt x="213411" y="149098"/>
                      <a:pt x="229451" y="148463"/>
                      <a:pt x="249186" y="162356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  <p:sp>
            <p:nvSpPr>
              <p:cNvPr id="98" name="Freeform 221">
                <a:extLst>
                  <a:ext uri="{FF2B5EF4-FFF2-40B4-BE49-F238E27FC236}">
                    <a16:creationId xmlns:a16="http://schemas.microsoft.com/office/drawing/2014/main" id="{36D10F8A-133E-B6D6-43AB-460D7E5ECA2C}"/>
                  </a:ext>
                </a:extLst>
              </p:cNvPr>
              <p:cNvSpPr/>
              <p:nvPr/>
            </p:nvSpPr>
            <p:spPr>
              <a:xfrm>
                <a:off x="5192198" y="3326401"/>
                <a:ext cx="131219" cy="179925"/>
              </a:xfrm>
              <a:custGeom>
                <a:avLst/>
                <a:gdLst/>
                <a:ahLst/>
                <a:cxnLst/>
                <a:rect l="0" t="0" r="0" b="0"/>
                <a:pathLst>
                  <a:path w="389064" h="533476">
                    <a:moveTo>
                      <a:pt x="374561" y="363639"/>
                    </a:moveTo>
                    <a:cubicBezTo>
                      <a:pt x="345733" y="318936"/>
                      <a:pt x="304800" y="303162"/>
                      <a:pt x="261519" y="286563"/>
                    </a:cubicBezTo>
                    <a:cubicBezTo>
                      <a:pt x="219050" y="270142"/>
                      <a:pt x="175095" y="253251"/>
                      <a:pt x="137757" y="209398"/>
                    </a:cubicBezTo>
                    <a:cubicBezTo>
                      <a:pt x="101156" y="166739"/>
                      <a:pt x="85764" y="111430"/>
                      <a:pt x="94044" y="53988"/>
                    </a:cubicBezTo>
                    <a:cubicBezTo>
                      <a:pt x="96635" y="36322"/>
                      <a:pt x="101651" y="19495"/>
                      <a:pt x="108243" y="3988"/>
                    </a:cubicBezTo>
                    <a:cubicBezTo>
                      <a:pt x="108509" y="3214"/>
                      <a:pt x="108801" y="2451"/>
                      <a:pt x="108827" y="2439"/>
                    </a:cubicBezTo>
                    <a:cubicBezTo>
                      <a:pt x="109182" y="1486"/>
                      <a:pt x="109386" y="788"/>
                      <a:pt x="109703" y="0"/>
                    </a:cubicBezTo>
                    <a:cubicBezTo>
                      <a:pt x="104902" y="3988"/>
                      <a:pt x="100559" y="8408"/>
                      <a:pt x="96063" y="12675"/>
                    </a:cubicBezTo>
                    <a:cubicBezTo>
                      <a:pt x="96139" y="12599"/>
                      <a:pt x="96241" y="12535"/>
                      <a:pt x="96330" y="12459"/>
                    </a:cubicBezTo>
                    <a:cubicBezTo>
                      <a:pt x="96241" y="12535"/>
                      <a:pt x="96139" y="12612"/>
                      <a:pt x="96063" y="12688"/>
                    </a:cubicBezTo>
                    <a:cubicBezTo>
                      <a:pt x="35345" y="69977"/>
                      <a:pt x="0" y="149556"/>
                      <a:pt x="0" y="234925"/>
                    </a:cubicBezTo>
                    <a:cubicBezTo>
                      <a:pt x="0" y="369468"/>
                      <a:pt x="90031" y="490258"/>
                      <a:pt x="218974" y="528586"/>
                    </a:cubicBezTo>
                    <a:cubicBezTo>
                      <a:pt x="231445" y="531837"/>
                      <a:pt x="244221" y="533476"/>
                      <a:pt x="256972" y="533476"/>
                    </a:cubicBezTo>
                    <a:cubicBezTo>
                      <a:pt x="300482" y="533476"/>
                      <a:pt x="339344" y="514349"/>
                      <a:pt x="363881" y="480910"/>
                    </a:cubicBezTo>
                    <a:cubicBezTo>
                      <a:pt x="376135" y="464070"/>
                      <a:pt x="383044" y="444995"/>
                      <a:pt x="385800" y="426034"/>
                    </a:cubicBezTo>
                    <a:cubicBezTo>
                      <a:pt x="389064" y="403453"/>
                      <a:pt x="385838" y="381190"/>
                      <a:pt x="374561" y="363639"/>
                    </a:cubicBezTo>
                  </a:path>
                </a:pathLst>
              </a:cu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 dirty="0"/>
              </a:p>
            </p:txBody>
          </p:sp>
          <p:sp>
            <p:nvSpPr>
              <p:cNvPr id="99" name="Freeform 222">
                <a:extLst>
                  <a:ext uri="{FF2B5EF4-FFF2-40B4-BE49-F238E27FC236}">
                    <a16:creationId xmlns:a16="http://schemas.microsoft.com/office/drawing/2014/main" id="{2F838CA2-A33A-BAFB-FD23-4924D44947B3}"/>
                  </a:ext>
                </a:extLst>
              </p:cNvPr>
              <p:cNvSpPr/>
              <p:nvPr/>
            </p:nvSpPr>
            <p:spPr>
              <a:xfrm>
                <a:off x="5231948" y="3302281"/>
                <a:ext cx="129163" cy="206717"/>
              </a:xfrm>
              <a:custGeom>
                <a:avLst/>
                <a:gdLst/>
                <a:ahLst/>
                <a:cxnLst/>
                <a:rect l="0" t="0" r="0" b="0"/>
                <a:pathLst>
                  <a:path w="382967" h="612914">
                    <a:moveTo>
                      <a:pt x="342366" y="327609"/>
                    </a:moveTo>
                    <a:cubicBezTo>
                      <a:pt x="320078" y="297904"/>
                      <a:pt x="296850" y="274142"/>
                      <a:pt x="276352" y="253340"/>
                    </a:cubicBezTo>
                    <a:cubicBezTo>
                      <a:pt x="233743" y="209868"/>
                      <a:pt x="200215" y="175692"/>
                      <a:pt x="200215" y="117323"/>
                    </a:cubicBezTo>
                    <a:cubicBezTo>
                      <a:pt x="200215" y="57811"/>
                      <a:pt x="243726" y="25121"/>
                      <a:pt x="284543" y="15316"/>
                    </a:cubicBezTo>
                    <a:cubicBezTo>
                      <a:pt x="282499" y="14656"/>
                      <a:pt x="280162" y="14313"/>
                      <a:pt x="278054" y="13742"/>
                    </a:cubicBezTo>
                    <a:cubicBezTo>
                      <a:pt x="249555" y="5157"/>
                      <a:pt x="218605" y="0"/>
                      <a:pt x="188531" y="0"/>
                    </a:cubicBezTo>
                    <a:cubicBezTo>
                      <a:pt x="138582" y="0"/>
                      <a:pt x="99174" y="10275"/>
                      <a:pt x="60719" y="33389"/>
                    </a:cubicBezTo>
                    <a:cubicBezTo>
                      <a:pt x="32842" y="50127"/>
                      <a:pt x="10960" y="87922"/>
                      <a:pt x="4864" y="129718"/>
                    </a:cubicBezTo>
                    <a:cubicBezTo>
                      <a:pt x="686" y="158141"/>
                      <a:pt x="0" y="213157"/>
                      <a:pt x="41846" y="262065"/>
                    </a:cubicBezTo>
                    <a:cubicBezTo>
                      <a:pt x="74536" y="300393"/>
                      <a:pt x="114948" y="316002"/>
                      <a:pt x="153987" y="331038"/>
                    </a:cubicBezTo>
                    <a:cubicBezTo>
                      <a:pt x="199809" y="348652"/>
                      <a:pt x="247002" y="366953"/>
                      <a:pt x="280975" y="419442"/>
                    </a:cubicBezTo>
                    <a:cubicBezTo>
                      <a:pt x="304025" y="455091"/>
                      <a:pt x="303886" y="505104"/>
                      <a:pt x="282499" y="547801"/>
                    </a:cubicBezTo>
                    <a:cubicBezTo>
                      <a:pt x="281102" y="550659"/>
                      <a:pt x="279552" y="553415"/>
                      <a:pt x="277952" y="556132"/>
                    </a:cubicBezTo>
                    <a:cubicBezTo>
                      <a:pt x="277520" y="556932"/>
                      <a:pt x="277038" y="557745"/>
                      <a:pt x="276581" y="558545"/>
                    </a:cubicBezTo>
                    <a:cubicBezTo>
                      <a:pt x="259715" y="585304"/>
                      <a:pt x="231902" y="606069"/>
                      <a:pt x="204165" y="612914"/>
                    </a:cubicBezTo>
                    <a:cubicBezTo>
                      <a:pt x="219011" y="610793"/>
                      <a:pt x="233401" y="607555"/>
                      <a:pt x="247307" y="602856"/>
                    </a:cubicBezTo>
                    <a:cubicBezTo>
                      <a:pt x="248679" y="602462"/>
                      <a:pt x="250038" y="602043"/>
                      <a:pt x="251435" y="601649"/>
                    </a:cubicBezTo>
                    <a:cubicBezTo>
                      <a:pt x="253213" y="601001"/>
                      <a:pt x="254864" y="600100"/>
                      <a:pt x="256603" y="599427"/>
                    </a:cubicBezTo>
                    <a:cubicBezTo>
                      <a:pt x="259804" y="598157"/>
                      <a:pt x="262979" y="596823"/>
                      <a:pt x="266103" y="595375"/>
                    </a:cubicBezTo>
                    <a:cubicBezTo>
                      <a:pt x="268084" y="594448"/>
                      <a:pt x="270091" y="593559"/>
                      <a:pt x="272110" y="592505"/>
                    </a:cubicBezTo>
                    <a:cubicBezTo>
                      <a:pt x="276936" y="590092"/>
                      <a:pt x="281686" y="587336"/>
                      <a:pt x="286334" y="584453"/>
                    </a:cubicBezTo>
                    <a:cubicBezTo>
                      <a:pt x="287007" y="584022"/>
                      <a:pt x="287642" y="583590"/>
                      <a:pt x="288252" y="583183"/>
                    </a:cubicBezTo>
                    <a:cubicBezTo>
                      <a:pt x="293408" y="579894"/>
                      <a:pt x="298386" y="576198"/>
                      <a:pt x="303301" y="572274"/>
                    </a:cubicBezTo>
                    <a:cubicBezTo>
                      <a:pt x="303695" y="571944"/>
                      <a:pt x="304101" y="571601"/>
                      <a:pt x="304495" y="571296"/>
                    </a:cubicBezTo>
                    <a:cubicBezTo>
                      <a:pt x="308991" y="567575"/>
                      <a:pt x="313398" y="563587"/>
                      <a:pt x="317716" y="559282"/>
                    </a:cubicBezTo>
                    <a:cubicBezTo>
                      <a:pt x="318795" y="558139"/>
                      <a:pt x="319900" y="556932"/>
                      <a:pt x="321018" y="555789"/>
                    </a:cubicBezTo>
                    <a:cubicBezTo>
                      <a:pt x="323939" y="552703"/>
                      <a:pt x="326796" y="549477"/>
                      <a:pt x="329565" y="546087"/>
                    </a:cubicBezTo>
                    <a:cubicBezTo>
                      <a:pt x="331787" y="543470"/>
                      <a:pt x="333832" y="540753"/>
                      <a:pt x="335877" y="538022"/>
                    </a:cubicBezTo>
                    <a:cubicBezTo>
                      <a:pt x="338036" y="535114"/>
                      <a:pt x="340182" y="532091"/>
                      <a:pt x="342265" y="529005"/>
                    </a:cubicBezTo>
                    <a:cubicBezTo>
                      <a:pt x="343255" y="527494"/>
                      <a:pt x="344283" y="526046"/>
                      <a:pt x="345210" y="524535"/>
                    </a:cubicBezTo>
                    <a:cubicBezTo>
                      <a:pt x="345502" y="524141"/>
                      <a:pt x="345782" y="523709"/>
                      <a:pt x="346087" y="523239"/>
                    </a:cubicBezTo>
                    <a:lnTo>
                      <a:pt x="346036" y="523062"/>
                    </a:lnTo>
                    <a:cubicBezTo>
                      <a:pt x="352792" y="511949"/>
                      <a:pt x="358609" y="500176"/>
                      <a:pt x="363092" y="487616"/>
                    </a:cubicBezTo>
                    <a:cubicBezTo>
                      <a:pt x="382967" y="432472"/>
                      <a:pt x="374992" y="371144"/>
                      <a:pt x="342366" y="327609"/>
                    </a:cubicBezTo>
                  </a:path>
                </a:pathLst>
              </a:custGeom>
              <a:solidFill>
                <a:srgbClr val="00A1DF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uk-UA" sz="426"/>
              </a:p>
            </p:txBody>
          </p:sp>
        </p:grpSp>
        <p:grpSp>
          <p:nvGrpSpPr>
            <p:cNvPr id="84" name="Групувати 83">
              <a:extLst>
                <a:ext uri="{FF2B5EF4-FFF2-40B4-BE49-F238E27FC236}">
                  <a16:creationId xmlns:a16="http://schemas.microsoft.com/office/drawing/2014/main" id="{9698D996-55AD-B111-79FF-53EF430B9678}"/>
                </a:ext>
              </a:extLst>
            </p:cNvPr>
            <p:cNvGrpSpPr/>
            <p:nvPr/>
          </p:nvGrpSpPr>
          <p:grpSpPr>
            <a:xfrm>
              <a:off x="9192478" y="1930875"/>
              <a:ext cx="575419" cy="50379"/>
              <a:chOff x="4220435" y="3738620"/>
              <a:chExt cx="575419" cy="50379"/>
            </a:xfrm>
          </p:grpSpPr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3FF13F91-3A36-D503-8471-6BE71B361145}"/>
                  </a:ext>
                </a:extLst>
              </p:cNvPr>
              <p:cNvSpPr txBox="1"/>
              <p:nvPr/>
            </p:nvSpPr>
            <p:spPr>
              <a:xfrm>
                <a:off x="4600817" y="3741001"/>
                <a:ext cx="29929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29929" h="47998">
                    <a:moveTo>
                      <a:pt x="15198" y="0"/>
                    </a:moveTo>
                    <a:cubicBezTo>
                      <a:pt x="17931" y="19"/>
                      <a:pt x="20418" y="463"/>
                      <a:pt x="22659" y="1331"/>
                    </a:cubicBezTo>
                    <a:cubicBezTo>
                      <a:pt x="24899" y="2200"/>
                      <a:pt x="26701" y="3376"/>
                      <a:pt x="28065" y="4860"/>
                    </a:cubicBezTo>
                    <a:lnTo>
                      <a:pt x="25002" y="9127"/>
                    </a:lnTo>
                    <a:cubicBezTo>
                      <a:pt x="23783" y="7889"/>
                      <a:pt x="22405" y="6947"/>
                      <a:pt x="20868" y="6301"/>
                    </a:cubicBezTo>
                    <a:cubicBezTo>
                      <a:pt x="19331" y="5655"/>
                      <a:pt x="17552" y="5330"/>
                      <a:pt x="15531" y="5326"/>
                    </a:cubicBezTo>
                    <a:cubicBezTo>
                      <a:pt x="12905" y="5353"/>
                      <a:pt x="10853" y="5981"/>
                      <a:pt x="9377" y="7210"/>
                    </a:cubicBezTo>
                    <a:cubicBezTo>
                      <a:pt x="7902" y="8438"/>
                      <a:pt x="7151" y="10099"/>
                      <a:pt x="7126" y="12195"/>
                    </a:cubicBezTo>
                    <a:cubicBezTo>
                      <a:pt x="7187" y="14454"/>
                      <a:pt x="7977" y="16223"/>
                      <a:pt x="9498" y="17502"/>
                    </a:cubicBezTo>
                    <a:cubicBezTo>
                      <a:pt x="11018" y="18780"/>
                      <a:pt x="12903" y="19858"/>
                      <a:pt x="15153" y="20734"/>
                    </a:cubicBezTo>
                    <a:cubicBezTo>
                      <a:pt x="17403" y="21611"/>
                      <a:pt x="19652" y="22575"/>
                      <a:pt x="21902" y="23627"/>
                    </a:cubicBezTo>
                    <a:cubicBezTo>
                      <a:pt x="24152" y="24680"/>
                      <a:pt x="26037" y="26110"/>
                      <a:pt x="27557" y="27916"/>
                    </a:cubicBezTo>
                    <a:cubicBezTo>
                      <a:pt x="29078" y="29723"/>
                      <a:pt x="29868" y="32197"/>
                      <a:pt x="29929" y="35336"/>
                    </a:cubicBezTo>
                    <a:cubicBezTo>
                      <a:pt x="29825" y="39219"/>
                      <a:pt x="28351" y="42288"/>
                      <a:pt x="25507" y="44543"/>
                    </a:cubicBezTo>
                    <a:cubicBezTo>
                      <a:pt x="22663" y="46798"/>
                      <a:pt x="19071" y="47949"/>
                      <a:pt x="14731" y="47998"/>
                    </a:cubicBezTo>
                    <a:cubicBezTo>
                      <a:pt x="11753" y="47981"/>
                      <a:pt x="8872" y="47365"/>
                      <a:pt x="6089" y="46150"/>
                    </a:cubicBezTo>
                    <a:cubicBezTo>
                      <a:pt x="3305" y="44935"/>
                      <a:pt x="1276" y="43220"/>
                      <a:pt x="0" y="41005"/>
                    </a:cubicBezTo>
                    <a:lnTo>
                      <a:pt x="3264" y="37137"/>
                    </a:lnTo>
                    <a:cubicBezTo>
                      <a:pt x="4693" y="38943"/>
                      <a:pt x="6465" y="40316"/>
                      <a:pt x="8579" y="41255"/>
                    </a:cubicBezTo>
                    <a:cubicBezTo>
                      <a:pt x="10693" y="42194"/>
                      <a:pt x="12766" y="42666"/>
                      <a:pt x="14798" y="42672"/>
                    </a:cubicBezTo>
                    <a:cubicBezTo>
                      <a:pt x="17309" y="42665"/>
                      <a:pt x="19441" y="42045"/>
                      <a:pt x="21193" y="40813"/>
                    </a:cubicBezTo>
                    <a:cubicBezTo>
                      <a:pt x="22946" y="39581"/>
                      <a:pt x="23860" y="37777"/>
                      <a:pt x="23936" y="35403"/>
                    </a:cubicBezTo>
                    <a:cubicBezTo>
                      <a:pt x="23876" y="33168"/>
                      <a:pt x="23085" y="31398"/>
                      <a:pt x="21565" y="30095"/>
                    </a:cubicBezTo>
                    <a:cubicBezTo>
                      <a:pt x="20045" y="28792"/>
                      <a:pt x="18160" y="27681"/>
                      <a:pt x="15910" y="26763"/>
                    </a:cubicBezTo>
                    <a:cubicBezTo>
                      <a:pt x="13660" y="25844"/>
                      <a:pt x="11410" y="24845"/>
                      <a:pt x="9160" y="23763"/>
                    </a:cubicBezTo>
                    <a:cubicBezTo>
                      <a:pt x="6910" y="22682"/>
                      <a:pt x="5025" y="21246"/>
                      <a:pt x="3505" y="19455"/>
                    </a:cubicBezTo>
                    <a:cubicBezTo>
                      <a:pt x="1985" y="17663"/>
                      <a:pt x="1194" y="15243"/>
                      <a:pt x="1134" y="12195"/>
                    </a:cubicBezTo>
                    <a:cubicBezTo>
                      <a:pt x="1165" y="8740"/>
                      <a:pt x="2400" y="5865"/>
                      <a:pt x="4839" y="3571"/>
                    </a:cubicBezTo>
                    <a:cubicBezTo>
                      <a:pt x="7278" y="1278"/>
                      <a:pt x="10731" y="87"/>
                      <a:pt x="1519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115A0B80-784D-EE8F-D14F-6F387AB61EE5}"/>
                  </a:ext>
                </a:extLst>
              </p:cNvPr>
              <p:cNvSpPr txBox="1"/>
              <p:nvPr/>
            </p:nvSpPr>
            <p:spPr>
              <a:xfrm>
                <a:off x="4646060" y="3741001"/>
                <a:ext cx="41130" cy="47998"/>
              </a:xfrm>
              <a:custGeom>
                <a:avLst/>
                <a:gdLst/>
                <a:ahLst/>
                <a:cxnLst/>
                <a:rect l="l" t="t" r="r" b="b"/>
                <a:pathLst>
                  <a:path w="41130" h="47998">
                    <a:moveTo>
                      <a:pt x="22933" y="0"/>
                    </a:moveTo>
                    <a:cubicBezTo>
                      <a:pt x="26078" y="1"/>
                      <a:pt x="28840" y="381"/>
                      <a:pt x="31219" y="1140"/>
                    </a:cubicBezTo>
                    <a:cubicBezTo>
                      <a:pt x="33597" y="1899"/>
                      <a:pt x="35725" y="3028"/>
                      <a:pt x="37602" y="4527"/>
                    </a:cubicBezTo>
                    <a:lnTo>
                      <a:pt x="35138" y="9061"/>
                    </a:lnTo>
                    <a:cubicBezTo>
                      <a:pt x="33740" y="7826"/>
                      <a:pt x="32033" y="6895"/>
                      <a:pt x="30019" y="6268"/>
                    </a:cubicBezTo>
                    <a:cubicBezTo>
                      <a:pt x="28004" y="5641"/>
                      <a:pt x="25864" y="5327"/>
                      <a:pt x="23600" y="5326"/>
                    </a:cubicBezTo>
                    <a:cubicBezTo>
                      <a:pt x="18314" y="5399"/>
                      <a:pt x="14079" y="7103"/>
                      <a:pt x="10895" y="10437"/>
                    </a:cubicBezTo>
                    <a:cubicBezTo>
                      <a:pt x="7710" y="13771"/>
                      <a:pt x="6076" y="18293"/>
                      <a:pt x="5993" y="24002"/>
                    </a:cubicBezTo>
                    <a:cubicBezTo>
                      <a:pt x="6072" y="29738"/>
                      <a:pt x="7714" y="34266"/>
                      <a:pt x="10920" y="37586"/>
                    </a:cubicBezTo>
                    <a:cubicBezTo>
                      <a:pt x="14125" y="40907"/>
                      <a:pt x="18418" y="42602"/>
                      <a:pt x="23800" y="42672"/>
                    </a:cubicBezTo>
                    <a:cubicBezTo>
                      <a:pt x="26071" y="42650"/>
                      <a:pt x="28314" y="42261"/>
                      <a:pt x="30527" y="41505"/>
                    </a:cubicBezTo>
                    <a:cubicBezTo>
                      <a:pt x="32741" y="40748"/>
                      <a:pt x="34500" y="39759"/>
                      <a:pt x="35805" y="38536"/>
                    </a:cubicBezTo>
                    <a:lnTo>
                      <a:pt x="35805" y="28929"/>
                    </a:lnTo>
                    <a:lnTo>
                      <a:pt x="23199" y="28929"/>
                    </a:lnTo>
                    <a:lnTo>
                      <a:pt x="23199" y="23603"/>
                    </a:lnTo>
                    <a:lnTo>
                      <a:pt x="41130" y="23603"/>
                    </a:lnTo>
                    <a:lnTo>
                      <a:pt x="41130" y="41538"/>
                    </a:lnTo>
                    <a:cubicBezTo>
                      <a:pt x="38960" y="43614"/>
                      <a:pt x="36258" y="45207"/>
                      <a:pt x="33026" y="46316"/>
                    </a:cubicBezTo>
                    <a:cubicBezTo>
                      <a:pt x="29795" y="47426"/>
                      <a:pt x="26675" y="47987"/>
                      <a:pt x="23666" y="47998"/>
                    </a:cubicBezTo>
                    <a:cubicBezTo>
                      <a:pt x="16319" y="47906"/>
                      <a:pt x="10558" y="45724"/>
                      <a:pt x="6381" y="41450"/>
                    </a:cubicBezTo>
                    <a:cubicBezTo>
                      <a:pt x="2204" y="37176"/>
                      <a:pt x="78" y="31361"/>
                      <a:pt x="0" y="24002"/>
                    </a:cubicBezTo>
                    <a:cubicBezTo>
                      <a:pt x="25" y="19485"/>
                      <a:pt x="974" y="15425"/>
                      <a:pt x="2848" y="11821"/>
                    </a:cubicBezTo>
                    <a:cubicBezTo>
                      <a:pt x="4722" y="8217"/>
                      <a:pt x="7370" y="5358"/>
                      <a:pt x="10792" y="3244"/>
                    </a:cubicBezTo>
                    <a:cubicBezTo>
                      <a:pt x="14215" y="1129"/>
                      <a:pt x="18261" y="48"/>
                      <a:pt x="22933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AEEA0C73-9FE8-3FF3-DE37-008E3ED8611E}"/>
                  </a:ext>
                </a:extLst>
              </p:cNvPr>
              <p:cNvSpPr txBox="1"/>
              <p:nvPr/>
            </p:nvSpPr>
            <p:spPr>
              <a:xfrm>
                <a:off x="4479416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70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70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7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386CA262-6E53-9CBE-0759-AFF6A8CCA2CD}"/>
                  </a:ext>
                </a:extLst>
              </p:cNvPr>
              <p:cNvSpPr txBox="1"/>
              <p:nvPr/>
            </p:nvSpPr>
            <p:spPr>
              <a:xfrm>
                <a:off x="4700872" y="3741001"/>
                <a:ext cx="45006" cy="46931"/>
              </a:xfrm>
              <a:custGeom>
                <a:avLst/>
                <a:gdLst/>
                <a:ahLst/>
                <a:cxnLst/>
                <a:rect l="l" t="t" r="r" b="b"/>
                <a:pathLst>
                  <a:path w="45006" h="46931">
                    <a:moveTo>
                      <a:pt x="20069" y="0"/>
                    </a:moveTo>
                    <a:lnTo>
                      <a:pt x="24937" y="0"/>
                    </a:lnTo>
                    <a:lnTo>
                      <a:pt x="45006" y="46931"/>
                    </a:lnTo>
                    <a:lnTo>
                      <a:pt x="38939" y="46931"/>
                    </a:lnTo>
                    <a:lnTo>
                      <a:pt x="32938" y="32796"/>
                    </a:lnTo>
                    <a:lnTo>
                      <a:pt x="11668" y="32796"/>
                    </a:lnTo>
                    <a:lnTo>
                      <a:pt x="5734" y="46931"/>
                    </a:lnTo>
                    <a:lnTo>
                      <a:pt x="0" y="46931"/>
                    </a:lnTo>
                    <a:lnTo>
                      <a:pt x="20069" y="0"/>
                    </a:lnTo>
                    <a:close/>
                    <a:moveTo>
                      <a:pt x="22336" y="7534"/>
                    </a:moveTo>
                    <a:lnTo>
                      <a:pt x="13935" y="27470"/>
                    </a:lnTo>
                    <a:lnTo>
                      <a:pt x="30738" y="27470"/>
                    </a:lnTo>
                    <a:lnTo>
                      <a:pt x="22336" y="75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5DB481D7-A20F-3771-921D-AB368ABF26F7}"/>
                  </a:ext>
                </a:extLst>
              </p:cNvPr>
              <p:cNvSpPr txBox="1"/>
              <p:nvPr/>
            </p:nvSpPr>
            <p:spPr>
              <a:xfrm>
                <a:off x="4330639" y="3738620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60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9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16EFDD0-BDD0-4356-D5EB-843DE8534EBD}"/>
                  </a:ext>
                </a:extLst>
              </p:cNvPr>
              <p:cNvSpPr txBox="1"/>
              <p:nvPr/>
            </p:nvSpPr>
            <p:spPr>
              <a:xfrm>
                <a:off x="4428271" y="3741001"/>
                <a:ext cx="34530" cy="46798"/>
              </a:xfrm>
              <a:custGeom>
                <a:avLst/>
                <a:gdLst/>
                <a:ahLst/>
                <a:cxnLst/>
                <a:rect l="l" t="t" r="r" b="b"/>
                <a:pathLst>
                  <a:path w="34530" h="46798">
                    <a:moveTo>
                      <a:pt x="12530" y="0"/>
                    </a:moveTo>
                    <a:cubicBezTo>
                      <a:pt x="18794" y="107"/>
                      <a:pt x="23153" y="1475"/>
                      <a:pt x="25606" y="4106"/>
                    </a:cubicBezTo>
                    <a:cubicBezTo>
                      <a:pt x="28059" y="6736"/>
                      <a:pt x="29233" y="9989"/>
                      <a:pt x="29129" y="13865"/>
                    </a:cubicBezTo>
                    <a:cubicBezTo>
                      <a:pt x="29028" y="17512"/>
                      <a:pt x="27982" y="20455"/>
                      <a:pt x="25990" y="22692"/>
                    </a:cubicBezTo>
                    <a:cubicBezTo>
                      <a:pt x="23999" y="24928"/>
                      <a:pt x="21669" y="26386"/>
                      <a:pt x="19001" y="27064"/>
                    </a:cubicBezTo>
                    <a:lnTo>
                      <a:pt x="34530" y="46798"/>
                    </a:lnTo>
                    <a:lnTo>
                      <a:pt x="27598" y="46798"/>
                    </a:lnTo>
                    <a:lnTo>
                      <a:pt x="13264" y="28129"/>
                    </a:lnTo>
                    <a:lnTo>
                      <a:pt x="5659" y="28129"/>
                    </a:lnTo>
                    <a:lnTo>
                      <a:pt x="5659" y="46798"/>
                    </a:lnTo>
                    <a:lnTo>
                      <a:pt x="0" y="46798"/>
                    </a:lnTo>
                    <a:lnTo>
                      <a:pt x="0" y="134"/>
                    </a:lnTo>
                    <a:cubicBezTo>
                      <a:pt x="948" y="132"/>
                      <a:pt x="2316" y="120"/>
                      <a:pt x="4106" y="99"/>
                    </a:cubicBezTo>
                    <a:cubicBezTo>
                      <a:pt x="5896" y="78"/>
                      <a:pt x="7616" y="56"/>
                      <a:pt x="9266" y="35"/>
                    </a:cubicBezTo>
                    <a:cubicBezTo>
                      <a:pt x="10915" y="14"/>
                      <a:pt x="12003" y="2"/>
                      <a:pt x="12530" y="0"/>
                    </a:cubicBezTo>
                    <a:close/>
                    <a:moveTo>
                      <a:pt x="12197" y="5326"/>
                    </a:moveTo>
                    <a:cubicBezTo>
                      <a:pt x="11420" y="5328"/>
                      <a:pt x="10422" y="5341"/>
                      <a:pt x="9203" y="5368"/>
                    </a:cubicBezTo>
                    <a:cubicBezTo>
                      <a:pt x="7984" y="5394"/>
                      <a:pt x="6803" y="5425"/>
                      <a:pt x="5659" y="5460"/>
                    </a:cubicBezTo>
                    <a:lnTo>
                      <a:pt x="5659" y="22803"/>
                    </a:lnTo>
                    <a:lnTo>
                      <a:pt x="12530" y="22803"/>
                    </a:lnTo>
                    <a:cubicBezTo>
                      <a:pt x="15336" y="22780"/>
                      <a:pt x="17779" y="21993"/>
                      <a:pt x="19859" y="20444"/>
                    </a:cubicBezTo>
                    <a:cubicBezTo>
                      <a:pt x="21940" y="18894"/>
                      <a:pt x="23032" y="16723"/>
                      <a:pt x="23137" y="13931"/>
                    </a:cubicBezTo>
                    <a:cubicBezTo>
                      <a:pt x="23198" y="11472"/>
                      <a:pt x="22408" y="9437"/>
                      <a:pt x="20768" y="7828"/>
                    </a:cubicBezTo>
                    <a:cubicBezTo>
                      <a:pt x="19128" y="6218"/>
                      <a:pt x="16271" y="5384"/>
                      <a:pt x="12197" y="5326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64BE4C92-63F9-8393-E8A2-18E7CC78EA58}"/>
                  </a:ext>
                </a:extLst>
              </p:cNvPr>
              <p:cNvSpPr txBox="1"/>
              <p:nvPr/>
            </p:nvSpPr>
            <p:spPr>
              <a:xfrm>
                <a:off x="4220435" y="3738620"/>
                <a:ext cx="37396" cy="47264"/>
              </a:xfrm>
              <a:custGeom>
                <a:avLst/>
                <a:gdLst/>
                <a:ahLst/>
                <a:cxnLst/>
                <a:rect l="l" t="t" r="r" b="b"/>
                <a:pathLst>
                  <a:path w="37396" h="472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25670"/>
                    </a:lnTo>
                    <a:cubicBezTo>
                      <a:pt x="5682" y="30781"/>
                      <a:pt x="6869" y="34760"/>
                      <a:pt x="9219" y="37604"/>
                    </a:cubicBezTo>
                    <a:cubicBezTo>
                      <a:pt x="11568" y="40449"/>
                      <a:pt x="14939" y="41894"/>
                      <a:pt x="19331" y="41938"/>
                    </a:cubicBezTo>
                    <a:cubicBezTo>
                      <a:pt x="23204" y="41940"/>
                      <a:pt x="26230" y="40620"/>
                      <a:pt x="28410" y="37980"/>
                    </a:cubicBezTo>
                    <a:cubicBezTo>
                      <a:pt x="30591" y="35339"/>
                      <a:pt x="31699" y="31369"/>
                      <a:pt x="31737" y="26070"/>
                    </a:cubicBezTo>
                    <a:lnTo>
                      <a:pt x="31737" y="0"/>
                    </a:lnTo>
                    <a:lnTo>
                      <a:pt x="37396" y="0"/>
                    </a:lnTo>
                    <a:lnTo>
                      <a:pt x="37396" y="27203"/>
                    </a:lnTo>
                    <a:cubicBezTo>
                      <a:pt x="37349" y="31943"/>
                      <a:pt x="36495" y="35790"/>
                      <a:pt x="34832" y="38746"/>
                    </a:cubicBezTo>
                    <a:cubicBezTo>
                      <a:pt x="33169" y="41701"/>
                      <a:pt x="30976" y="43864"/>
                      <a:pt x="28254" y="45234"/>
                    </a:cubicBezTo>
                    <a:cubicBezTo>
                      <a:pt x="25531" y="46604"/>
                      <a:pt x="22557" y="47281"/>
                      <a:pt x="19331" y="47264"/>
                    </a:cubicBezTo>
                    <a:cubicBezTo>
                      <a:pt x="13624" y="47263"/>
                      <a:pt x="9001" y="45550"/>
                      <a:pt x="5464" y="42126"/>
                    </a:cubicBezTo>
                    <a:cubicBezTo>
                      <a:pt x="1926" y="38702"/>
                      <a:pt x="105" y="33572"/>
                      <a:pt x="0" y="2673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C579E00B-E4A6-D896-0B1A-4A89A48D94EE}"/>
                  </a:ext>
                </a:extLst>
              </p:cNvPr>
              <p:cNvSpPr txBox="1"/>
              <p:nvPr/>
            </p:nvSpPr>
            <p:spPr>
              <a:xfrm>
                <a:off x="4278251" y="3738620"/>
                <a:ext cx="5659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5659" h="46664">
                    <a:moveTo>
                      <a:pt x="0" y="0"/>
                    </a:moveTo>
                    <a:lnTo>
                      <a:pt x="5659" y="0"/>
                    </a:lnTo>
                    <a:lnTo>
                      <a:pt x="5659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B68462A9-6B77-6D81-073C-59C120C98F1C}"/>
                  </a:ext>
                </a:extLst>
              </p:cNvPr>
              <p:cNvSpPr txBox="1"/>
              <p:nvPr/>
            </p:nvSpPr>
            <p:spPr>
              <a:xfrm>
                <a:off x="4285044" y="3738620"/>
                <a:ext cx="28403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28403" h="46664">
                    <a:moveTo>
                      <a:pt x="20469" y="0"/>
                    </a:moveTo>
                    <a:lnTo>
                      <a:pt x="27337" y="0"/>
                    </a:lnTo>
                    <a:lnTo>
                      <a:pt x="6534" y="21932"/>
                    </a:lnTo>
                    <a:lnTo>
                      <a:pt x="28403" y="46664"/>
                    </a:lnTo>
                    <a:lnTo>
                      <a:pt x="21136" y="46664"/>
                    </a:lnTo>
                    <a:lnTo>
                      <a:pt x="0" y="22332"/>
                    </a:lnTo>
                    <a:lnTo>
                      <a:pt x="20469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863ECFAF-68DD-D144-F653-2EF1779D6275}"/>
                  </a:ext>
                </a:extLst>
              </p:cNvPr>
              <p:cNvSpPr txBox="1"/>
              <p:nvPr/>
            </p:nvSpPr>
            <p:spPr>
              <a:xfrm>
                <a:off x="4374312" y="3741001"/>
                <a:ext cx="38330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330" h="46664">
                    <a:moveTo>
                      <a:pt x="0" y="0"/>
                    </a:moveTo>
                    <a:lnTo>
                      <a:pt x="38330" y="0"/>
                    </a:lnTo>
                    <a:lnTo>
                      <a:pt x="38330" y="5325"/>
                    </a:lnTo>
                    <a:lnTo>
                      <a:pt x="21995" y="5325"/>
                    </a:lnTo>
                    <a:lnTo>
                      <a:pt x="21995" y="46664"/>
                    </a:lnTo>
                    <a:lnTo>
                      <a:pt x="16336" y="46664"/>
                    </a:lnTo>
                    <a:lnTo>
                      <a:pt x="16336" y="5325"/>
                    </a:lnTo>
                    <a:lnTo>
                      <a:pt x="0" y="532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4AC817C4-07C2-7D20-61E0-793B3CFBB347}"/>
                  </a:ext>
                </a:extLst>
              </p:cNvPr>
              <p:cNvSpPr txBox="1"/>
              <p:nvPr/>
            </p:nvSpPr>
            <p:spPr>
              <a:xfrm>
                <a:off x="4542571" y="3741001"/>
                <a:ext cx="38997" cy="46664"/>
              </a:xfrm>
              <a:custGeom>
                <a:avLst/>
                <a:gdLst/>
                <a:ahLst/>
                <a:cxnLst/>
                <a:rect l="l" t="t" r="r" b="b"/>
                <a:pathLst>
                  <a:path w="38997" h="46664">
                    <a:moveTo>
                      <a:pt x="0" y="0"/>
                    </a:moveTo>
                    <a:lnTo>
                      <a:pt x="4527" y="0"/>
                    </a:lnTo>
                    <a:lnTo>
                      <a:pt x="33671" y="36798"/>
                    </a:lnTo>
                    <a:lnTo>
                      <a:pt x="33671" y="0"/>
                    </a:lnTo>
                    <a:lnTo>
                      <a:pt x="38997" y="0"/>
                    </a:lnTo>
                    <a:lnTo>
                      <a:pt x="38997" y="46664"/>
                    </a:lnTo>
                    <a:lnTo>
                      <a:pt x="34470" y="46664"/>
                    </a:lnTo>
                    <a:lnTo>
                      <a:pt x="5326" y="9999"/>
                    </a:lnTo>
                    <a:lnTo>
                      <a:pt x="5326" y="46664"/>
                    </a:lnTo>
                    <a:lnTo>
                      <a:pt x="0" y="4666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spc="32" dirty="0">
                  <a:latin typeface="Circe" panose="020B0502020203020203" pitchFamily="34" charset="-52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8425A66-C14D-3706-FB9F-C8E17CDB4B99}"/>
                  </a:ext>
                </a:extLst>
              </p:cNvPr>
              <p:cNvSpPr txBox="1"/>
              <p:nvPr/>
            </p:nvSpPr>
            <p:spPr>
              <a:xfrm>
                <a:off x="4758121" y="3741001"/>
                <a:ext cx="37733" cy="47727"/>
              </a:xfrm>
              <a:custGeom>
                <a:avLst/>
                <a:gdLst/>
                <a:ahLst/>
                <a:cxnLst/>
                <a:rect l="l" t="t" r="r" b="b"/>
                <a:pathLst>
                  <a:path w="37733" h="47727">
                    <a:moveTo>
                      <a:pt x="2767" y="0"/>
                    </a:moveTo>
                    <a:lnTo>
                      <a:pt x="36951" y="0"/>
                    </a:lnTo>
                    <a:lnTo>
                      <a:pt x="36951" y="5632"/>
                    </a:lnTo>
                    <a:lnTo>
                      <a:pt x="10158" y="38742"/>
                    </a:lnTo>
                    <a:lnTo>
                      <a:pt x="7260" y="42095"/>
                    </a:lnTo>
                    <a:lnTo>
                      <a:pt x="37733" y="42095"/>
                    </a:lnTo>
                    <a:lnTo>
                      <a:pt x="37733" y="47727"/>
                    </a:lnTo>
                    <a:lnTo>
                      <a:pt x="0" y="47727"/>
                    </a:lnTo>
                    <a:lnTo>
                      <a:pt x="0" y="41867"/>
                    </a:lnTo>
                    <a:lnTo>
                      <a:pt x="24450" y="11297"/>
                    </a:lnTo>
                    <a:cubicBezTo>
                      <a:pt x="26186" y="9126"/>
                      <a:pt x="27836" y="7238"/>
                      <a:pt x="29398" y="5632"/>
                    </a:cubicBezTo>
                    <a:lnTo>
                      <a:pt x="2767" y="5632"/>
                    </a:lnTo>
                    <a:lnTo>
                      <a:pt x="276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41476" tIns="20738" rIns="41476" bIns="2073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uk-UA" sz="227" dirty="0"/>
              </a:p>
            </p:txBody>
          </p:sp>
        </p:grpSp>
      </p:grpSp>
      <p:pic>
        <p:nvPicPr>
          <p:cNvPr id="54" name="Picture 4">
            <a:extLst>
              <a:ext uri="{FF2B5EF4-FFF2-40B4-BE49-F238E27FC236}">
                <a16:creationId xmlns:a16="http://schemas.microsoft.com/office/drawing/2014/main" id="{EDB7B134-66DE-7425-1417-BC0C7D734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906" y="6371465"/>
            <a:ext cx="1111584" cy="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">
            <a:extLst>
              <a:ext uri="{FF2B5EF4-FFF2-40B4-BE49-F238E27FC236}">
                <a16:creationId xmlns:a16="http://schemas.microsoft.com/office/drawing/2014/main" id="{5A9BF73D-D959-7236-785F-1C38444667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772" y="6329590"/>
            <a:ext cx="779235" cy="43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Рисунок 56" descr="Зображення, що містить Графіка, Шрифт, логотип, графічний дизайн&#10;&#10;Автоматично згенерований опис">
            <a:extLst>
              <a:ext uri="{FF2B5EF4-FFF2-40B4-BE49-F238E27FC236}">
                <a16:creationId xmlns:a16="http://schemas.microsoft.com/office/drawing/2014/main" id="{21922416-EADC-6200-9EEE-3A1A1EFA2FA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4" t="11834" r="27329" b="19221"/>
          <a:stretch/>
        </p:blipFill>
        <p:spPr>
          <a:xfrm>
            <a:off x="-23207" y="6204513"/>
            <a:ext cx="791540" cy="567031"/>
          </a:xfrm>
          <a:prstGeom prst="rect">
            <a:avLst/>
          </a:prstGeom>
        </p:spPr>
      </p:pic>
      <p:pic>
        <p:nvPicPr>
          <p:cNvPr id="58" name="Picture 2" descr="Переглянути вихідне зображення">
            <a:extLst>
              <a:ext uri="{FF2B5EF4-FFF2-40B4-BE49-F238E27FC236}">
                <a16:creationId xmlns:a16="http://schemas.microsoft.com/office/drawing/2014/main" id="{CD7A4137-F12C-604E-C6AB-5250551AE7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3903" y="6371465"/>
            <a:ext cx="804225" cy="349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69EAC700-7524-8CB5-2C46-B20D34EA9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5883" y="6407036"/>
            <a:ext cx="1821934" cy="278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6">
            <a:extLst>
              <a:ext uri="{FF2B5EF4-FFF2-40B4-BE49-F238E27FC236}">
                <a16:creationId xmlns:a16="http://schemas.microsoft.com/office/drawing/2014/main" id="{11D29C5C-23E3-B173-B92A-A0DD87835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32" y="6448227"/>
            <a:ext cx="714099" cy="195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" name="Групувати 61">
            <a:extLst>
              <a:ext uri="{FF2B5EF4-FFF2-40B4-BE49-F238E27FC236}">
                <a16:creationId xmlns:a16="http://schemas.microsoft.com/office/drawing/2014/main" id="{67C9CFDD-E345-93E6-B239-47F8857322F8}"/>
              </a:ext>
            </a:extLst>
          </p:cNvPr>
          <p:cNvGrpSpPr/>
          <p:nvPr/>
        </p:nvGrpSpPr>
        <p:grpSpPr>
          <a:xfrm>
            <a:off x="1672540" y="6462994"/>
            <a:ext cx="1399561" cy="161780"/>
            <a:chOff x="12320692" y="9826360"/>
            <a:chExt cx="6284076" cy="746390"/>
          </a:xfrm>
        </p:grpSpPr>
        <p:sp>
          <p:nvSpPr>
            <p:cNvPr id="63" name="Прямокутник 62">
              <a:extLst>
                <a:ext uri="{FF2B5EF4-FFF2-40B4-BE49-F238E27FC236}">
                  <a16:creationId xmlns:a16="http://schemas.microsoft.com/office/drawing/2014/main" id="{1B9E6344-7F11-8680-EE4E-183A4C3F2566}"/>
                </a:ext>
              </a:extLst>
            </p:cNvPr>
            <p:cNvSpPr/>
            <p:nvPr/>
          </p:nvSpPr>
          <p:spPr>
            <a:xfrm>
              <a:off x="12320692" y="9847758"/>
              <a:ext cx="701180" cy="701180"/>
            </a:xfrm>
            <a:prstGeom prst="rect">
              <a:avLst/>
            </a:prstGeom>
            <a:solidFill>
              <a:srgbClr val="FFCC0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816"/>
            </a:p>
          </p:txBody>
        </p:sp>
        <p:grpSp>
          <p:nvGrpSpPr>
            <p:cNvPr id="64" name="Групувати 63">
              <a:extLst>
                <a:ext uri="{FF2B5EF4-FFF2-40B4-BE49-F238E27FC236}">
                  <a16:creationId xmlns:a16="http://schemas.microsoft.com/office/drawing/2014/main" id="{7B38C6C3-7AD6-BA8F-A8E1-422C394066E8}"/>
                </a:ext>
              </a:extLst>
            </p:cNvPr>
            <p:cNvGrpSpPr/>
            <p:nvPr/>
          </p:nvGrpSpPr>
          <p:grpSpPr>
            <a:xfrm>
              <a:off x="13235965" y="9826360"/>
              <a:ext cx="5368803" cy="746390"/>
              <a:chOff x="13235965" y="9826360"/>
              <a:chExt cx="5368803" cy="746390"/>
            </a:xfrm>
          </p:grpSpPr>
          <p:sp>
            <p:nvSpPr>
              <p:cNvPr id="65" name="Полілінія: фігура 64">
                <a:extLst>
                  <a:ext uri="{FF2B5EF4-FFF2-40B4-BE49-F238E27FC236}">
                    <a16:creationId xmlns:a16="http://schemas.microsoft.com/office/drawing/2014/main" id="{5397E297-09F1-BC49-BCF5-9DE9BA186C40}"/>
                  </a:ext>
                </a:extLst>
              </p:cNvPr>
              <p:cNvSpPr/>
              <p:nvPr/>
            </p:nvSpPr>
            <p:spPr>
              <a:xfrm>
                <a:off x="13235965" y="9847758"/>
                <a:ext cx="671322" cy="701180"/>
              </a:xfrm>
              <a:custGeom>
                <a:avLst/>
                <a:gdLst/>
                <a:ahLst/>
                <a:cxnLst/>
                <a:rect l="l" t="t" r="r" b="b"/>
                <a:pathLst>
                  <a:path w="671322" h="701180">
                    <a:moveTo>
                      <a:pt x="0" y="0"/>
                    </a:moveTo>
                    <a:lnTo>
                      <a:pt x="291122" y="0"/>
                    </a:lnTo>
                    <a:cubicBezTo>
                      <a:pt x="414537" y="0"/>
                      <a:pt x="508758" y="28365"/>
                      <a:pt x="573783" y="85097"/>
                    </a:cubicBezTo>
                    <a:cubicBezTo>
                      <a:pt x="638809" y="141828"/>
                      <a:pt x="671322" y="228584"/>
                      <a:pt x="671322" y="345365"/>
                    </a:cubicBezTo>
                    <a:cubicBezTo>
                      <a:pt x="671322" y="420675"/>
                      <a:pt x="655978" y="485037"/>
                      <a:pt x="625290" y="538450"/>
                    </a:cubicBezTo>
                    <a:cubicBezTo>
                      <a:pt x="594602" y="591864"/>
                      <a:pt x="551307" y="632339"/>
                      <a:pt x="495405" y="659876"/>
                    </a:cubicBezTo>
                    <a:cubicBezTo>
                      <a:pt x="439502" y="687412"/>
                      <a:pt x="374560" y="701180"/>
                      <a:pt x="300577" y="701180"/>
                    </a:cubicBezTo>
                    <a:lnTo>
                      <a:pt x="0" y="701180"/>
                    </a:lnTo>
                    <a:lnTo>
                      <a:pt x="0" y="0"/>
                    </a:lnTo>
                    <a:close/>
                    <a:moveTo>
                      <a:pt x="203536" y="169198"/>
                    </a:moveTo>
                    <a:lnTo>
                      <a:pt x="203536" y="531981"/>
                    </a:lnTo>
                    <a:lnTo>
                      <a:pt x="291122" y="531981"/>
                    </a:lnTo>
                    <a:cubicBezTo>
                      <a:pt x="347189" y="531981"/>
                      <a:pt x="389738" y="516222"/>
                      <a:pt x="418767" y="484705"/>
                    </a:cubicBezTo>
                    <a:cubicBezTo>
                      <a:pt x="447797" y="453187"/>
                      <a:pt x="462311" y="407404"/>
                      <a:pt x="462311" y="347355"/>
                    </a:cubicBezTo>
                    <a:cubicBezTo>
                      <a:pt x="462311" y="289960"/>
                      <a:pt x="447962" y="245919"/>
                      <a:pt x="419265" y="215231"/>
                    </a:cubicBezTo>
                    <a:cubicBezTo>
                      <a:pt x="390567" y="184543"/>
                      <a:pt x="346858" y="169198"/>
                      <a:pt x="288136" y="169198"/>
                    </a:cubicBezTo>
                    <a:lnTo>
                      <a:pt x="203536" y="16919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66" name="Полілінія: фігура 65">
                <a:extLst>
                  <a:ext uri="{FF2B5EF4-FFF2-40B4-BE49-F238E27FC236}">
                    <a16:creationId xmlns:a16="http://schemas.microsoft.com/office/drawing/2014/main" id="{AC28F66B-6FEB-505F-13EC-B7BF47A6E8D3}"/>
                  </a:ext>
                </a:extLst>
              </p:cNvPr>
              <p:cNvSpPr/>
              <p:nvPr/>
            </p:nvSpPr>
            <p:spPr>
              <a:xfrm>
                <a:off x="14151022" y="9847758"/>
                <a:ext cx="611107" cy="701180"/>
              </a:xfrm>
              <a:custGeom>
                <a:avLst/>
                <a:gdLst/>
                <a:ahLst/>
                <a:cxnLst/>
                <a:rect l="l" t="t" r="r" b="b"/>
                <a:pathLst>
                  <a:path w="611107" h="701180">
                    <a:moveTo>
                      <a:pt x="0" y="0"/>
                    </a:moveTo>
                    <a:lnTo>
                      <a:pt x="611107" y="0"/>
                    </a:lnTo>
                    <a:lnTo>
                      <a:pt x="611107" y="169198"/>
                    </a:lnTo>
                    <a:lnTo>
                      <a:pt x="407571" y="169198"/>
                    </a:lnTo>
                    <a:lnTo>
                      <a:pt x="407571" y="701180"/>
                    </a:lnTo>
                    <a:lnTo>
                      <a:pt x="203537" y="701180"/>
                    </a:lnTo>
                    <a:lnTo>
                      <a:pt x="203537" y="169198"/>
                    </a:lnTo>
                    <a:lnTo>
                      <a:pt x="0" y="1691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67" name="Полілінія: фігура 66">
                <a:extLst>
                  <a:ext uri="{FF2B5EF4-FFF2-40B4-BE49-F238E27FC236}">
                    <a16:creationId xmlns:a16="http://schemas.microsoft.com/office/drawing/2014/main" id="{C934A752-F2C2-8623-085D-45AC55CCDC57}"/>
                  </a:ext>
                </a:extLst>
              </p:cNvPr>
              <p:cNvSpPr/>
              <p:nvPr/>
            </p:nvSpPr>
            <p:spPr>
              <a:xfrm>
                <a:off x="14794890" y="9847758"/>
                <a:ext cx="676796" cy="701180"/>
              </a:xfrm>
              <a:custGeom>
                <a:avLst/>
                <a:gdLst/>
                <a:ahLst/>
                <a:cxnLst/>
                <a:rect l="l" t="t" r="r" b="b"/>
                <a:pathLst>
                  <a:path w="676796" h="701180">
                    <a:moveTo>
                      <a:pt x="0" y="0"/>
                    </a:moveTo>
                    <a:lnTo>
                      <a:pt x="353328" y="0"/>
                    </a:lnTo>
                    <a:cubicBezTo>
                      <a:pt x="446884" y="0"/>
                      <a:pt x="516638" y="20071"/>
                      <a:pt x="562586" y="60214"/>
                    </a:cubicBezTo>
                    <a:cubicBezTo>
                      <a:pt x="608535" y="100358"/>
                      <a:pt x="631510" y="156757"/>
                      <a:pt x="631510" y="229413"/>
                    </a:cubicBezTo>
                    <a:cubicBezTo>
                      <a:pt x="631510" y="262258"/>
                      <a:pt x="625704" y="292365"/>
                      <a:pt x="614093" y="319736"/>
                    </a:cubicBezTo>
                    <a:cubicBezTo>
                      <a:pt x="602481" y="347106"/>
                      <a:pt x="586556" y="370413"/>
                      <a:pt x="566319" y="389655"/>
                    </a:cubicBezTo>
                    <a:cubicBezTo>
                      <a:pt x="546081" y="408897"/>
                      <a:pt x="523024" y="423660"/>
                      <a:pt x="497146" y="433945"/>
                    </a:cubicBezTo>
                    <a:lnTo>
                      <a:pt x="676796" y="701180"/>
                    </a:lnTo>
                    <a:lnTo>
                      <a:pt x="435936" y="701180"/>
                    </a:lnTo>
                    <a:lnTo>
                      <a:pt x="301572" y="474752"/>
                    </a:lnTo>
                    <a:lnTo>
                      <a:pt x="203536" y="474752"/>
                    </a:lnTo>
                    <a:lnTo>
                      <a:pt x="203536" y="701180"/>
                    </a:lnTo>
                    <a:lnTo>
                      <a:pt x="0" y="701180"/>
                    </a:lnTo>
                    <a:lnTo>
                      <a:pt x="0" y="0"/>
                    </a:lnTo>
                    <a:close/>
                    <a:moveTo>
                      <a:pt x="203536" y="164222"/>
                    </a:moveTo>
                    <a:lnTo>
                      <a:pt x="203536" y="312022"/>
                    </a:lnTo>
                    <a:lnTo>
                      <a:pt x="326952" y="312022"/>
                    </a:lnTo>
                    <a:cubicBezTo>
                      <a:pt x="359796" y="312022"/>
                      <a:pt x="384679" y="305304"/>
                      <a:pt x="401599" y="291868"/>
                    </a:cubicBezTo>
                    <a:cubicBezTo>
                      <a:pt x="418519" y="278431"/>
                      <a:pt x="426978" y="259936"/>
                      <a:pt x="426978" y="236380"/>
                    </a:cubicBezTo>
                    <a:cubicBezTo>
                      <a:pt x="426978" y="210835"/>
                      <a:pt x="418436" y="192422"/>
                      <a:pt x="401350" y="181142"/>
                    </a:cubicBezTo>
                    <a:cubicBezTo>
                      <a:pt x="384264" y="169862"/>
                      <a:pt x="358802" y="164222"/>
                      <a:pt x="324962" y="164222"/>
                    </a:cubicBezTo>
                    <a:lnTo>
                      <a:pt x="203536" y="16422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68" name="Полілінія: фігура 67">
                <a:extLst>
                  <a:ext uri="{FF2B5EF4-FFF2-40B4-BE49-F238E27FC236}">
                    <a16:creationId xmlns:a16="http://schemas.microsoft.com/office/drawing/2014/main" id="{A4A808A4-FE76-0CEC-6089-42619B0FFC31}"/>
                  </a:ext>
                </a:extLst>
              </p:cNvPr>
              <p:cNvSpPr/>
              <p:nvPr/>
            </p:nvSpPr>
            <p:spPr>
              <a:xfrm>
                <a:off x="15439694" y="9847758"/>
                <a:ext cx="737011" cy="701180"/>
              </a:xfrm>
              <a:custGeom>
                <a:avLst/>
                <a:gdLst/>
                <a:ahLst/>
                <a:cxnLst/>
                <a:rect l="l" t="t" r="r" b="b"/>
                <a:pathLst>
                  <a:path w="737011" h="701180">
                    <a:moveTo>
                      <a:pt x="243348" y="0"/>
                    </a:moveTo>
                    <a:lnTo>
                      <a:pt x="494160" y="0"/>
                    </a:lnTo>
                    <a:lnTo>
                      <a:pt x="737011" y="701180"/>
                    </a:lnTo>
                    <a:lnTo>
                      <a:pt x="528996" y="701180"/>
                    </a:lnTo>
                    <a:lnTo>
                      <a:pt x="488189" y="566816"/>
                    </a:lnTo>
                    <a:lnTo>
                      <a:pt x="245836" y="566816"/>
                    </a:lnTo>
                    <a:lnTo>
                      <a:pt x="205029" y="701180"/>
                    </a:lnTo>
                    <a:lnTo>
                      <a:pt x="0" y="701180"/>
                    </a:lnTo>
                    <a:lnTo>
                      <a:pt x="243348" y="0"/>
                    </a:lnTo>
                    <a:close/>
                    <a:moveTo>
                      <a:pt x="366764" y="158748"/>
                    </a:moveTo>
                    <a:cubicBezTo>
                      <a:pt x="363114" y="175668"/>
                      <a:pt x="355650" y="203536"/>
                      <a:pt x="344370" y="242352"/>
                    </a:cubicBezTo>
                    <a:lnTo>
                      <a:pt x="292614" y="413542"/>
                    </a:lnTo>
                    <a:lnTo>
                      <a:pt x="441908" y="413542"/>
                    </a:lnTo>
                    <a:lnTo>
                      <a:pt x="390153" y="242352"/>
                    </a:lnTo>
                    <a:cubicBezTo>
                      <a:pt x="378541" y="205526"/>
                      <a:pt x="370745" y="177658"/>
                      <a:pt x="366764" y="158748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69" name="Полілінія: фігура 68">
                <a:extLst>
                  <a:ext uri="{FF2B5EF4-FFF2-40B4-BE49-F238E27FC236}">
                    <a16:creationId xmlns:a16="http://schemas.microsoft.com/office/drawing/2014/main" id="{BF5D2528-FB0E-4E47-3925-E276EAA29234}"/>
                  </a:ext>
                </a:extLst>
              </p:cNvPr>
              <p:cNvSpPr/>
              <p:nvPr/>
            </p:nvSpPr>
            <p:spPr>
              <a:xfrm>
                <a:off x="16198240" y="9847758"/>
                <a:ext cx="671322" cy="701180"/>
              </a:xfrm>
              <a:custGeom>
                <a:avLst/>
                <a:gdLst/>
                <a:ahLst/>
                <a:cxnLst/>
                <a:rect l="l" t="t" r="r" b="b"/>
                <a:pathLst>
                  <a:path w="671322" h="701180">
                    <a:moveTo>
                      <a:pt x="0" y="0"/>
                    </a:moveTo>
                    <a:lnTo>
                      <a:pt x="291122" y="0"/>
                    </a:lnTo>
                    <a:cubicBezTo>
                      <a:pt x="414538" y="0"/>
                      <a:pt x="508758" y="28365"/>
                      <a:pt x="573784" y="85097"/>
                    </a:cubicBezTo>
                    <a:cubicBezTo>
                      <a:pt x="638808" y="141828"/>
                      <a:pt x="671322" y="228584"/>
                      <a:pt x="671322" y="345365"/>
                    </a:cubicBezTo>
                    <a:cubicBezTo>
                      <a:pt x="671322" y="420675"/>
                      <a:pt x="655978" y="485037"/>
                      <a:pt x="625290" y="538450"/>
                    </a:cubicBezTo>
                    <a:cubicBezTo>
                      <a:pt x="594602" y="591864"/>
                      <a:pt x="551306" y="632339"/>
                      <a:pt x="495404" y="659876"/>
                    </a:cubicBezTo>
                    <a:cubicBezTo>
                      <a:pt x="439502" y="687412"/>
                      <a:pt x="374560" y="701180"/>
                      <a:pt x="300577" y="701180"/>
                    </a:cubicBezTo>
                    <a:lnTo>
                      <a:pt x="0" y="701180"/>
                    </a:lnTo>
                    <a:lnTo>
                      <a:pt x="0" y="0"/>
                    </a:lnTo>
                    <a:close/>
                    <a:moveTo>
                      <a:pt x="203536" y="169198"/>
                    </a:moveTo>
                    <a:lnTo>
                      <a:pt x="203536" y="531981"/>
                    </a:lnTo>
                    <a:lnTo>
                      <a:pt x="291122" y="531981"/>
                    </a:lnTo>
                    <a:cubicBezTo>
                      <a:pt x="347190" y="531981"/>
                      <a:pt x="389738" y="516222"/>
                      <a:pt x="418768" y="484705"/>
                    </a:cubicBezTo>
                    <a:cubicBezTo>
                      <a:pt x="447796" y="453187"/>
                      <a:pt x="462312" y="407404"/>
                      <a:pt x="462312" y="347355"/>
                    </a:cubicBezTo>
                    <a:cubicBezTo>
                      <a:pt x="462312" y="289960"/>
                      <a:pt x="447962" y="245919"/>
                      <a:pt x="419264" y="215231"/>
                    </a:cubicBezTo>
                    <a:cubicBezTo>
                      <a:pt x="390568" y="184543"/>
                      <a:pt x="346858" y="169198"/>
                      <a:pt x="288136" y="169198"/>
                    </a:cubicBezTo>
                    <a:lnTo>
                      <a:pt x="203536" y="16919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70" name="Полілінія: фігура 69">
                <a:extLst>
                  <a:ext uri="{FF2B5EF4-FFF2-40B4-BE49-F238E27FC236}">
                    <a16:creationId xmlns:a16="http://schemas.microsoft.com/office/drawing/2014/main" id="{69273FBA-DC3A-5EB0-1C8C-15F5E5BDB786}"/>
                  </a:ext>
                </a:extLst>
              </p:cNvPr>
              <p:cNvSpPr/>
              <p:nvPr/>
            </p:nvSpPr>
            <p:spPr>
              <a:xfrm>
                <a:off x="16909440" y="9847758"/>
                <a:ext cx="203536" cy="701180"/>
              </a:xfrm>
              <a:custGeom>
                <a:avLst/>
                <a:gdLst/>
                <a:ahLst/>
                <a:cxnLst/>
                <a:rect l="l" t="t" r="r" b="b"/>
                <a:pathLst>
                  <a:path w="203536" h="701180">
                    <a:moveTo>
                      <a:pt x="0" y="0"/>
                    </a:moveTo>
                    <a:lnTo>
                      <a:pt x="203536" y="0"/>
                    </a:lnTo>
                    <a:lnTo>
                      <a:pt x="203536" y="701180"/>
                    </a:lnTo>
                    <a:lnTo>
                      <a:pt x="0" y="7011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71" name="Полілінія: фігура 70">
                <a:extLst>
                  <a:ext uri="{FF2B5EF4-FFF2-40B4-BE49-F238E27FC236}">
                    <a16:creationId xmlns:a16="http://schemas.microsoft.com/office/drawing/2014/main" id="{5A2ADBAE-E583-B081-387D-DB6EF2EC2772}"/>
                  </a:ext>
                </a:extLst>
              </p:cNvPr>
              <p:cNvSpPr/>
              <p:nvPr/>
            </p:nvSpPr>
            <p:spPr>
              <a:xfrm>
                <a:off x="17172964" y="9847758"/>
                <a:ext cx="665350" cy="701180"/>
              </a:xfrm>
              <a:custGeom>
                <a:avLst/>
                <a:gdLst/>
                <a:ahLst/>
                <a:cxnLst/>
                <a:rect l="l" t="t" r="r" b="b"/>
                <a:pathLst>
                  <a:path w="665350" h="701180">
                    <a:moveTo>
                      <a:pt x="0" y="0"/>
                    </a:moveTo>
                    <a:lnTo>
                      <a:pt x="239368" y="0"/>
                    </a:lnTo>
                    <a:lnTo>
                      <a:pt x="483710" y="469776"/>
                    </a:lnTo>
                    <a:cubicBezTo>
                      <a:pt x="479730" y="440249"/>
                      <a:pt x="477740" y="381858"/>
                      <a:pt x="477740" y="294605"/>
                    </a:cubicBezTo>
                    <a:lnTo>
                      <a:pt x="477740" y="0"/>
                    </a:lnTo>
                    <a:lnTo>
                      <a:pt x="665350" y="0"/>
                    </a:lnTo>
                    <a:lnTo>
                      <a:pt x="665350" y="701180"/>
                    </a:lnTo>
                    <a:lnTo>
                      <a:pt x="422998" y="701180"/>
                    </a:lnTo>
                    <a:lnTo>
                      <a:pt x="183134" y="250812"/>
                    </a:lnTo>
                    <a:cubicBezTo>
                      <a:pt x="185788" y="315838"/>
                      <a:pt x="187116" y="382024"/>
                      <a:pt x="187116" y="449372"/>
                    </a:cubicBezTo>
                    <a:lnTo>
                      <a:pt x="187116" y="701180"/>
                    </a:lnTo>
                    <a:lnTo>
                      <a:pt x="0" y="7011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72" name="Полілінія: фігура 71">
                <a:extLst>
                  <a:ext uri="{FF2B5EF4-FFF2-40B4-BE49-F238E27FC236}">
                    <a16:creationId xmlns:a16="http://schemas.microsoft.com/office/drawing/2014/main" id="{076FF856-DF81-A061-902C-051E7BE9F488}"/>
                  </a:ext>
                </a:extLst>
              </p:cNvPr>
              <p:cNvSpPr/>
              <p:nvPr/>
            </p:nvSpPr>
            <p:spPr>
              <a:xfrm>
                <a:off x="13933470" y="10332960"/>
                <a:ext cx="213986" cy="215978"/>
              </a:xfrm>
              <a:custGeom>
                <a:avLst/>
                <a:gdLst/>
                <a:ahLst/>
                <a:cxnLst/>
                <a:rect l="l" t="t" r="r" b="b"/>
                <a:pathLst>
                  <a:path w="213986" h="215978">
                    <a:moveTo>
                      <a:pt x="107988" y="0"/>
                    </a:moveTo>
                    <a:cubicBezTo>
                      <a:pt x="140169" y="0"/>
                      <a:pt x="165881" y="9787"/>
                      <a:pt x="185123" y="29361"/>
                    </a:cubicBezTo>
                    <a:cubicBezTo>
                      <a:pt x="204365" y="48935"/>
                      <a:pt x="213986" y="75144"/>
                      <a:pt x="213986" y="107989"/>
                    </a:cubicBezTo>
                    <a:cubicBezTo>
                      <a:pt x="213986" y="129222"/>
                      <a:pt x="209591" y="147966"/>
                      <a:pt x="200799" y="164223"/>
                    </a:cubicBezTo>
                    <a:cubicBezTo>
                      <a:pt x="192007" y="180479"/>
                      <a:pt x="179649" y="193169"/>
                      <a:pt x="163724" y="202293"/>
                    </a:cubicBezTo>
                    <a:cubicBezTo>
                      <a:pt x="147800" y="211416"/>
                      <a:pt x="129221" y="215978"/>
                      <a:pt x="107988" y="215978"/>
                    </a:cubicBezTo>
                    <a:cubicBezTo>
                      <a:pt x="74480" y="215978"/>
                      <a:pt x="48105" y="206274"/>
                      <a:pt x="28863" y="186866"/>
                    </a:cubicBezTo>
                    <a:cubicBezTo>
                      <a:pt x="9621" y="167457"/>
                      <a:pt x="0" y="141165"/>
                      <a:pt x="0" y="107989"/>
                    </a:cubicBezTo>
                    <a:cubicBezTo>
                      <a:pt x="0" y="74813"/>
                      <a:pt x="9621" y="48521"/>
                      <a:pt x="28863" y="29112"/>
                    </a:cubicBezTo>
                    <a:cubicBezTo>
                      <a:pt x="48105" y="9704"/>
                      <a:pt x="74480" y="0"/>
                      <a:pt x="1079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uk-UA" sz="816"/>
              </a:p>
            </p:txBody>
          </p:sp>
          <p:sp>
            <p:nvSpPr>
              <p:cNvPr id="73" name="Полілінія: фігура 72">
                <a:extLst>
                  <a:ext uri="{FF2B5EF4-FFF2-40B4-BE49-F238E27FC236}">
                    <a16:creationId xmlns:a16="http://schemas.microsoft.com/office/drawing/2014/main" id="{B87191DF-8034-83A2-A6BE-C88CF5E406A1}"/>
                  </a:ext>
                </a:extLst>
              </p:cNvPr>
              <p:cNvSpPr/>
              <p:nvPr/>
            </p:nvSpPr>
            <p:spPr>
              <a:xfrm rot="16200000">
                <a:off x="17864054" y="9832035"/>
                <a:ext cx="746390" cy="735039"/>
              </a:xfrm>
              <a:custGeom>
                <a:avLst/>
                <a:gdLst>
                  <a:gd name="connsiteX0" fmla="*/ 716322 w 716322"/>
                  <a:gd name="connsiteY0" fmla="*/ 375684 h 735039"/>
                  <a:gd name="connsiteX1" fmla="*/ 663401 w 716322"/>
                  <a:gd name="connsiteY1" fmla="*/ 596478 h 735039"/>
                  <a:gd name="connsiteX2" fmla="*/ 596305 w 716322"/>
                  <a:gd name="connsiteY2" fmla="*/ 666506 h 735039"/>
                  <a:gd name="connsiteX3" fmla="*/ 587551 w 716322"/>
                  <a:gd name="connsiteY3" fmla="*/ 671034 h 735039"/>
                  <a:gd name="connsiteX4" fmla="*/ 587099 w 716322"/>
                  <a:gd name="connsiteY4" fmla="*/ 674106 h 735039"/>
                  <a:gd name="connsiteX5" fmla="*/ 459933 w 716322"/>
                  <a:gd name="connsiteY5" fmla="*/ 724112 h 735039"/>
                  <a:gd name="connsiteX6" fmla="*/ 459933 w 716322"/>
                  <a:gd name="connsiteY6" fmla="*/ 518516 h 735039"/>
                  <a:gd name="connsiteX7" fmla="*/ 458805 w 716322"/>
                  <a:gd name="connsiteY7" fmla="*/ 513076 h 735039"/>
                  <a:gd name="connsiteX8" fmla="*/ 459933 w 716322"/>
                  <a:gd name="connsiteY8" fmla="*/ 512628 h 735039"/>
                  <a:gd name="connsiteX9" fmla="*/ 459933 w 716322"/>
                  <a:gd name="connsiteY9" fmla="*/ 512182 h 735039"/>
                  <a:gd name="connsiteX10" fmla="*/ 461053 w 716322"/>
                  <a:gd name="connsiteY10" fmla="*/ 512182 h 735039"/>
                  <a:gd name="connsiteX11" fmla="*/ 486210 w 716322"/>
                  <a:gd name="connsiteY11" fmla="*/ 502176 h 735039"/>
                  <a:gd name="connsiteX12" fmla="*/ 505110 w 716322"/>
                  <a:gd name="connsiteY12" fmla="*/ 490770 h 735039"/>
                  <a:gd name="connsiteX13" fmla="*/ 542911 w 716322"/>
                  <a:gd name="connsiteY13" fmla="*/ 443620 h 735039"/>
                  <a:gd name="connsiteX14" fmla="*/ 556141 w 716322"/>
                  <a:gd name="connsiteY14" fmla="*/ 381258 h 735039"/>
                  <a:gd name="connsiteX15" fmla="*/ 497618 w 716322"/>
                  <a:gd name="connsiteY15" fmla="*/ 261610 h 735039"/>
                  <a:gd name="connsiteX16" fmla="*/ 361232 w 716322"/>
                  <a:gd name="connsiteY16" fmla="*/ 230176 h 735039"/>
                  <a:gd name="connsiteX17" fmla="*/ 203364 w 716322"/>
                  <a:gd name="connsiteY17" fmla="*/ 267692 h 735039"/>
                  <a:gd name="connsiteX18" fmla="*/ 160653 w 716322"/>
                  <a:gd name="connsiteY18" fmla="*/ 373146 h 735039"/>
                  <a:gd name="connsiteX19" fmla="*/ 195146 w 716322"/>
                  <a:gd name="connsiteY19" fmla="*/ 472772 h 735039"/>
                  <a:gd name="connsiteX20" fmla="*/ 227502 w 716322"/>
                  <a:gd name="connsiteY20" fmla="*/ 495028 h 735039"/>
                  <a:gd name="connsiteX21" fmla="*/ 230147 w 716322"/>
                  <a:gd name="connsiteY21" fmla="*/ 365206 h 735039"/>
                  <a:gd name="connsiteX22" fmla="*/ 381126 w 716322"/>
                  <a:gd name="connsiteY22" fmla="*/ 365206 h 735039"/>
                  <a:gd name="connsiteX23" fmla="*/ 381126 w 716322"/>
                  <a:gd name="connsiteY23" fmla="*/ 725354 h 735039"/>
                  <a:gd name="connsiteX24" fmla="*/ 266552 w 716322"/>
                  <a:gd name="connsiteY24" fmla="*/ 729600 h 735039"/>
                  <a:gd name="connsiteX25" fmla="*/ 239187 w 716322"/>
                  <a:gd name="connsiteY25" fmla="*/ 720950 h 735039"/>
                  <a:gd name="connsiteX26" fmla="*/ 238617 w 716322"/>
                  <a:gd name="connsiteY26" fmla="*/ 722972 h 735039"/>
                  <a:gd name="connsiteX27" fmla="*/ 106787 w 716322"/>
                  <a:gd name="connsiteY27" fmla="*/ 659092 h 735039"/>
                  <a:gd name="connsiteX28" fmla="*/ 26934 w 716322"/>
                  <a:gd name="connsiteY28" fmla="*/ 550848 h 735039"/>
                  <a:gd name="connsiteX29" fmla="*/ 0 w 716322"/>
                  <a:gd name="connsiteY29" fmla="*/ 386330 h 735039"/>
                  <a:gd name="connsiteX30" fmla="*/ 32817 w 716322"/>
                  <a:gd name="connsiteY30" fmla="*/ 188348 h 735039"/>
                  <a:gd name="connsiteX31" fmla="*/ 148268 w 716322"/>
                  <a:gd name="connsiteY31" fmla="*/ 55770 h 735039"/>
                  <a:gd name="connsiteX32" fmla="*/ 359815 w 716322"/>
                  <a:gd name="connsiteY32" fmla="*/ 0 h 735039"/>
                  <a:gd name="connsiteX33" fmla="*/ 624005 w 716322"/>
                  <a:gd name="connsiteY33" fmla="*/ 98104 h 735039"/>
                  <a:gd name="connsiteX34" fmla="*/ 716322 w 716322"/>
                  <a:gd name="connsiteY34" fmla="*/ 375684 h 735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16322" h="735039">
                    <a:moveTo>
                      <a:pt x="716322" y="375684"/>
                    </a:moveTo>
                    <a:cubicBezTo>
                      <a:pt x="716322" y="469306"/>
                      <a:pt x="698682" y="542904"/>
                      <a:pt x="663401" y="596478"/>
                    </a:cubicBezTo>
                    <a:cubicBezTo>
                      <a:pt x="645760" y="623264"/>
                      <a:pt x="623395" y="646606"/>
                      <a:pt x="596305" y="666506"/>
                    </a:cubicBezTo>
                    <a:lnTo>
                      <a:pt x="587551" y="671034"/>
                    </a:lnTo>
                    <a:lnTo>
                      <a:pt x="587099" y="674106"/>
                    </a:lnTo>
                    <a:cubicBezTo>
                      <a:pt x="523279" y="716968"/>
                      <a:pt x="507084" y="721730"/>
                      <a:pt x="459933" y="724112"/>
                    </a:cubicBezTo>
                    <a:lnTo>
                      <a:pt x="459933" y="518516"/>
                    </a:lnTo>
                    <a:lnTo>
                      <a:pt x="458805" y="513076"/>
                    </a:lnTo>
                    <a:lnTo>
                      <a:pt x="459933" y="512628"/>
                    </a:lnTo>
                    <a:lnTo>
                      <a:pt x="459933" y="512182"/>
                    </a:lnTo>
                    <a:lnTo>
                      <a:pt x="461053" y="512182"/>
                    </a:lnTo>
                    <a:lnTo>
                      <a:pt x="486210" y="502176"/>
                    </a:lnTo>
                    <a:cubicBezTo>
                      <a:pt x="493928" y="498458"/>
                      <a:pt x="500227" y="494656"/>
                      <a:pt x="505110" y="490770"/>
                    </a:cubicBezTo>
                    <a:cubicBezTo>
                      <a:pt x="521491" y="477926"/>
                      <a:pt x="534091" y="462210"/>
                      <a:pt x="542911" y="443620"/>
                    </a:cubicBezTo>
                    <a:cubicBezTo>
                      <a:pt x="551732" y="425030"/>
                      <a:pt x="556141" y="404244"/>
                      <a:pt x="556141" y="381258"/>
                    </a:cubicBezTo>
                    <a:cubicBezTo>
                      <a:pt x="556141" y="329208"/>
                      <a:pt x="536633" y="289324"/>
                      <a:pt x="497618" y="261610"/>
                    </a:cubicBezTo>
                    <a:cubicBezTo>
                      <a:pt x="468671" y="240654"/>
                      <a:pt x="423210" y="230176"/>
                      <a:pt x="361232" y="230176"/>
                    </a:cubicBezTo>
                    <a:cubicBezTo>
                      <a:pt x="284460" y="230176"/>
                      <a:pt x="231836" y="242680"/>
                      <a:pt x="203364" y="267692"/>
                    </a:cubicBezTo>
                    <a:cubicBezTo>
                      <a:pt x="174890" y="292704"/>
                      <a:pt x="160653" y="327856"/>
                      <a:pt x="160653" y="373146"/>
                    </a:cubicBezTo>
                    <a:cubicBezTo>
                      <a:pt x="160653" y="417088"/>
                      <a:pt x="172151" y="450296"/>
                      <a:pt x="195146" y="472772"/>
                    </a:cubicBezTo>
                    <a:lnTo>
                      <a:pt x="227502" y="495028"/>
                    </a:lnTo>
                    <a:lnTo>
                      <a:pt x="230147" y="365206"/>
                    </a:lnTo>
                    <a:lnTo>
                      <a:pt x="381126" y="365206"/>
                    </a:lnTo>
                    <a:lnTo>
                      <a:pt x="381126" y="725354"/>
                    </a:lnTo>
                    <a:cubicBezTo>
                      <a:pt x="346953" y="735476"/>
                      <a:pt x="308762" y="738902"/>
                      <a:pt x="266552" y="729600"/>
                    </a:cubicBezTo>
                    <a:lnTo>
                      <a:pt x="239187" y="720950"/>
                    </a:lnTo>
                    <a:lnTo>
                      <a:pt x="238617" y="722972"/>
                    </a:lnTo>
                    <a:cubicBezTo>
                      <a:pt x="186011" y="709452"/>
                      <a:pt x="142067" y="688158"/>
                      <a:pt x="106787" y="659092"/>
                    </a:cubicBezTo>
                    <a:cubicBezTo>
                      <a:pt x="71507" y="630024"/>
                      <a:pt x="44889" y="593942"/>
                      <a:pt x="26934" y="550848"/>
                    </a:cubicBezTo>
                    <a:cubicBezTo>
                      <a:pt x="8979" y="507754"/>
                      <a:pt x="0" y="452914"/>
                      <a:pt x="0" y="386330"/>
                    </a:cubicBezTo>
                    <a:cubicBezTo>
                      <a:pt x="0" y="305548"/>
                      <a:pt x="10940" y="239554"/>
                      <a:pt x="32817" y="188348"/>
                    </a:cubicBezTo>
                    <a:cubicBezTo>
                      <a:pt x="54695" y="137144"/>
                      <a:pt x="93179" y="92950"/>
                      <a:pt x="148268" y="55770"/>
                    </a:cubicBezTo>
                    <a:cubicBezTo>
                      <a:pt x="203358" y="18590"/>
                      <a:pt x="273873" y="0"/>
                      <a:pt x="359815" y="0"/>
                    </a:cubicBezTo>
                    <a:cubicBezTo>
                      <a:pt x="474398" y="0"/>
                      <a:pt x="562462" y="32700"/>
                      <a:pt x="624005" y="98104"/>
                    </a:cubicBezTo>
                    <a:cubicBezTo>
                      <a:pt x="685550" y="163506"/>
                      <a:pt x="716322" y="256032"/>
                      <a:pt x="716322" y="37568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uk-UA" sz="816"/>
              </a:p>
            </p:txBody>
          </p:sp>
        </p:grpSp>
      </p:grpSp>
      <p:pic>
        <p:nvPicPr>
          <p:cNvPr id="74" name="Picture 2">
            <a:extLst>
              <a:ext uri="{FF2B5EF4-FFF2-40B4-BE49-F238E27FC236}">
                <a16:creationId xmlns:a16="http://schemas.microsoft.com/office/drawing/2014/main" id="{CA588B3B-EA3E-877A-3CB7-ACF4031395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116" y="6258040"/>
            <a:ext cx="1063216" cy="576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Рисунок 74" descr="Зображення, що містить знімок екрана, Графіка, графічний дизайн, Барвистість&#10;&#10;Автоматично згенерований опис">
            <a:extLst>
              <a:ext uri="{FF2B5EF4-FFF2-40B4-BE49-F238E27FC236}">
                <a16:creationId xmlns:a16="http://schemas.microsoft.com/office/drawing/2014/main" id="{A183EDA7-C108-C08B-BB04-D06E784103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2356" y="6323981"/>
            <a:ext cx="1273415" cy="444127"/>
          </a:xfrm>
          <a:prstGeom prst="rect">
            <a:avLst/>
          </a:prstGeom>
        </p:spPr>
      </p:pic>
      <p:grpSp>
        <p:nvGrpSpPr>
          <p:cNvPr id="124" name="Групувати 123">
            <a:extLst>
              <a:ext uri="{FF2B5EF4-FFF2-40B4-BE49-F238E27FC236}">
                <a16:creationId xmlns:a16="http://schemas.microsoft.com/office/drawing/2014/main" id="{4F897D13-FF18-52B1-0740-97EC038567ED}"/>
              </a:ext>
            </a:extLst>
          </p:cNvPr>
          <p:cNvGrpSpPr/>
          <p:nvPr/>
        </p:nvGrpSpPr>
        <p:grpSpPr>
          <a:xfrm>
            <a:off x="5288237" y="6295289"/>
            <a:ext cx="656426" cy="501511"/>
            <a:chOff x="941860" y="6255252"/>
            <a:chExt cx="656426" cy="501511"/>
          </a:xfrm>
        </p:grpSpPr>
        <p:pic>
          <p:nvPicPr>
            <p:cNvPr id="56" name="Рисунок 55" descr="Зображення, що містить коло, дизайн&#10;&#10;Автоматично згенерований опис">
              <a:extLst>
                <a:ext uri="{FF2B5EF4-FFF2-40B4-BE49-F238E27FC236}">
                  <a16:creationId xmlns:a16="http://schemas.microsoft.com/office/drawing/2014/main" id="{BA97CB67-D0B5-F863-649F-E6621B7D9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8417" y="6255252"/>
              <a:ext cx="500726" cy="478849"/>
            </a:xfrm>
            <a:prstGeom prst="rect">
              <a:avLst/>
            </a:prstGeom>
          </p:spPr>
        </p:pic>
        <p:sp>
          <p:nvSpPr>
            <p:cNvPr id="101" name="Полілінія: фігура 100">
              <a:extLst>
                <a:ext uri="{FF2B5EF4-FFF2-40B4-BE49-F238E27FC236}">
                  <a16:creationId xmlns:a16="http://schemas.microsoft.com/office/drawing/2014/main" id="{09140397-B15E-D8BD-DB66-9A82150F8730}"/>
                </a:ext>
              </a:extLst>
            </p:cNvPr>
            <p:cNvSpPr/>
            <p:nvPr/>
          </p:nvSpPr>
          <p:spPr>
            <a:xfrm>
              <a:off x="941860" y="6706251"/>
              <a:ext cx="656426" cy="50512"/>
            </a:xfrm>
            <a:custGeom>
              <a:avLst/>
              <a:gdLst/>
              <a:ahLst/>
              <a:cxnLst/>
              <a:rect l="l" t="t" r="r" b="b"/>
              <a:pathLst>
                <a:path w="2144878" h="165049">
                  <a:moveTo>
                    <a:pt x="1089888" y="73838"/>
                  </a:moveTo>
                  <a:cubicBezTo>
                    <a:pt x="1083183" y="73838"/>
                    <a:pt x="1077963" y="76314"/>
                    <a:pt x="1074229" y="81267"/>
                  </a:cubicBezTo>
                  <a:cubicBezTo>
                    <a:pt x="1070496" y="86220"/>
                    <a:pt x="1068629" y="94336"/>
                    <a:pt x="1068629" y="105613"/>
                  </a:cubicBezTo>
                  <a:cubicBezTo>
                    <a:pt x="1068629" y="116738"/>
                    <a:pt x="1070496" y="124816"/>
                    <a:pt x="1074229" y="129845"/>
                  </a:cubicBezTo>
                  <a:cubicBezTo>
                    <a:pt x="1077963" y="134874"/>
                    <a:pt x="1083183" y="137389"/>
                    <a:pt x="1089888" y="137389"/>
                  </a:cubicBezTo>
                  <a:cubicBezTo>
                    <a:pt x="1096746" y="137389"/>
                    <a:pt x="1102042" y="134874"/>
                    <a:pt x="1105776" y="129845"/>
                  </a:cubicBezTo>
                  <a:cubicBezTo>
                    <a:pt x="1109510" y="124816"/>
                    <a:pt x="1111377" y="116738"/>
                    <a:pt x="1111377" y="105613"/>
                  </a:cubicBezTo>
                  <a:cubicBezTo>
                    <a:pt x="1111377" y="94336"/>
                    <a:pt x="1109510" y="86220"/>
                    <a:pt x="1105776" y="81267"/>
                  </a:cubicBezTo>
                  <a:cubicBezTo>
                    <a:pt x="1102042" y="76314"/>
                    <a:pt x="1096746" y="73838"/>
                    <a:pt x="1089888" y="73838"/>
                  </a:cubicBezTo>
                  <a:close/>
                  <a:moveTo>
                    <a:pt x="213588" y="73838"/>
                  </a:moveTo>
                  <a:cubicBezTo>
                    <a:pt x="206883" y="73838"/>
                    <a:pt x="201663" y="76314"/>
                    <a:pt x="197929" y="81267"/>
                  </a:cubicBezTo>
                  <a:cubicBezTo>
                    <a:pt x="194196" y="86220"/>
                    <a:pt x="192329" y="94336"/>
                    <a:pt x="192329" y="105613"/>
                  </a:cubicBezTo>
                  <a:cubicBezTo>
                    <a:pt x="192329" y="116738"/>
                    <a:pt x="194196" y="124816"/>
                    <a:pt x="197929" y="129845"/>
                  </a:cubicBezTo>
                  <a:cubicBezTo>
                    <a:pt x="201663" y="134874"/>
                    <a:pt x="206883" y="137389"/>
                    <a:pt x="213588" y="137389"/>
                  </a:cubicBezTo>
                  <a:cubicBezTo>
                    <a:pt x="220446" y="137389"/>
                    <a:pt x="225742" y="134874"/>
                    <a:pt x="229476" y="129845"/>
                  </a:cubicBezTo>
                  <a:cubicBezTo>
                    <a:pt x="233210" y="124816"/>
                    <a:pt x="235077" y="116738"/>
                    <a:pt x="235077" y="105613"/>
                  </a:cubicBezTo>
                  <a:cubicBezTo>
                    <a:pt x="235077" y="94336"/>
                    <a:pt x="233210" y="86220"/>
                    <a:pt x="229476" y="81267"/>
                  </a:cubicBezTo>
                  <a:cubicBezTo>
                    <a:pt x="225742" y="76314"/>
                    <a:pt x="220446" y="73838"/>
                    <a:pt x="213588" y="73838"/>
                  </a:cubicBezTo>
                  <a:close/>
                  <a:moveTo>
                    <a:pt x="1594257" y="73381"/>
                  </a:moveTo>
                  <a:cubicBezTo>
                    <a:pt x="1581912" y="73381"/>
                    <a:pt x="1574597" y="80467"/>
                    <a:pt x="1572311" y="94640"/>
                  </a:cubicBezTo>
                  <a:lnTo>
                    <a:pt x="1614145" y="94640"/>
                  </a:lnTo>
                  <a:cubicBezTo>
                    <a:pt x="1612468" y="80467"/>
                    <a:pt x="1605839" y="73381"/>
                    <a:pt x="1594257" y="73381"/>
                  </a:cubicBezTo>
                  <a:close/>
                  <a:moveTo>
                    <a:pt x="832256" y="73381"/>
                  </a:moveTo>
                  <a:cubicBezTo>
                    <a:pt x="819912" y="73381"/>
                    <a:pt x="812597" y="80467"/>
                    <a:pt x="810311" y="94640"/>
                  </a:cubicBezTo>
                  <a:lnTo>
                    <a:pt x="852145" y="94640"/>
                  </a:lnTo>
                  <a:cubicBezTo>
                    <a:pt x="850468" y="80467"/>
                    <a:pt x="843839" y="73381"/>
                    <a:pt x="832256" y="73381"/>
                  </a:cubicBezTo>
                  <a:close/>
                  <a:moveTo>
                    <a:pt x="1168146" y="48463"/>
                  </a:moveTo>
                  <a:lnTo>
                    <a:pt x="1207008" y="48463"/>
                  </a:lnTo>
                  <a:lnTo>
                    <a:pt x="1207008" y="115672"/>
                  </a:lnTo>
                  <a:cubicBezTo>
                    <a:pt x="1207008" y="122987"/>
                    <a:pt x="1208456" y="128092"/>
                    <a:pt x="1211351" y="130988"/>
                  </a:cubicBezTo>
                  <a:cubicBezTo>
                    <a:pt x="1214247" y="133883"/>
                    <a:pt x="1218362" y="135331"/>
                    <a:pt x="1223696" y="135331"/>
                  </a:cubicBezTo>
                  <a:cubicBezTo>
                    <a:pt x="1229182" y="135331"/>
                    <a:pt x="1233868" y="133312"/>
                    <a:pt x="1237755" y="129273"/>
                  </a:cubicBezTo>
                  <a:cubicBezTo>
                    <a:pt x="1241641" y="125235"/>
                    <a:pt x="1243584" y="118720"/>
                    <a:pt x="1243584" y="109728"/>
                  </a:cubicBezTo>
                  <a:lnTo>
                    <a:pt x="1243584" y="48463"/>
                  </a:lnTo>
                  <a:lnTo>
                    <a:pt x="1282446" y="48463"/>
                  </a:lnTo>
                  <a:lnTo>
                    <a:pt x="1282446" y="162763"/>
                  </a:lnTo>
                  <a:lnTo>
                    <a:pt x="1247699" y="162763"/>
                  </a:lnTo>
                  <a:lnTo>
                    <a:pt x="1246556" y="141275"/>
                  </a:lnTo>
                  <a:cubicBezTo>
                    <a:pt x="1242898" y="149352"/>
                    <a:pt x="1237793" y="155334"/>
                    <a:pt x="1231240" y="159220"/>
                  </a:cubicBezTo>
                  <a:cubicBezTo>
                    <a:pt x="1224686" y="163106"/>
                    <a:pt x="1216762" y="165049"/>
                    <a:pt x="1207465" y="165049"/>
                  </a:cubicBezTo>
                  <a:cubicBezTo>
                    <a:pt x="1195883" y="165049"/>
                    <a:pt x="1186434" y="161925"/>
                    <a:pt x="1179119" y="155677"/>
                  </a:cubicBezTo>
                  <a:cubicBezTo>
                    <a:pt x="1171804" y="149428"/>
                    <a:pt x="1168146" y="139141"/>
                    <a:pt x="1168146" y="124816"/>
                  </a:cubicBezTo>
                  <a:close/>
                  <a:moveTo>
                    <a:pt x="1723035" y="46177"/>
                  </a:moveTo>
                  <a:cubicBezTo>
                    <a:pt x="1746656" y="46177"/>
                    <a:pt x="1763878" y="52730"/>
                    <a:pt x="1774698" y="65837"/>
                  </a:cubicBezTo>
                  <a:lnTo>
                    <a:pt x="1756182" y="86868"/>
                  </a:lnTo>
                  <a:cubicBezTo>
                    <a:pt x="1752524" y="82296"/>
                    <a:pt x="1747799" y="78715"/>
                    <a:pt x="1742008" y="76124"/>
                  </a:cubicBezTo>
                  <a:cubicBezTo>
                    <a:pt x="1736217" y="73533"/>
                    <a:pt x="1730426" y="72238"/>
                    <a:pt x="1724635" y="72238"/>
                  </a:cubicBezTo>
                  <a:cubicBezTo>
                    <a:pt x="1713509" y="72238"/>
                    <a:pt x="1707947" y="75057"/>
                    <a:pt x="1707947" y="80696"/>
                  </a:cubicBezTo>
                  <a:cubicBezTo>
                    <a:pt x="1707947" y="82677"/>
                    <a:pt x="1708899" y="84430"/>
                    <a:pt x="1710804" y="85954"/>
                  </a:cubicBezTo>
                  <a:cubicBezTo>
                    <a:pt x="1712709" y="87478"/>
                    <a:pt x="1716253" y="88697"/>
                    <a:pt x="1721434" y="89611"/>
                  </a:cubicBezTo>
                  <a:lnTo>
                    <a:pt x="1742237" y="93726"/>
                  </a:lnTo>
                  <a:cubicBezTo>
                    <a:pt x="1753972" y="96012"/>
                    <a:pt x="1762430" y="99936"/>
                    <a:pt x="1767611" y="105499"/>
                  </a:cubicBezTo>
                  <a:cubicBezTo>
                    <a:pt x="1772793" y="111062"/>
                    <a:pt x="1775384" y="117805"/>
                    <a:pt x="1775384" y="125730"/>
                  </a:cubicBezTo>
                  <a:cubicBezTo>
                    <a:pt x="1775384" y="136855"/>
                    <a:pt x="1770926" y="146190"/>
                    <a:pt x="1762011" y="153734"/>
                  </a:cubicBezTo>
                  <a:cubicBezTo>
                    <a:pt x="1753095" y="161277"/>
                    <a:pt x="1739646" y="165049"/>
                    <a:pt x="1721663" y="165049"/>
                  </a:cubicBezTo>
                  <a:cubicBezTo>
                    <a:pt x="1710233" y="165049"/>
                    <a:pt x="1699641" y="163182"/>
                    <a:pt x="1689887" y="159449"/>
                  </a:cubicBezTo>
                  <a:cubicBezTo>
                    <a:pt x="1680134" y="155715"/>
                    <a:pt x="1671980" y="150343"/>
                    <a:pt x="1665427" y="143332"/>
                  </a:cubicBezTo>
                  <a:lnTo>
                    <a:pt x="1683715" y="121844"/>
                  </a:lnTo>
                  <a:cubicBezTo>
                    <a:pt x="1687525" y="126721"/>
                    <a:pt x="1692593" y="130797"/>
                    <a:pt x="1698917" y="134074"/>
                  </a:cubicBezTo>
                  <a:cubicBezTo>
                    <a:pt x="1705242" y="137351"/>
                    <a:pt x="1712290" y="138989"/>
                    <a:pt x="1720063" y="138989"/>
                  </a:cubicBezTo>
                  <a:cubicBezTo>
                    <a:pt x="1724787" y="138989"/>
                    <a:pt x="1728673" y="138303"/>
                    <a:pt x="1731721" y="136931"/>
                  </a:cubicBezTo>
                  <a:cubicBezTo>
                    <a:pt x="1734769" y="135560"/>
                    <a:pt x="1736293" y="133426"/>
                    <a:pt x="1736293" y="130531"/>
                  </a:cubicBezTo>
                  <a:cubicBezTo>
                    <a:pt x="1736293" y="128549"/>
                    <a:pt x="1735531" y="126873"/>
                    <a:pt x="1734007" y="125501"/>
                  </a:cubicBezTo>
                  <a:cubicBezTo>
                    <a:pt x="1732483" y="124130"/>
                    <a:pt x="1729435" y="122987"/>
                    <a:pt x="1724863" y="122072"/>
                  </a:cubicBezTo>
                  <a:lnTo>
                    <a:pt x="1708861" y="118872"/>
                  </a:lnTo>
                  <a:cubicBezTo>
                    <a:pt x="1694536" y="115976"/>
                    <a:pt x="1684363" y="111671"/>
                    <a:pt x="1678343" y="105956"/>
                  </a:cubicBezTo>
                  <a:cubicBezTo>
                    <a:pt x="1672323" y="100241"/>
                    <a:pt x="1669314" y="92735"/>
                    <a:pt x="1669314" y="83439"/>
                  </a:cubicBezTo>
                  <a:cubicBezTo>
                    <a:pt x="1669314" y="77191"/>
                    <a:pt x="1671218" y="71247"/>
                    <a:pt x="1675028" y="65608"/>
                  </a:cubicBezTo>
                  <a:cubicBezTo>
                    <a:pt x="1678838" y="59969"/>
                    <a:pt x="1684706" y="55321"/>
                    <a:pt x="1692631" y="51664"/>
                  </a:cubicBezTo>
                  <a:cubicBezTo>
                    <a:pt x="1700555" y="48006"/>
                    <a:pt x="1710690" y="46177"/>
                    <a:pt x="1723035" y="46177"/>
                  </a:cubicBezTo>
                  <a:close/>
                  <a:moveTo>
                    <a:pt x="1594257" y="46177"/>
                  </a:moveTo>
                  <a:cubicBezTo>
                    <a:pt x="1606296" y="46177"/>
                    <a:pt x="1616545" y="48501"/>
                    <a:pt x="1625003" y="53150"/>
                  </a:cubicBezTo>
                  <a:cubicBezTo>
                    <a:pt x="1633461" y="57798"/>
                    <a:pt x="1639900" y="64199"/>
                    <a:pt x="1644320" y="72352"/>
                  </a:cubicBezTo>
                  <a:cubicBezTo>
                    <a:pt x="1648740" y="80505"/>
                    <a:pt x="1650949" y="89840"/>
                    <a:pt x="1650949" y="100355"/>
                  </a:cubicBezTo>
                  <a:cubicBezTo>
                    <a:pt x="1650949" y="103251"/>
                    <a:pt x="1650835" y="106032"/>
                    <a:pt x="1650606" y="108699"/>
                  </a:cubicBezTo>
                  <a:cubicBezTo>
                    <a:pt x="1650378" y="111366"/>
                    <a:pt x="1650187" y="113614"/>
                    <a:pt x="1650035" y="115443"/>
                  </a:cubicBezTo>
                  <a:lnTo>
                    <a:pt x="1572082" y="115443"/>
                  </a:lnTo>
                  <a:cubicBezTo>
                    <a:pt x="1573149" y="123368"/>
                    <a:pt x="1575740" y="129045"/>
                    <a:pt x="1579855" y="132474"/>
                  </a:cubicBezTo>
                  <a:cubicBezTo>
                    <a:pt x="1583969" y="135903"/>
                    <a:pt x="1589380" y="137617"/>
                    <a:pt x="1596085" y="137617"/>
                  </a:cubicBezTo>
                  <a:cubicBezTo>
                    <a:pt x="1601877" y="137617"/>
                    <a:pt x="1606487" y="136474"/>
                    <a:pt x="1609916" y="134188"/>
                  </a:cubicBezTo>
                  <a:cubicBezTo>
                    <a:pt x="1613345" y="131902"/>
                    <a:pt x="1615897" y="128702"/>
                    <a:pt x="1617574" y="124587"/>
                  </a:cubicBezTo>
                  <a:lnTo>
                    <a:pt x="1648663" y="134874"/>
                  </a:lnTo>
                  <a:cubicBezTo>
                    <a:pt x="1646530" y="141427"/>
                    <a:pt x="1642834" y="146952"/>
                    <a:pt x="1637576" y="151448"/>
                  </a:cubicBezTo>
                  <a:cubicBezTo>
                    <a:pt x="1632318" y="155943"/>
                    <a:pt x="1626070" y="159334"/>
                    <a:pt x="1618831" y="161620"/>
                  </a:cubicBezTo>
                  <a:cubicBezTo>
                    <a:pt x="1611592" y="163906"/>
                    <a:pt x="1604010" y="165049"/>
                    <a:pt x="1596085" y="165049"/>
                  </a:cubicBezTo>
                  <a:cubicBezTo>
                    <a:pt x="1577035" y="165049"/>
                    <a:pt x="1561986" y="159868"/>
                    <a:pt x="1550937" y="149504"/>
                  </a:cubicBezTo>
                  <a:cubicBezTo>
                    <a:pt x="1539888" y="139141"/>
                    <a:pt x="1534363" y="124511"/>
                    <a:pt x="1534363" y="105613"/>
                  </a:cubicBezTo>
                  <a:cubicBezTo>
                    <a:pt x="1534363" y="93116"/>
                    <a:pt x="1536916" y="82410"/>
                    <a:pt x="1542021" y="73495"/>
                  </a:cubicBezTo>
                  <a:cubicBezTo>
                    <a:pt x="1547127" y="64580"/>
                    <a:pt x="1554137" y="57798"/>
                    <a:pt x="1563053" y="53150"/>
                  </a:cubicBezTo>
                  <a:cubicBezTo>
                    <a:pt x="1571968" y="48501"/>
                    <a:pt x="1582369" y="46177"/>
                    <a:pt x="1594257" y="46177"/>
                  </a:cubicBezTo>
                  <a:close/>
                  <a:moveTo>
                    <a:pt x="1461135" y="46177"/>
                  </a:moveTo>
                  <a:cubicBezTo>
                    <a:pt x="1472718" y="46177"/>
                    <a:pt x="1482357" y="47854"/>
                    <a:pt x="1490053" y="51206"/>
                  </a:cubicBezTo>
                  <a:cubicBezTo>
                    <a:pt x="1497749" y="54559"/>
                    <a:pt x="1503731" y="58903"/>
                    <a:pt x="1507998" y="64237"/>
                  </a:cubicBezTo>
                  <a:cubicBezTo>
                    <a:pt x="1512265" y="69571"/>
                    <a:pt x="1515008" y="75362"/>
                    <a:pt x="1516228" y="81610"/>
                  </a:cubicBezTo>
                  <a:lnTo>
                    <a:pt x="1480337" y="93497"/>
                  </a:lnTo>
                  <a:cubicBezTo>
                    <a:pt x="1479423" y="86944"/>
                    <a:pt x="1477518" y="82029"/>
                    <a:pt x="1474622" y="78753"/>
                  </a:cubicBezTo>
                  <a:cubicBezTo>
                    <a:pt x="1471727" y="75476"/>
                    <a:pt x="1467612" y="73838"/>
                    <a:pt x="1462278" y="73838"/>
                  </a:cubicBezTo>
                  <a:cubicBezTo>
                    <a:pt x="1454963" y="73838"/>
                    <a:pt x="1449438" y="76429"/>
                    <a:pt x="1445705" y="81610"/>
                  </a:cubicBezTo>
                  <a:cubicBezTo>
                    <a:pt x="1441971" y="86792"/>
                    <a:pt x="1440104" y="94945"/>
                    <a:pt x="1440104" y="106070"/>
                  </a:cubicBezTo>
                  <a:cubicBezTo>
                    <a:pt x="1440104" y="117348"/>
                    <a:pt x="1442123" y="125387"/>
                    <a:pt x="1446162" y="130188"/>
                  </a:cubicBezTo>
                  <a:cubicBezTo>
                    <a:pt x="1450200" y="134988"/>
                    <a:pt x="1455649" y="137389"/>
                    <a:pt x="1462507" y="137389"/>
                  </a:cubicBezTo>
                  <a:cubicBezTo>
                    <a:pt x="1473327" y="137389"/>
                    <a:pt x="1479652" y="131216"/>
                    <a:pt x="1481480" y="118872"/>
                  </a:cubicBezTo>
                  <a:lnTo>
                    <a:pt x="1516456" y="130073"/>
                  </a:lnTo>
                  <a:cubicBezTo>
                    <a:pt x="1514780" y="139979"/>
                    <a:pt x="1509255" y="148285"/>
                    <a:pt x="1499883" y="154991"/>
                  </a:cubicBezTo>
                  <a:cubicBezTo>
                    <a:pt x="1490510" y="161696"/>
                    <a:pt x="1478128" y="165049"/>
                    <a:pt x="1462735" y="165049"/>
                  </a:cubicBezTo>
                  <a:cubicBezTo>
                    <a:pt x="1443990" y="165049"/>
                    <a:pt x="1429017" y="159830"/>
                    <a:pt x="1417815" y="149390"/>
                  </a:cubicBezTo>
                  <a:cubicBezTo>
                    <a:pt x="1406614" y="138951"/>
                    <a:pt x="1401013" y="124358"/>
                    <a:pt x="1401013" y="105613"/>
                  </a:cubicBezTo>
                  <a:cubicBezTo>
                    <a:pt x="1401013" y="93116"/>
                    <a:pt x="1403566" y="82448"/>
                    <a:pt x="1408671" y="73609"/>
                  </a:cubicBezTo>
                  <a:cubicBezTo>
                    <a:pt x="1413777" y="64770"/>
                    <a:pt x="1420825" y="57988"/>
                    <a:pt x="1429817" y="53264"/>
                  </a:cubicBezTo>
                  <a:cubicBezTo>
                    <a:pt x="1438808" y="48539"/>
                    <a:pt x="1449248" y="46177"/>
                    <a:pt x="1461135" y="46177"/>
                  </a:cubicBezTo>
                  <a:close/>
                  <a:moveTo>
                    <a:pt x="1382344" y="46177"/>
                  </a:moveTo>
                  <a:cubicBezTo>
                    <a:pt x="1385240" y="46177"/>
                    <a:pt x="1387716" y="46444"/>
                    <a:pt x="1389774" y="46977"/>
                  </a:cubicBezTo>
                  <a:cubicBezTo>
                    <a:pt x="1391831" y="47511"/>
                    <a:pt x="1393469" y="48082"/>
                    <a:pt x="1394689" y="48692"/>
                  </a:cubicBezTo>
                  <a:lnTo>
                    <a:pt x="1390802" y="80696"/>
                  </a:lnTo>
                  <a:cubicBezTo>
                    <a:pt x="1389278" y="80239"/>
                    <a:pt x="1387335" y="79781"/>
                    <a:pt x="1384973" y="79324"/>
                  </a:cubicBezTo>
                  <a:cubicBezTo>
                    <a:pt x="1382611" y="78867"/>
                    <a:pt x="1379753" y="78638"/>
                    <a:pt x="1376401" y="78638"/>
                  </a:cubicBezTo>
                  <a:cubicBezTo>
                    <a:pt x="1369390" y="78638"/>
                    <a:pt x="1363332" y="80848"/>
                    <a:pt x="1358227" y="85268"/>
                  </a:cubicBezTo>
                  <a:cubicBezTo>
                    <a:pt x="1353122" y="89687"/>
                    <a:pt x="1350569" y="96317"/>
                    <a:pt x="1350569" y="105156"/>
                  </a:cubicBezTo>
                  <a:lnTo>
                    <a:pt x="1350569" y="162763"/>
                  </a:lnTo>
                  <a:lnTo>
                    <a:pt x="1311707" y="162763"/>
                  </a:lnTo>
                  <a:lnTo>
                    <a:pt x="1311707" y="48463"/>
                  </a:lnTo>
                  <a:lnTo>
                    <a:pt x="1345997" y="48463"/>
                  </a:lnTo>
                  <a:lnTo>
                    <a:pt x="1347597" y="73152"/>
                  </a:lnTo>
                  <a:cubicBezTo>
                    <a:pt x="1350340" y="64770"/>
                    <a:pt x="1354569" y="58179"/>
                    <a:pt x="1360284" y="53378"/>
                  </a:cubicBezTo>
                  <a:cubicBezTo>
                    <a:pt x="1365999" y="48578"/>
                    <a:pt x="1373353" y="46177"/>
                    <a:pt x="1382344" y="46177"/>
                  </a:cubicBezTo>
                  <a:close/>
                  <a:moveTo>
                    <a:pt x="1089888" y="46177"/>
                  </a:moveTo>
                  <a:cubicBezTo>
                    <a:pt x="1101928" y="46177"/>
                    <a:pt x="1112482" y="48539"/>
                    <a:pt x="1121549" y="53264"/>
                  </a:cubicBezTo>
                  <a:cubicBezTo>
                    <a:pt x="1130617" y="57988"/>
                    <a:pt x="1137704" y="64770"/>
                    <a:pt x="1142809" y="73609"/>
                  </a:cubicBezTo>
                  <a:cubicBezTo>
                    <a:pt x="1147915" y="82448"/>
                    <a:pt x="1150467" y="93116"/>
                    <a:pt x="1150467" y="105613"/>
                  </a:cubicBezTo>
                  <a:cubicBezTo>
                    <a:pt x="1150467" y="118110"/>
                    <a:pt x="1147915" y="128778"/>
                    <a:pt x="1142809" y="137617"/>
                  </a:cubicBezTo>
                  <a:cubicBezTo>
                    <a:pt x="1137704" y="146456"/>
                    <a:pt x="1130617" y="153238"/>
                    <a:pt x="1121549" y="157963"/>
                  </a:cubicBezTo>
                  <a:cubicBezTo>
                    <a:pt x="1112482" y="162687"/>
                    <a:pt x="1101928" y="165049"/>
                    <a:pt x="1089888" y="165049"/>
                  </a:cubicBezTo>
                  <a:cubicBezTo>
                    <a:pt x="1078001" y="165049"/>
                    <a:pt x="1067524" y="162687"/>
                    <a:pt x="1058456" y="157963"/>
                  </a:cubicBezTo>
                  <a:cubicBezTo>
                    <a:pt x="1049388" y="153238"/>
                    <a:pt x="1042302" y="146456"/>
                    <a:pt x="1037196" y="137617"/>
                  </a:cubicBezTo>
                  <a:cubicBezTo>
                    <a:pt x="1032091" y="128778"/>
                    <a:pt x="1029538" y="118110"/>
                    <a:pt x="1029538" y="105613"/>
                  </a:cubicBezTo>
                  <a:cubicBezTo>
                    <a:pt x="1029538" y="93116"/>
                    <a:pt x="1032091" y="82448"/>
                    <a:pt x="1037196" y="73609"/>
                  </a:cubicBezTo>
                  <a:cubicBezTo>
                    <a:pt x="1042302" y="64770"/>
                    <a:pt x="1049388" y="57988"/>
                    <a:pt x="1058456" y="53264"/>
                  </a:cubicBezTo>
                  <a:cubicBezTo>
                    <a:pt x="1067524" y="48539"/>
                    <a:pt x="1078001" y="46177"/>
                    <a:pt x="1089888" y="46177"/>
                  </a:cubicBezTo>
                  <a:close/>
                  <a:moveTo>
                    <a:pt x="961034" y="46177"/>
                  </a:moveTo>
                  <a:cubicBezTo>
                    <a:pt x="984656" y="46177"/>
                    <a:pt x="1001877" y="52730"/>
                    <a:pt x="1012698" y="65837"/>
                  </a:cubicBezTo>
                  <a:lnTo>
                    <a:pt x="994181" y="86868"/>
                  </a:lnTo>
                  <a:cubicBezTo>
                    <a:pt x="990524" y="82296"/>
                    <a:pt x="985799" y="78715"/>
                    <a:pt x="980008" y="76124"/>
                  </a:cubicBezTo>
                  <a:cubicBezTo>
                    <a:pt x="974217" y="73533"/>
                    <a:pt x="968426" y="72238"/>
                    <a:pt x="962634" y="72238"/>
                  </a:cubicBezTo>
                  <a:cubicBezTo>
                    <a:pt x="951509" y="72238"/>
                    <a:pt x="945947" y="75057"/>
                    <a:pt x="945947" y="80696"/>
                  </a:cubicBezTo>
                  <a:cubicBezTo>
                    <a:pt x="945947" y="82677"/>
                    <a:pt x="946899" y="84430"/>
                    <a:pt x="948804" y="85954"/>
                  </a:cubicBezTo>
                  <a:cubicBezTo>
                    <a:pt x="950709" y="87478"/>
                    <a:pt x="954252" y="88697"/>
                    <a:pt x="959434" y="89611"/>
                  </a:cubicBezTo>
                  <a:lnTo>
                    <a:pt x="980237" y="93726"/>
                  </a:lnTo>
                  <a:cubicBezTo>
                    <a:pt x="991972" y="96012"/>
                    <a:pt x="1000430" y="99936"/>
                    <a:pt x="1005611" y="105499"/>
                  </a:cubicBezTo>
                  <a:cubicBezTo>
                    <a:pt x="1010793" y="111062"/>
                    <a:pt x="1013384" y="117805"/>
                    <a:pt x="1013384" y="125730"/>
                  </a:cubicBezTo>
                  <a:cubicBezTo>
                    <a:pt x="1013384" y="136855"/>
                    <a:pt x="1008926" y="146190"/>
                    <a:pt x="1000011" y="153734"/>
                  </a:cubicBezTo>
                  <a:cubicBezTo>
                    <a:pt x="991095" y="161277"/>
                    <a:pt x="977646" y="165049"/>
                    <a:pt x="959663" y="165049"/>
                  </a:cubicBezTo>
                  <a:cubicBezTo>
                    <a:pt x="948233" y="165049"/>
                    <a:pt x="937641" y="163182"/>
                    <a:pt x="927887" y="159449"/>
                  </a:cubicBezTo>
                  <a:cubicBezTo>
                    <a:pt x="918134" y="155715"/>
                    <a:pt x="909980" y="150343"/>
                    <a:pt x="903427" y="143332"/>
                  </a:cubicBezTo>
                  <a:lnTo>
                    <a:pt x="921715" y="121844"/>
                  </a:lnTo>
                  <a:cubicBezTo>
                    <a:pt x="925525" y="126721"/>
                    <a:pt x="930592" y="130797"/>
                    <a:pt x="936917" y="134074"/>
                  </a:cubicBezTo>
                  <a:cubicBezTo>
                    <a:pt x="943242" y="137351"/>
                    <a:pt x="950290" y="138989"/>
                    <a:pt x="958062" y="138989"/>
                  </a:cubicBezTo>
                  <a:cubicBezTo>
                    <a:pt x="962787" y="138989"/>
                    <a:pt x="966673" y="138303"/>
                    <a:pt x="969721" y="136931"/>
                  </a:cubicBezTo>
                  <a:cubicBezTo>
                    <a:pt x="972769" y="135560"/>
                    <a:pt x="974293" y="133426"/>
                    <a:pt x="974293" y="130531"/>
                  </a:cubicBezTo>
                  <a:cubicBezTo>
                    <a:pt x="974293" y="128549"/>
                    <a:pt x="973531" y="126873"/>
                    <a:pt x="972007" y="125501"/>
                  </a:cubicBezTo>
                  <a:cubicBezTo>
                    <a:pt x="970483" y="124130"/>
                    <a:pt x="967435" y="122987"/>
                    <a:pt x="962863" y="122072"/>
                  </a:cubicBezTo>
                  <a:lnTo>
                    <a:pt x="946861" y="118872"/>
                  </a:lnTo>
                  <a:cubicBezTo>
                    <a:pt x="932536" y="115976"/>
                    <a:pt x="922363" y="111671"/>
                    <a:pt x="916343" y="105956"/>
                  </a:cubicBezTo>
                  <a:cubicBezTo>
                    <a:pt x="910323" y="100241"/>
                    <a:pt x="907313" y="92735"/>
                    <a:pt x="907313" y="83439"/>
                  </a:cubicBezTo>
                  <a:cubicBezTo>
                    <a:pt x="907313" y="77191"/>
                    <a:pt x="909218" y="71247"/>
                    <a:pt x="913028" y="65608"/>
                  </a:cubicBezTo>
                  <a:cubicBezTo>
                    <a:pt x="916838" y="59969"/>
                    <a:pt x="922706" y="55321"/>
                    <a:pt x="930631" y="51664"/>
                  </a:cubicBezTo>
                  <a:cubicBezTo>
                    <a:pt x="938555" y="48006"/>
                    <a:pt x="948690" y="46177"/>
                    <a:pt x="961034" y="46177"/>
                  </a:cubicBezTo>
                  <a:close/>
                  <a:moveTo>
                    <a:pt x="832256" y="46177"/>
                  </a:moveTo>
                  <a:cubicBezTo>
                    <a:pt x="844296" y="46177"/>
                    <a:pt x="854545" y="48501"/>
                    <a:pt x="863003" y="53150"/>
                  </a:cubicBezTo>
                  <a:cubicBezTo>
                    <a:pt x="871461" y="57798"/>
                    <a:pt x="877900" y="64199"/>
                    <a:pt x="882320" y="72352"/>
                  </a:cubicBezTo>
                  <a:cubicBezTo>
                    <a:pt x="886739" y="80505"/>
                    <a:pt x="888949" y="89840"/>
                    <a:pt x="888949" y="100355"/>
                  </a:cubicBezTo>
                  <a:cubicBezTo>
                    <a:pt x="888949" y="103251"/>
                    <a:pt x="888835" y="106032"/>
                    <a:pt x="888606" y="108699"/>
                  </a:cubicBezTo>
                  <a:cubicBezTo>
                    <a:pt x="888378" y="111366"/>
                    <a:pt x="888187" y="113614"/>
                    <a:pt x="888035" y="115443"/>
                  </a:cubicBezTo>
                  <a:lnTo>
                    <a:pt x="810082" y="115443"/>
                  </a:lnTo>
                  <a:cubicBezTo>
                    <a:pt x="811149" y="123368"/>
                    <a:pt x="813740" y="129045"/>
                    <a:pt x="817855" y="132474"/>
                  </a:cubicBezTo>
                  <a:cubicBezTo>
                    <a:pt x="821969" y="135903"/>
                    <a:pt x="827379" y="137617"/>
                    <a:pt x="834085" y="137617"/>
                  </a:cubicBezTo>
                  <a:cubicBezTo>
                    <a:pt x="839876" y="137617"/>
                    <a:pt x="844486" y="136474"/>
                    <a:pt x="847915" y="134188"/>
                  </a:cubicBezTo>
                  <a:cubicBezTo>
                    <a:pt x="851344" y="131902"/>
                    <a:pt x="853897" y="128702"/>
                    <a:pt x="855574" y="124587"/>
                  </a:cubicBezTo>
                  <a:lnTo>
                    <a:pt x="886663" y="134874"/>
                  </a:lnTo>
                  <a:cubicBezTo>
                    <a:pt x="884530" y="141427"/>
                    <a:pt x="880834" y="146952"/>
                    <a:pt x="875576" y="151448"/>
                  </a:cubicBezTo>
                  <a:cubicBezTo>
                    <a:pt x="870318" y="155943"/>
                    <a:pt x="864070" y="159334"/>
                    <a:pt x="856831" y="161620"/>
                  </a:cubicBezTo>
                  <a:cubicBezTo>
                    <a:pt x="849592" y="163906"/>
                    <a:pt x="842010" y="165049"/>
                    <a:pt x="834085" y="165049"/>
                  </a:cubicBezTo>
                  <a:cubicBezTo>
                    <a:pt x="815035" y="165049"/>
                    <a:pt x="799986" y="159868"/>
                    <a:pt x="788937" y="149504"/>
                  </a:cubicBezTo>
                  <a:cubicBezTo>
                    <a:pt x="777888" y="139141"/>
                    <a:pt x="772363" y="124511"/>
                    <a:pt x="772363" y="105613"/>
                  </a:cubicBezTo>
                  <a:cubicBezTo>
                    <a:pt x="772363" y="93116"/>
                    <a:pt x="774916" y="82410"/>
                    <a:pt x="780021" y="73495"/>
                  </a:cubicBezTo>
                  <a:cubicBezTo>
                    <a:pt x="785127" y="64580"/>
                    <a:pt x="792137" y="57798"/>
                    <a:pt x="801052" y="53150"/>
                  </a:cubicBezTo>
                  <a:cubicBezTo>
                    <a:pt x="809968" y="48501"/>
                    <a:pt x="820369" y="46177"/>
                    <a:pt x="832256" y="46177"/>
                  </a:cubicBezTo>
                  <a:close/>
                  <a:moveTo>
                    <a:pt x="341909" y="46177"/>
                  </a:moveTo>
                  <a:cubicBezTo>
                    <a:pt x="365531" y="46177"/>
                    <a:pt x="382753" y="52730"/>
                    <a:pt x="393573" y="65837"/>
                  </a:cubicBezTo>
                  <a:lnTo>
                    <a:pt x="375056" y="86868"/>
                  </a:lnTo>
                  <a:cubicBezTo>
                    <a:pt x="371399" y="82296"/>
                    <a:pt x="366674" y="78715"/>
                    <a:pt x="360883" y="76124"/>
                  </a:cubicBezTo>
                  <a:cubicBezTo>
                    <a:pt x="355092" y="73533"/>
                    <a:pt x="349301" y="72238"/>
                    <a:pt x="343509" y="72238"/>
                  </a:cubicBezTo>
                  <a:cubicBezTo>
                    <a:pt x="332384" y="72238"/>
                    <a:pt x="326822" y="75057"/>
                    <a:pt x="326822" y="80696"/>
                  </a:cubicBezTo>
                  <a:cubicBezTo>
                    <a:pt x="326822" y="82677"/>
                    <a:pt x="327774" y="84430"/>
                    <a:pt x="329679" y="85954"/>
                  </a:cubicBezTo>
                  <a:cubicBezTo>
                    <a:pt x="331584" y="87478"/>
                    <a:pt x="335128" y="88697"/>
                    <a:pt x="340309" y="89611"/>
                  </a:cubicBezTo>
                  <a:lnTo>
                    <a:pt x="361112" y="93726"/>
                  </a:lnTo>
                  <a:cubicBezTo>
                    <a:pt x="372846" y="96012"/>
                    <a:pt x="381305" y="99936"/>
                    <a:pt x="386486" y="105499"/>
                  </a:cubicBezTo>
                  <a:cubicBezTo>
                    <a:pt x="391668" y="111062"/>
                    <a:pt x="394259" y="117805"/>
                    <a:pt x="394259" y="125730"/>
                  </a:cubicBezTo>
                  <a:cubicBezTo>
                    <a:pt x="394259" y="136855"/>
                    <a:pt x="389801" y="146190"/>
                    <a:pt x="380886" y="153734"/>
                  </a:cubicBezTo>
                  <a:cubicBezTo>
                    <a:pt x="371970" y="161277"/>
                    <a:pt x="358521" y="165049"/>
                    <a:pt x="340538" y="165049"/>
                  </a:cubicBezTo>
                  <a:cubicBezTo>
                    <a:pt x="329108" y="165049"/>
                    <a:pt x="318516" y="163182"/>
                    <a:pt x="308762" y="159449"/>
                  </a:cubicBezTo>
                  <a:cubicBezTo>
                    <a:pt x="299009" y="155715"/>
                    <a:pt x="290855" y="150343"/>
                    <a:pt x="284302" y="143332"/>
                  </a:cubicBezTo>
                  <a:lnTo>
                    <a:pt x="302590" y="121844"/>
                  </a:lnTo>
                  <a:cubicBezTo>
                    <a:pt x="306400" y="126721"/>
                    <a:pt x="311467" y="130797"/>
                    <a:pt x="317792" y="134074"/>
                  </a:cubicBezTo>
                  <a:cubicBezTo>
                    <a:pt x="324117" y="137351"/>
                    <a:pt x="331165" y="138989"/>
                    <a:pt x="338937" y="138989"/>
                  </a:cubicBezTo>
                  <a:cubicBezTo>
                    <a:pt x="343662" y="138989"/>
                    <a:pt x="347548" y="138303"/>
                    <a:pt x="350596" y="136931"/>
                  </a:cubicBezTo>
                  <a:cubicBezTo>
                    <a:pt x="353644" y="135560"/>
                    <a:pt x="355168" y="133426"/>
                    <a:pt x="355168" y="130531"/>
                  </a:cubicBezTo>
                  <a:cubicBezTo>
                    <a:pt x="355168" y="128549"/>
                    <a:pt x="354406" y="126873"/>
                    <a:pt x="352882" y="125501"/>
                  </a:cubicBezTo>
                  <a:cubicBezTo>
                    <a:pt x="351358" y="124130"/>
                    <a:pt x="348310" y="122987"/>
                    <a:pt x="343738" y="122072"/>
                  </a:cubicBezTo>
                  <a:lnTo>
                    <a:pt x="327736" y="118872"/>
                  </a:lnTo>
                  <a:cubicBezTo>
                    <a:pt x="313410" y="115976"/>
                    <a:pt x="303238" y="111671"/>
                    <a:pt x="297218" y="105956"/>
                  </a:cubicBezTo>
                  <a:cubicBezTo>
                    <a:pt x="291198" y="100241"/>
                    <a:pt x="288188" y="92735"/>
                    <a:pt x="288188" y="83439"/>
                  </a:cubicBezTo>
                  <a:cubicBezTo>
                    <a:pt x="288188" y="77191"/>
                    <a:pt x="290093" y="71247"/>
                    <a:pt x="293903" y="65608"/>
                  </a:cubicBezTo>
                  <a:cubicBezTo>
                    <a:pt x="297713" y="59969"/>
                    <a:pt x="303581" y="55321"/>
                    <a:pt x="311505" y="51664"/>
                  </a:cubicBezTo>
                  <a:cubicBezTo>
                    <a:pt x="319430" y="48006"/>
                    <a:pt x="329565" y="46177"/>
                    <a:pt x="341909" y="46177"/>
                  </a:cubicBezTo>
                  <a:close/>
                  <a:moveTo>
                    <a:pt x="213588" y="46177"/>
                  </a:moveTo>
                  <a:cubicBezTo>
                    <a:pt x="225628" y="46177"/>
                    <a:pt x="236182" y="48539"/>
                    <a:pt x="245250" y="53264"/>
                  </a:cubicBezTo>
                  <a:cubicBezTo>
                    <a:pt x="254317" y="57988"/>
                    <a:pt x="261404" y="64770"/>
                    <a:pt x="266509" y="73609"/>
                  </a:cubicBezTo>
                  <a:cubicBezTo>
                    <a:pt x="271615" y="82448"/>
                    <a:pt x="274168" y="93116"/>
                    <a:pt x="274168" y="105613"/>
                  </a:cubicBezTo>
                  <a:cubicBezTo>
                    <a:pt x="274168" y="118110"/>
                    <a:pt x="271615" y="128778"/>
                    <a:pt x="266509" y="137617"/>
                  </a:cubicBezTo>
                  <a:cubicBezTo>
                    <a:pt x="261404" y="146456"/>
                    <a:pt x="254317" y="153238"/>
                    <a:pt x="245250" y="157963"/>
                  </a:cubicBezTo>
                  <a:cubicBezTo>
                    <a:pt x="236182" y="162687"/>
                    <a:pt x="225628" y="165049"/>
                    <a:pt x="213588" y="165049"/>
                  </a:cubicBezTo>
                  <a:cubicBezTo>
                    <a:pt x="201701" y="165049"/>
                    <a:pt x="191224" y="162687"/>
                    <a:pt x="182156" y="157963"/>
                  </a:cubicBezTo>
                  <a:cubicBezTo>
                    <a:pt x="173088" y="153238"/>
                    <a:pt x="166002" y="146456"/>
                    <a:pt x="160896" y="137617"/>
                  </a:cubicBezTo>
                  <a:cubicBezTo>
                    <a:pt x="155791" y="128778"/>
                    <a:pt x="153238" y="118110"/>
                    <a:pt x="153238" y="105613"/>
                  </a:cubicBezTo>
                  <a:cubicBezTo>
                    <a:pt x="153238" y="93116"/>
                    <a:pt x="155791" y="82448"/>
                    <a:pt x="160896" y="73609"/>
                  </a:cubicBezTo>
                  <a:cubicBezTo>
                    <a:pt x="166002" y="64770"/>
                    <a:pt x="173088" y="57988"/>
                    <a:pt x="182156" y="53264"/>
                  </a:cubicBezTo>
                  <a:cubicBezTo>
                    <a:pt x="191224" y="48539"/>
                    <a:pt x="201701" y="46177"/>
                    <a:pt x="213588" y="46177"/>
                  </a:cubicBezTo>
                  <a:close/>
                  <a:moveTo>
                    <a:pt x="1917497" y="42062"/>
                  </a:moveTo>
                  <a:lnTo>
                    <a:pt x="1911325" y="65608"/>
                  </a:lnTo>
                  <a:lnTo>
                    <a:pt x="1899895" y="101956"/>
                  </a:lnTo>
                  <a:lnTo>
                    <a:pt x="1935556" y="101956"/>
                  </a:lnTo>
                  <a:lnTo>
                    <a:pt x="1924583" y="65837"/>
                  </a:lnTo>
                  <a:lnTo>
                    <a:pt x="1917954" y="42062"/>
                  </a:lnTo>
                  <a:close/>
                  <a:moveTo>
                    <a:pt x="657758" y="41605"/>
                  </a:moveTo>
                  <a:lnTo>
                    <a:pt x="657758" y="79781"/>
                  </a:lnTo>
                  <a:lnTo>
                    <a:pt x="685648" y="79781"/>
                  </a:lnTo>
                  <a:cubicBezTo>
                    <a:pt x="693268" y="79781"/>
                    <a:pt x="698982" y="78257"/>
                    <a:pt x="702793" y="75209"/>
                  </a:cubicBezTo>
                  <a:cubicBezTo>
                    <a:pt x="706602" y="72161"/>
                    <a:pt x="708507" y="67285"/>
                    <a:pt x="708507" y="60579"/>
                  </a:cubicBezTo>
                  <a:cubicBezTo>
                    <a:pt x="708507" y="47930"/>
                    <a:pt x="700887" y="41605"/>
                    <a:pt x="685648" y="41605"/>
                  </a:cubicBezTo>
                  <a:close/>
                  <a:moveTo>
                    <a:pt x="38633" y="41605"/>
                  </a:moveTo>
                  <a:lnTo>
                    <a:pt x="38633" y="79781"/>
                  </a:lnTo>
                  <a:lnTo>
                    <a:pt x="66523" y="79781"/>
                  </a:lnTo>
                  <a:cubicBezTo>
                    <a:pt x="74143" y="79781"/>
                    <a:pt x="79857" y="78257"/>
                    <a:pt x="83668" y="75209"/>
                  </a:cubicBezTo>
                  <a:cubicBezTo>
                    <a:pt x="87477" y="72161"/>
                    <a:pt x="89383" y="67285"/>
                    <a:pt x="89383" y="60579"/>
                  </a:cubicBezTo>
                  <a:cubicBezTo>
                    <a:pt x="89383" y="47930"/>
                    <a:pt x="81763" y="41605"/>
                    <a:pt x="66523" y="41605"/>
                  </a:cubicBezTo>
                  <a:close/>
                  <a:moveTo>
                    <a:pt x="1894637" y="11887"/>
                  </a:moveTo>
                  <a:lnTo>
                    <a:pt x="1941728" y="11887"/>
                  </a:lnTo>
                  <a:lnTo>
                    <a:pt x="1994535" y="162763"/>
                  </a:lnTo>
                  <a:lnTo>
                    <a:pt x="1954073" y="162763"/>
                  </a:lnTo>
                  <a:lnTo>
                    <a:pt x="1943786" y="128702"/>
                  </a:lnTo>
                  <a:lnTo>
                    <a:pt x="1891665" y="128702"/>
                  </a:lnTo>
                  <a:lnTo>
                    <a:pt x="1881149" y="162763"/>
                  </a:lnTo>
                  <a:lnTo>
                    <a:pt x="1841602" y="162763"/>
                  </a:lnTo>
                  <a:close/>
                  <a:moveTo>
                    <a:pt x="619125" y="11887"/>
                  </a:moveTo>
                  <a:lnTo>
                    <a:pt x="691134" y="11887"/>
                  </a:lnTo>
                  <a:cubicBezTo>
                    <a:pt x="709117" y="11887"/>
                    <a:pt x="723100" y="16078"/>
                    <a:pt x="733082" y="24460"/>
                  </a:cubicBezTo>
                  <a:cubicBezTo>
                    <a:pt x="743064" y="32842"/>
                    <a:pt x="748055" y="44120"/>
                    <a:pt x="748055" y="58293"/>
                  </a:cubicBezTo>
                  <a:cubicBezTo>
                    <a:pt x="748055" y="69571"/>
                    <a:pt x="745426" y="78829"/>
                    <a:pt x="740169" y="86068"/>
                  </a:cubicBezTo>
                  <a:cubicBezTo>
                    <a:pt x="734911" y="93307"/>
                    <a:pt x="727405" y="98603"/>
                    <a:pt x="717651" y="101956"/>
                  </a:cubicBezTo>
                  <a:lnTo>
                    <a:pt x="756971" y="162763"/>
                  </a:lnTo>
                  <a:lnTo>
                    <a:pt x="713537" y="162763"/>
                  </a:lnTo>
                  <a:lnTo>
                    <a:pt x="681304" y="107671"/>
                  </a:lnTo>
                  <a:lnTo>
                    <a:pt x="657758" y="107671"/>
                  </a:lnTo>
                  <a:lnTo>
                    <a:pt x="657758" y="162763"/>
                  </a:lnTo>
                  <a:lnTo>
                    <a:pt x="619125" y="162763"/>
                  </a:lnTo>
                  <a:close/>
                  <a:moveTo>
                    <a:pt x="0" y="11887"/>
                  </a:moveTo>
                  <a:lnTo>
                    <a:pt x="72009" y="11887"/>
                  </a:lnTo>
                  <a:cubicBezTo>
                    <a:pt x="89992" y="11887"/>
                    <a:pt x="103975" y="16078"/>
                    <a:pt x="113957" y="24460"/>
                  </a:cubicBezTo>
                  <a:cubicBezTo>
                    <a:pt x="123939" y="32842"/>
                    <a:pt x="128930" y="44120"/>
                    <a:pt x="128930" y="58293"/>
                  </a:cubicBezTo>
                  <a:cubicBezTo>
                    <a:pt x="128930" y="69571"/>
                    <a:pt x="126301" y="78829"/>
                    <a:pt x="121044" y="86068"/>
                  </a:cubicBezTo>
                  <a:cubicBezTo>
                    <a:pt x="115786" y="93307"/>
                    <a:pt x="108280" y="98603"/>
                    <a:pt x="98526" y="101956"/>
                  </a:cubicBezTo>
                  <a:lnTo>
                    <a:pt x="137846" y="162763"/>
                  </a:lnTo>
                  <a:lnTo>
                    <a:pt x="94412" y="162763"/>
                  </a:lnTo>
                  <a:lnTo>
                    <a:pt x="62179" y="107671"/>
                  </a:lnTo>
                  <a:lnTo>
                    <a:pt x="38633" y="107671"/>
                  </a:lnTo>
                  <a:lnTo>
                    <a:pt x="38633" y="162763"/>
                  </a:lnTo>
                  <a:lnTo>
                    <a:pt x="0" y="162763"/>
                  </a:lnTo>
                  <a:close/>
                  <a:moveTo>
                    <a:pt x="2078812" y="9601"/>
                  </a:moveTo>
                  <a:cubicBezTo>
                    <a:pt x="2096033" y="9601"/>
                    <a:pt x="2109864" y="12687"/>
                    <a:pt x="2120303" y="18860"/>
                  </a:cubicBezTo>
                  <a:cubicBezTo>
                    <a:pt x="2130742" y="25032"/>
                    <a:pt x="2138858" y="34823"/>
                    <a:pt x="2144649" y="48235"/>
                  </a:cubicBezTo>
                  <a:lnTo>
                    <a:pt x="2108302" y="62636"/>
                  </a:lnTo>
                  <a:cubicBezTo>
                    <a:pt x="2106320" y="54864"/>
                    <a:pt x="2102815" y="49225"/>
                    <a:pt x="2097786" y="45720"/>
                  </a:cubicBezTo>
                  <a:cubicBezTo>
                    <a:pt x="2092757" y="42215"/>
                    <a:pt x="2086508" y="40462"/>
                    <a:pt x="2079041" y="40462"/>
                  </a:cubicBezTo>
                  <a:cubicBezTo>
                    <a:pt x="2067763" y="40462"/>
                    <a:pt x="2059038" y="44463"/>
                    <a:pt x="2052866" y="52464"/>
                  </a:cubicBezTo>
                  <a:cubicBezTo>
                    <a:pt x="2046694" y="60465"/>
                    <a:pt x="2043608" y="72085"/>
                    <a:pt x="2043608" y="87325"/>
                  </a:cubicBezTo>
                  <a:cubicBezTo>
                    <a:pt x="2043608" y="103480"/>
                    <a:pt x="2046732" y="115481"/>
                    <a:pt x="2052980" y="123330"/>
                  </a:cubicBezTo>
                  <a:cubicBezTo>
                    <a:pt x="2059229" y="131178"/>
                    <a:pt x="2068601" y="135103"/>
                    <a:pt x="2081098" y="135103"/>
                  </a:cubicBezTo>
                  <a:cubicBezTo>
                    <a:pt x="2089785" y="135103"/>
                    <a:pt x="2097024" y="133045"/>
                    <a:pt x="2102815" y="128930"/>
                  </a:cubicBezTo>
                  <a:cubicBezTo>
                    <a:pt x="2108606" y="124816"/>
                    <a:pt x="2111502" y="118491"/>
                    <a:pt x="2111502" y="109957"/>
                  </a:cubicBezTo>
                  <a:lnTo>
                    <a:pt x="2111502" y="107671"/>
                  </a:lnTo>
                  <a:lnTo>
                    <a:pt x="2076984" y="107671"/>
                  </a:lnTo>
                  <a:lnTo>
                    <a:pt x="2076984" y="81382"/>
                  </a:lnTo>
                  <a:lnTo>
                    <a:pt x="2144878" y="81382"/>
                  </a:lnTo>
                  <a:lnTo>
                    <a:pt x="2144878" y="162763"/>
                  </a:lnTo>
                  <a:lnTo>
                    <a:pt x="2118131" y="162763"/>
                  </a:lnTo>
                  <a:lnTo>
                    <a:pt x="2116531" y="144247"/>
                  </a:lnTo>
                  <a:cubicBezTo>
                    <a:pt x="2112264" y="150952"/>
                    <a:pt x="2106435" y="156096"/>
                    <a:pt x="2099043" y="159677"/>
                  </a:cubicBezTo>
                  <a:cubicBezTo>
                    <a:pt x="2091652" y="163259"/>
                    <a:pt x="2082698" y="165049"/>
                    <a:pt x="2072183" y="165049"/>
                  </a:cubicBezTo>
                  <a:cubicBezTo>
                    <a:pt x="2058772" y="165049"/>
                    <a:pt x="2046846" y="162077"/>
                    <a:pt x="2036407" y="156134"/>
                  </a:cubicBezTo>
                  <a:cubicBezTo>
                    <a:pt x="2025967" y="150190"/>
                    <a:pt x="2017852" y="141427"/>
                    <a:pt x="2012061" y="129845"/>
                  </a:cubicBezTo>
                  <a:cubicBezTo>
                    <a:pt x="2006270" y="118262"/>
                    <a:pt x="2003374" y="104165"/>
                    <a:pt x="2003374" y="87554"/>
                  </a:cubicBezTo>
                  <a:cubicBezTo>
                    <a:pt x="2003374" y="71399"/>
                    <a:pt x="2006422" y="57493"/>
                    <a:pt x="2012518" y="45834"/>
                  </a:cubicBezTo>
                  <a:cubicBezTo>
                    <a:pt x="2018614" y="34176"/>
                    <a:pt x="2027339" y="25222"/>
                    <a:pt x="2038693" y="18974"/>
                  </a:cubicBezTo>
                  <a:cubicBezTo>
                    <a:pt x="2050047" y="12725"/>
                    <a:pt x="2063420" y="9601"/>
                    <a:pt x="2078812" y="9601"/>
                  </a:cubicBezTo>
                  <a:close/>
                  <a:moveTo>
                    <a:pt x="416357" y="0"/>
                  </a:moveTo>
                  <a:lnTo>
                    <a:pt x="455219" y="0"/>
                  </a:lnTo>
                  <a:lnTo>
                    <a:pt x="455219" y="69266"/>
                  </a:lnTo>
                  <a:cubicBezTo>
                    <a:pt x="458572" y="61646"/>
                    <a:pt x="463372" y="55893"/>
                    <a:pt x="469621" y="52007"/>
                  </a:cubicBezTo>
                  <a:cubicBezTo>
                    <a:pt x="475869" y="48120"/>
                    <a:pt x="483108" y="46177"/>
                    <a:pt x="491338" y="46177"/>
                  </a:cubicBezTo>
                  <a:cubicBezTo>
                    <a:pt x="503072" y="46177"/>
                    <a:pt x="512597" y="49606"/>
                    <a:pt x="519913" y="56464"/>
                  </a:cubicBezTo>
                  <a:cubicBezTo>
                    <a:pt x="527228" y="63322"/>
                    <a:pt x="530885" y="73381"/>
                    <a:pt x="530885" y="86639"/>
                  </a:cubicBezTo>
                  <a:lnTo>
                    <a:pt x="530885" y="162763"/>
                  </a:lnTo>
                  <a:lnTo>
                    <a:pt x="492023" y="162763"/>
                  </a:lnTo>
                  <a:lnTo>
                    <a:pt x="492023" y="97384"/>
                  </a:lnTo>
                  <a:cubicBezTo>
                    <a:pt x="492023" y="89154"/>
                    <a:pt x="490537" y="83477"/>
                    <a:pt x="487566" y="80353"/>
                  </a:cubicBezTo>
                  <a:cubicBezTo>
                    <a:pt x="484594" y="77229"/>
                    <a:pt x="480670" y="75667"/>
                    <a:pt x="475793" y="75667"/>
                  </a:cubicBezTo>
                  <a:cubicBezTo>
                    <a:pt x="470306" y="75667"/>
                    <a:pt x="465506" y="77762"/>
                    <a:pt x="461391" y="81953"/>
                  </a:cubicBezTo>
                  <a:cubicBezTo>
                    <a:pt x="457276" y="86144"/>
                    <a:pt x="455219" y="93040"/>
                    <a:pt x="455219" y="102641"/>
                  </a:cubicBezTo>
                  <a:lnTo>
                    <a:pt x="455219" y="162763"/>
                  </a:lnTo>
                  <a:lnTo>
                    <a:pt x="416357" y="162763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  <p:grpSp>
        <p:nvGrpSpPr>
          <p:cNvPr id="123" name="Групувати 122">
            <a:extLst>
              <a:ext uri="{FF2B5EF4-FFF2-40B4-BE49-F238E27FC236}">
                <a16:creationId xmlns:a16="http://schemas.microsoft.com/office/drawing/2014/main" id="{DCA31265-2C49-5D52-4489-917EBD1FC5E7}"/>
              </a:ext>
            </a:extLst>
          </p:cNvPr>
          <p:cNvGrpSpPr/>
          <p:nvPr/>
        </p:nvGrpSpPr>
        <p:grpSpPr>
          <a:xfrm>
            <a:off x="8087441" y="6286118"/>
            <a:ext cx="724806" cy="519853"/>
            <a:chOff x="7451008" y="6236910"/>
            <a:chExt cx="724806" cy="519853"/>
          </a:xfrm>
        </p:grpSpPr>
        <p:pic>
          <p:nvPicPr>
            <p:cNvPr id="60" name="Рисунок 59" descr="Зображення, що містить Графіка, графічний дизайн, логотип, символ&#10;&#10;Автоматично згенерований опис">
              <a:extLst>
                <a:ext uri="{FF2B5EF4-FFF2-40B4-BE49-F238E27FC236}">
                  <a16:creationId xmlns:a16="http://schemas.microsoft.com/office/drawing/2014/main" id="{BE2205CA-AD34-DF45-87FA-F4F677B3E3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21" t="25148" r="16452" b="22048"/>
            <a:stretch/>
          </p:blipFill>
          <p:spPr>
            <a:xfrm>
              <a:off x="7491581" y="6236910"/>
              <a:ext cx="643660" cy="515533"/>
            </a:xfrm>
            <a:prstGeom prst="rect">
              <a:avLst/>
            </a:prstGeom>
          </p:spPr>
        </p:pic>
        <p:sp>
          <p:nvSpPr>
            <p:cNvPr id="109" name="Полілінія: фігура 108">
              <a:extLst>
                <a:ext uri="{FF2B5EF4-FFF2-40B4-BE49-F238E27FC236}">
                  <a16:creationId xmlns:a16="http://schemas.microsoft.com/office/drawing/2014/main" id="{CC7DADE0-1421-5169-B3E2-8BD0B34AA50A}"/>
                </a:ext>
              </a:extLst>
            </p:cNvPr>
            <p:cNvSpPr/>
            <p:nvPr/>
          </p:nvSpPr>
          <p:spPr>
            <a:xfrm>
              <a:off x="7451008" y="6692767"/>
              <a:ext cx="724806" cy="63996"/>
            </a:xfrm>
            <a:custGeom>
              <a:avLst/>
              <a:gdLst/>
              <a:ahLst/>
              <a:cxnLst/>
              <a:rect l="l" t="t" r="r" b="b"/>
              <a:pathLst>
                <a:path w="2217407" h="195784">
                  <a:moveTo>
                    <a:pt x="398553" y="150466"/>
                  </a:moveTo>
                  <a:cubicBezTo>
                    <a:pt x="396618" y="151880"/>
                    <a:pt x="395074" y="153238"/>
                    <a:pt x="393920" y="154540"/>
                  </a:cubicBezTo>
                  <a:cubicBezTo>
                    <a:pt x="392767" y="155842"/>
                    <a:pt x="391837" y="157089"/>
                    <a:pt x="391130" y="158279"/>
                  </a:cubicBezTo>
                  <a:cubicBezTo>
                    <a:pt x="390423" y="159470"/>
                    <a:pt x="389958" y="160623"/>
                    <a:pt x="389735" y="161739"/>
                  </a:cubicBezTo>
                  <a:cubicBezTo>
                    <a:pt x="389511" y="162856"/>
                    <a:pt x="389400" y="164009"/>
                    <a:pt x="389400" y="165200"/>
                  </a:cubicBezTo>
                  <a:cubicBezTo>
                    <a:pt x="389400" y="168920"/>
                    <a:pt x="391279" y="171748"/>
                    <a:pt x="395037" y="173683"/>
                  </a:cubicBezTo>
                  <a:cubicBezTo>
                    <a:pt x="398795" y="175618"/>
                    <a:pt x="404097" y="176585"/>
                    <a:pt x="410943" y="176585"/>
                  </a:cubicBezTo>
                  <a:cubicBezTo>
                    <a:pt x="415184" y="176585"/>
                    <a:pt x="418756" y="176157"/>
                    <a:pt x="421658" y="175301"/>
                  </a:cubicBezTo>
                  <a:cubicBezTo>
                    <a:pt x="424560" y="174446"/>
                    <a:pt x="426905" y="173311"/>
                    <a:pt x="428690" y="171897"/>
                  </a:cubicBezTo>
                  <a:cubicBezTo>
                    <a:pt x="430476" y="170483"/>
                    <a:pt x="431741" y="168902"/>
                    <a:pt x="432486" y="167153"/>
                  </a:cubicBezTo>
                  <a:cubicBezTo>
                    <a:pt x="433230" y="165404"/>
                    <a:pt x="433602" y="163563"/>
                    <a:pt x="433602" y="161628"/>
                  </a:cubicBezTo>
                  <a:cubicBezTo>
                    <a:pt x="433602" y="158279"/>
                    <a:pt x="432262" y="155712"/>
                    <a:pt x="429583" y="153926"/>
                  </a:cubicBezTo>
                  <a:cubicBezTo>
                    <a:pt x="426905" y="152140"/>
                    <a:pt x="423221" y="151173"/>
                    <a:pt x="418533" y="151024"/>
                  </a:cubicBezTo>
                  <a:close/>
                  <a:moveTo>
                    <a:pt x="648472" y="108943"/>
                  </a:moveTo>
                  <a:cubicBezTo>
                    <a:pt x="643933" y="108943"/>
                    <a:pt x="640064" y="109277"/>
                    <a:pt x="636864" y="109947"/>
                  </a:cubicBezTo>
                  <a:cubicBezTo>
                    <a:pt x="633664" y="110617"/>
                    <a:pt x="631060" y="111622"/>
                    <a:pt x="629050" y="112961"/>
                  </a:cubicBezTo>
                  <a:cubicBezTo>
                    <a:pt x="627041" y="114300"/>
                    <a:pt x="625571" y="115919"/>
                    <a:pt x="624641" y="117816"/>
                  </a:cubicBezTo>
                  <a:cubicBezTo>
                    <a:pt x="623711" y="119714"/>
                    <a:pt x="623246" y="121891"/>
                    <a:pt x="623246" y="124346"/>
                  </a:cubicBezTo>
                  <a:cubicBezTo>
                    <a:pt x="623246" y="128514"/>
                    <a:pt x="624567" y="131788"/>
                    <a:pt x="627209" y="134169"/>
                  </a:cubicBezTo>
                  <a:cubicBezTo>
                    <a:pt x="629850" y="136550"/>
                    <a:pt x="633515" y="137741"/>
                    <a:pt x="638203" y="137741"/>
                  </a:cubicBezTo>
                  <a:cubicBezTo>
                    <a:pt x="642147" y="137741"/>
                    <a:pt x="645775" y="136736"/>
                    <a:pt x="649086" y="134727"/>
                  </a:cubicBezTo>
                  <a:cubicBezTo>
                    <a:pt x="652398" y="132718"/>
                    <a:pt x="655765" y="129779"/>
                    <a:pt x="659188" y="125909"/>
                  </a:cubicBezTo>
                  <a:lnTo>
                    <a:pt x="659188" y="108943"/>
                  </a:lnTo>
                  <a:close/>
                  <a:moveTo>
                    <a:pt x="181747" y="108943"/>
                  </a:moveTo>
                  <a:cubicBezTo>
                    <a:pt x="177208" y="108943"/>
                    <a:pt x="173339" y="109277"/>
                    <a:pt x="170139" y="109947"/>
                  </a:cubicBezTo>
                  <a:cubicBezTo>
                    <a:pt x="166939" y="110617"/>
                    <a:pt x="164335" y="111622"/>
                    <a:pt x="162325" y="112961"/>
                  </a:cubicBezTo>
                  <a:cubicBezTo>
                    <a:pt x="160316" y="114300"/>
                    <a:pt x="158846" y="115919"/>
                    <a:pt x="157916" y="117816"/>
                  </a:cubicBezTo>
                  <a:cubicBezTo>
                    <a:pt x="156986" y="119714"/>
                    <a:pt x="156521" y="121891"/>
                    <a:pt x="156521" y="124346"/>
                  </a:cubicBezTo>
                  <a:cubicBezTo>
                    <a:pt x="156521" y="128514"/>
                    <a:pt x="157842" y="131788"/>
                    <a:pt x="160484" y="134169"/>
                  </a:cubicBezTo>
                  <a:cubicBezTo>
                    <a:pt x="163125" y="136550"/>
                    <a:pt x="166790" y="137741"/>
                    <a:pt x="171478" y="137741"/>
                  </a:cubicBezTo>
                  <a:cubicBezTo>
                    <a:pt x="175422" y="137741"/>
                    <a:pt x="179050" y="136736"/>
                    <a:pt x="182361" y="134727"/>
                  </a:cubicBezTo>
                  <a:cubicBezTo>
                    <a:pt x="185673" y="132718"/>
                    <a:pt x="189040" y="129779"/>
                    <a:pt x="192463" y="125909"/>
                  </a:cubicBezTo>
                  <a:lnTo>
                    <a:pt x="192463" y="108943"/>
                  </a:lnTo>
                  <a:close/>
                  <a:moveTo>
                    <a:pt x="1769297" y="69094"/>
                  </a:moveTo>
                  <a:cubicBezTo>
                    <a:pt x="1765651" y="69094"/>
                    <a:pt x="1762507" y="70005"/>
                    <a:pt x="1759865" y="71829"/>
                  </a:cubicBezTo>
                  <a:cubicBezTo>
                    <a:pt x="1757223" y="73652"/>
                    <a:pt x="1755103" y="76089"/>
                    <a:pt x="1753503" y="79140"/>
                  </a:cubicBezTo>
                  <a:cubicBezTo>
                    <a:pt x="1751903" y="82191"/>
                    <a:pt x="1750712" y="85595"/>
                    <a:pt x="1749931" y="89353"/>
                  </a:cubicBezTo>
                  <a:cubicBezTo>
                    <a:pt x="1749150" y="93111"/>
                    <a:pt x="1748759" y="96962"/>
                    <a:pt x="1748759" y="100906"/>
                  </a:cubicBezTo>
                  <a:cubicBezTo>
                    <a:pt x="1748759" y="105073"/>
                    <a:pt x="1749094" y="109129"/>
                    <a:pt x="1749763" y="113073"/>
                  </a:cubicBezTo>
                  <a:cubicBezTo>
                    <a:pt x="1750433" y="117017"/>
                    <a:pt x="1751531" y="120533"/>
                    <a:pt x="1753056" y="123621"/>
                  </a:cubicBezTo>
                  <a:cubicBezTo>
                    <a:pt x="1754582" y="126709"/>
                    <a:pt x="1756610" y="129183"/>
                    <a:pt x="1759140" y="131044"/>
                  </a:cubicBezTo>
                  <a:cubicBezTo>
                    <a:pt x="1761670" y="132904"/>
                    <a:pt x="1764869" y="133834"/>
                    <a:pt x="1768739" y="133834"/>
                  </a:cubicBezTo>
                  <a:cubicBezTo>
                    <a:pt x="1770674" y="133834"/>
                    <a:pt x="1772553" y="133555"/>
                    <a:pt x="1774376" y="132997"/>
                  </a:cubicBezTo>
                  <a:cubicBezTo>
                    <a:pt x="1776199" y="132439"/>
                    <a:pt x="1778059" y="131527"/>
                    <a:pt x="1779957" y="130262"/>
                  </a:cubicBezTo>
                  <a:cubicBezTo>
                    <a:pt x="1781854" y="128997"/>
                    <a:pt x="1783808" y="127341"/>
                    <a:pt x="1785817" y="125295"/>
                  </a:cubicBezTo>
                  <a:cubicBezTo>
                    <a:pt x="1787826" y="123249"/>
                    <a:pt x="1790021" y="120737"/>
                    <a:pt x="1792403" y="117761"/>
                  </a:cubicBezTo>
                  <a:lnTo>
                    <a:pt x="1792403" y="84721"/>
                  </a:lnTo>
                  <a:cubicBezTo>
                    <a:pt x="1788384" y="79661"/>
                    <a:pt x="1784533" y="75791"/>
                    <a:pt x="1780850" y="73112"/>
                  </a:cubicBezTo>
                  <a:cubicBezTo>
                    <a:pt x="1777166" y="70433"/>
                    <a:pt x="1773315" y="69094"/>
                    <a:pt x="1769297" y="69094"/>
                  </a:cubicBezTo>
                  <a:close/>
                  <a:moveTo>
                    <a:pt x="845372" y="69094"/>
                  </a:moveTo>
                  <a:cubicBezTo>
                    <a:pt x="841726" y="69094"/>
                    <a:pt x="838582" y="70005"/>
                    <a:pt x="835940" y="71829"/>
                  </a:cubicBezTo>
                  <a:cubicBezTo>
                    <a:pt x="833298" y="73652"/>
                    <a:pt x="831178" y="76089"/>
                    <a:pt x="829578" y="79140"/>
                  </a:cubicBezTo>
                  <a:cubicBezTo>
                    <a:pt x="827978" y="82191"/>
                    <a:pt x="826787" y="85595"/>
                    <a:pt x="826006" y="89353"/>
                  </a:cubicBezTo>
                  <a:cubicBezTo>
                    <a:pt x="825224" y="93111"/>
                    <a:pt x="824834" y="96962"/>
                    <a:pt x="824834" y="100906"/>
                  </a:cubicBezTo>
                  <a:cubicBezTo>
                    <a:pt x="824834" y="105073"/>
                    <a:pt x="825169" y="109129"/>
                    <a:pt x="825838" y="113073"/>
                  </a:cubicBezTo>
                  <a:cubicBezTo>
                    <a:pt x="826508" y="117017"/>
                    <a:pt x="827606" y="120533"/>
                    <a:pt x="829131" y="123621"/>
                  </a:cubicBezTo>
                  <a:cubicBezTo>
                    <a:pt x="830657" y="126709"/>
                    <a:pt x="832684" y="129183"/>
                    <a:pt x="835214" y="131044"/>
                  </a:cubicBezTo>
                  <a:cubicBezTo>
                    <a:pt x="837745" y="132904"/>
                    <a:pt x="840944" y="133834"/>
                    <a:pt x="844814" y="133834"/>
                  </a:cubicBezTo>
                  <a:cubicBezTo>
                    <a:pt x="846749" y="133834"/>
                    <a:pt x="848628" y="133555"/>
                    <a:pt x="850451" y="132997"/>
                  </a:cubicBezTo>
                  <a:cubicBezTo>
                    <a:pt x="852274" y="132439"/>
                    <a:pt x="854134" y="131527"/>
                    <a:pt x="856032" y="130262"/>
                  </a:cubicBezTo>
                  <a:cubicBezTo>
                    <a:pt x="857929" y="128997"/>
                    <a:pt x="859883" y="127341"/>
                    <a:pt x="861892" y="125295"/>
                  </a:cubicBezTo>
                  <a:cubicBezTo>
                    <a:pt x="863901" y="123249"/>
                    <a:pt x="866096" y="120737"/>
                    <a:pt x="868478" y="117761"/>
                  </a:cubicBezTo>
                  <a:lnTo>
                    <a:pt x="868478" y="84721"/>
                  </a:lnTo>
                  <a:cubicBezTo>
                    <a:pt x="864459" y="79661"/>
                    <a:pt x="860608" y="75791"/>
                    <a:pt x="856925" y="73112"/>
                  </a:cubicBezTo>
                  <a:cubicBezTo>
                    <a:pt x="853241" y="70433"/>
                    <a:pt x="849390" y="69094"/>
                    <a:pt x="845372" y="69094"/>
                  </a:cubicBezTo>
                  <a:close/>
                  <a:moveTo>
                    <a:pt x="1649602" y="67531"/>
                  </a:moveTo>
                  <a:cubicBezTo>
                    <a:pt x="1645435" y="67531"/>
                    <a:pt x="1641789" y="68294"/>
                    <a:pt x="1638663" y="69819"/>
                  </a:cubicBezTo>
                  <a:cubicBezTo>
                    <a:pt x="1635538" y="71345"/>
                    <a:pt x="1632971" y="73577"/>
                    <a:pt x="1630961" y="76517"/>
                  </a:cubicBezTo>
                  <a:cubicBezTo>
                    <a:pt x="1628952" y="79456"/>
                    <a:pt x="1627445" y="82991"/>
                    <a:pt x="1626441" y="87121"/>
                  </a:cubicBezTo>
                  <a:cubicBezTo>
                    <a:pt x="1625436" y="91251"/>
                    <a:pt x="1624934" y="95957"/>
                    <a:pt x="1624934" y="101241"/>
                  </a:cubicBezTo>
                  <a:cubicBezTo>
                    <a:pt x="1624934" y="106152"/>
                    <a:pt x="1625343" y="110673"/>
                    <a:pt x="1626162" y="114803"/>
                  </a:cubicBezTo>
                  <a:cubicBezTo>
                    <a:pt x="1626980" y="118933"/>
                    <a:pt x="1628301" y="122523"/>
                    <a:pt x="1630124" y="125574"/>
                  </a:cubicBezTo>
                  <a:cubicBezTo>
                    <a:pt x="1631947" y="128625"/>
                    <a:pt x="1634422" y="130988"/>
                    <a:pt x="1637547" y="132662"/>
                  </a:cubicBezTo>
                  <a:cubicBezTo>
                    <a:pt x="1640672" y="134336"/>
                    <a:pt x="1644542" y="135174"/>
                    <a:pt x="1649156" y="135174"/>
                  </a:cubicBezTo>
                  <a:cubicBezTo>
                    <a:pt x="1653397" y="135174"/>
                    <a:pt x="1657081" y="134411"/>
                    <a:pt x="1660206" y="132885"/>
                  </a:cubicBezTo>
                  <a:cubicBezTo>
                    <a:pt x="1663331" y="131360"/>
                    <a:pt x="1665899" y="129146"/>
                    <a:pt x="1667908" y="126244"/>
                  </a:cubicBezTo>
                  <a:cubicBezTo>
                    <a:pt x="1669917" y="123342"/>
                    <a:pt x="1671405" y="119826"/>
                    <a:pt x="1672373" y="115696"/>
                  </a:cubicBezTo>
                  <a:cubicBezTo>
                    <a:pt x="1673340" y="111566"/>
                    <a:pt x="1673824" y="106859"/>
                    <a:pt x="1673824" y="101576"/>
                  </a:cubicBezTo>
                  <a:cubicBezTo>
                    <a:pt x="1673824" y="96664"/>
                    <a:pt x="1673433" y="92144"/>
                    <a:pt x="1672652" y="88014"/>
                  </a:cubicBezTo>
                  <a:cubicBezTo>
                    <a:pt x="1671870" y="83884"/>
                    <a:pt x="1670550" y="80293"/>
                    <a:pt x="1668689" y="77242"/>
                  </a:cubicBezTo>
                  <a:cubicBezTo>
                    <a:pt x="1666829" y="74191"/>
                    <a:pt x="1664355" y="71810"/>
                    <a:pt x="1661266" y="70098"/>
                  </a:cubicBezTo>
                  <a:cubicBezTo>
                    <a:pt x="1658178" y="68387"/>
                    <a:pt x="1654290" y="67531"/>
                    <a:pt x="1649602" y="67531"/>
                  </a:cubicBezTo>
                  <a:close/>
                  <a:moveTo>
                    <a:pt x="1144777" y="67531"/>
                  </a:moveTo>
                  <a:cubicBezTo>
                    <a:pt x="1140610" y="67531"/>
                    <a:pt x="1136964" y="68294"/>
                    <a:pt x="1133838" y="69819"/>
                  </a:cubicBezTo>
                  <a:cubicBezTo>
                    <a:pt x="1130713" y="71345"/>
                    <a:pt x="1128146" y="73577"/>
                    <a:pt x="1126136" y="76517"/>
                  </a:cubicBezTo>
                  <a:cubicBezTo>
                    <a:pt x="1124127" y="79456"/>
                    <a:pt x="1122620" y="82991"/>
                    <a:pt x="1121616" y="87121"/>
                  </a:cubicBezTo>
                  <a:cubicBezTo>
                    <a:pt x="1120611" y="91251"/>
                    <a:pt x="1120109" y="95957"/>
                    <a:pt x="1120109" y="101241"/>
                  </a:cubicBezTo>
                  <a:cubicBezTo>
                    <a:pt x="1120109" y="106152"/>
                    <a:pt x="1120518" y="110673"/>
                    <a:pt x="1121337" y="114803"/>
                  </a:cubicBezTo>
                  <a:cubicBezTo>
                    <a:pt x="1122155" y="118933"/>
                    <a:pt x="1123476" y="122523"/>
                    <a:pt x="1125299" y="125574"/>
                  </a:cubicBezTo>
                  <a:cubicBezTo>
                    <a:pt x="1127122" y="128625"/>
                    <a:pt x="1129597" y="130988"/>
                    <a:pt x="1132722" y="132662"/>
                  </a:cubicBezTo>
                  <a:cubicBezTo>
                    <a:pt x="1135847" y="134336"/>
                    <a:pt x="1139717" y="135174"/>
                    <a:pt x="1144331" y="135174"/>
                  </a:cubicBezTo>
                  <a:cubicBezTo>
                    <a:pt x="1148572" y="135174"/>
                    <a:pt x="1152256" y="134411"/>
                    <a:pt x="1155381" y="132885"/>
                  </a:cubicBezTo>
                  <a:cubicBezTo>
                    <a:pt x="1158506" y="131360"/>
                    <a:pt x="1161074" y="129146"/>
                    <a:pt x="1163083" y="126244"/>
                  </a:cubicBezTo>
                  <a:cubicBezTo>
                    <a:pt x="1165092" y="123342"/>
                    <a:pt x="1166580" y="119826"/>
                    <a:pt x="1167548" y="115696"/>
                  </a:cubicBezTo>
                  <a:cubicBezTo>
                    <a:pt x="1168515" y="111566"/>
                    <a:pt x="1168999" y="106859"/>
                    <a:pt x="1168999" y="101576"/>
                  </a:cubicBezTo>
                  <a:cubicBezTo>
                    <a:pt x="1168999" y="96664"/>
                    <a:pt x="1168608" y="92144"/>
                    <a:pt x="1167827" y="88014"/>
                  </a:cubicBezTo>
                  <a:cubicBezTo>
                    <a:pt x="1167045" y="83884"/>
                    <a:pt x="1165725" y="80293"/>
                    <a:pt x="1163864" y="77242"/>
                  </a:cubicBezTo>
                  <a:cubicBezTo>
                    <a:pt x="1162004" y="74191"/>
                    <a:pt x="1159530" y="71810"/>
                    <a:pt x="1156441" y="70098"/>
                  </a:cubicBezTo>
                  <a:cubicBezTo>
                    <a:pt x="1153353" y="68387"/>
                    <a:pt x="1149465" y="67531"/>
                    <a:pt x="1144777" y="67531"/>
                  </a:cubicBezTo>
                  <a:close/>
                  <a:moveTo>
                    <a:pt x="2084515" y="65187"/>
                  </a:moveTo>
                  <a:cubicBezTo>
                    <a:pt x="2080943" y="65187"/>
                    <a:pt x="2077836" y="65857"/>
                    <a:pt x="2075195" y="67196"/>
                  </a:cubicBezTo>
                  <a:cubicBezTo>
                    <a:pt x="2072553" y="68536"/>
                    <a:pt x="2070358" y="70340"/>
                    <a:pt x="2068609" y="72610"/>
                  </a:cubicBezTo>
                  <a:cubicBezTo>
                    <a:pt x="2066860" y="74880"/>
                    <a:pt x="2065521" y="77558"/>
                    <a:pt x="2064591" y="80647"/>
                  </a:cubicBezTo>
                  <a:cubicBezTo>
                    <a:pt x="2063660" y="83735"/>
                    <a:pt x="2063121" y="87028"/>
                    <a:pt x="2062972" y="90525"/>
                  </a:cubicBezTo>
                  <a:lnTo>
                    <a:pt x="2104942" y="90525"/>
                  </a:lnTo>
                  <a:cubicBezTo>
                    <a:pt x="2105165" y="82637"/>
                    <a:pt x="2103584" y="76442"/>
                    <a:pt x="2100198" y="71940"/>
                  </a:cubicBezTo>
                  <a:cubicBezTo>
                    <a:pt x="2096812" y="67438"/>
                    <a:pt x="2091584" y="65187"/>
                    <a:pt x="2084515" y="65187"/>
                  </a:cubicBezTo>
                  <a:close/>
                  <a:moveTo>
                    <a:pt x="409938" y="65187"/>
                  </a:moveTo>
                  <a:cubicBezTo>
                    <a:pt x="407185" y="65187"/>
                    <a:pt x="404766" y="65652"/>
                    <a:pt x="402683" y="66582"/>
                  </a:cubicBezTo>
                  <a:cubicBezTo>
                    <a:pt x="400599" y="67513"/>
                    <a:pt x="398869" y="68778"/>
                    <a:pt x="397492" y="70378"/>
                  </a:cubicBezTo>
                  <a:cubicBezTo>
                    <a:pt x="396116" y="71977"/>
                    <a:pt x="395092" y="73838"/>
                    <a:pt x="394423" y="75959"/>
                  </a:cubicBezTo>
                  <a:cubicBezTo>
                    <a:pt x="393753" y="78079"/>
                    <a:pt x="393418" y="80293"/>
                    <a:pt x="393418" y="82600"/>
                  </a:cubicBezTo>
                  <a:cubicBezTo>
                    <a:pt x="393418" y="87660"/>
                    <a:pt x="394906" y="91660"/>
                    <a:pt x="397883" y="94599"/>
                  </a:cubicBezTo>
                  <a:cubicBezTo>
                    <a:pt x="400860" y="97539"/>
                    <a:pt x="404990" y="99008"/>
                    <a:pt x="410273" y="99008"/>
                  </a:cubicBezTo>
                  <a:cubicBezTo>
                    <a:pt x="413101" y="99008"/>
                    <a:pt x="415556" y="98562"/>
                    <a:pt x="417640" y="97669"/>
                  </a:cubicBezTo>
                  <a:cubicBezTo>
                    <a:pt x="419724" y="96776"/>
                    <a:pt x="421454" y="95548"/>
                    <a:pt x="422830" y="93985"/>
                  </a:cubicBezTo>
                  <a:cubicBezTo>
                    <a:pt x="424207" y="92423"/>
                    <a:pt x="425249" y="90618"/>
                    <a:pt x="425956" y="88572"/>
                  </a:cubicBezTo>
                  <a:cubicBezTo>
                    <a:pt x="426663" y="86525"/>
                    <a:pt x="427016" y="84386"/>
                    <a:pt x="427016" y="82154"/>
                  </a:cubicBezTo>
                  <a:cubicBezTo>
                    <a:pt x="427016" y="76796"/>
                    <a:pt x="425528" y="72629"/>
                    <a:pt x="422551" y="69652"/>
                  </a:cubicBezTo>
                  <a:cubicBezTo>
                    <a:pt x="419575" y="66675"/>
                    <a:pt x="415370" y="65187"/>
                    <a:pt x="409938" y="65187"/>
                  </a:cubicBezTo>
                  <a:close/>
                  <a:moveTo>
                    <a:pt x="1997116" y="47216"/>
                  </a:moveTo>
                  <a:cubicBezTo>
                    <a:pt x="1999869" y="47216"/>
                    <a:pt x="2002139" y="47328"/>
                    <a:pt x="2003925" y="47551"/>
                  </a:cubicBezTo>
                  <a:cubicBezTo>
                    <a:pt x="2005711" y="47774"/>
                    <a:pt x="2007143" y="48091"/>
                    <a:pt x="2008222" y="48500"/>
                  </a:cubicBezTo>
                  <a:cubicBezTo>
                    <a:pt x="2009301" y="48909"/>
                    <a:pt x="2010064" y="49393"/>
                    <a:pt x="2010510" y="49951"/>
                  </a:cubicBezTo>
                  <a:cubicBezTo>
                    <a:pt x="2010957" y="50509"/>
                    <a:pt x="2011180" y="51160"/>
                    <a:pt x="2011180" y="51904"/>
                  </a:cubicBezTo>
                  <a:lnTo>
                    <a:pt x="2011180" y="151247"/>
                  </a:lnTo>
                  <a:cubicBezTo>
                    <a:pt x="2011180" y="151991"/>
                    <a:pt x="2010957" y="152642"/>
                    <a:pt x="2010510" y="153200"/>
                  </a:cubicBezTo>
                  <a:cubicBezTo>
                    <a:pt x="2010064" y="153758"/>
                    <a:pt x="2009301" y="154224"/>
                    <a:pt x="2008222" y="154596"/>
                  </a:cubicBezTo>
                  <a:cubicBezTo>
                    <a:pt x="2007143" y="154968"/>
                    <a:pt x="2005711" y="155247"/>
                    <a:pt x="2003925" y="155433"/>
                  </a:cubicBezTo>
                  <a:cubicBezTo>
                    <a:pt x="2002139" y="155619"/>
                    <a:pt x="1999869" y="155712"/>
                    <a:pt x="1997116" y="155712"/>
                  </a:cubicBezTo>
                  <a:cubicBezTo>
                    <a:pt x="1994362" y="155712"/>
                    <a:pt x="1992093" y="155619"/>
                    <a:pt x="1990307" y="155433"/>
                  </a:cubicBezTo>
                  <a:cubicBezTo>
                    <a:pt x="1988521" y="155247"/>
                    <a:pt x="1987088" y="154968"/>
                    <a:pt x="1986009" y="154596"/>
                  </a:cubicBezTo>
                  <a:cubicBezTo>
                    <a:pt x="1984930" y="154224"/>
                    <a:pt x="1984168" y="153758"/>
                    <a:pt x="1983721" y="153200"/>
                  </a:cubicBezTo>
                  <a:cubicBezTo>
                    <a:pt x="1983275" y="152642"/>
                    <a:pt x="1983052" y="151991"/>
                    <a:pt x="1983052" y="151247"/>
                  </a:cubicBezTo>
                  <a:lnTo>
                    <a:pt x="1983052" y="51904"/>
                  </a:lnTo>
                  <a:cubicBezTo>
                    <a:pt x="1983052" y="51160"/>
                    <a:pt x="1983275" y="50509"/>
                    <a:pt x="1983721" y="49951"/>
                  </a:cubicBezTo>
                  <a:cubicBezTo>
                    <a:pt x="1984168" y="49393"/>
                    <a:pt x="1984930" y="48909"/>
                    <a:pt x="1986009" y="48500"/>
                  </a:cubicBezTo>
                  <a:cubicBezTo>
                    <a:pt x="1987088" y="48091"/>
                    <a:pt x="1988521" y="47774"/>
                    <a:pt x="1990307" y="47551"/>
                  </a:cubicBezTo>
                  <a:cubicBezTo>
                    <a:pt x="1992093" y="47328"/>
                    <a:pt x="1994362" y="47216"/>
                    <a:pt x="1997116" y="47216"/>
                  </a:cubicBezTo>
                  <a:close/>
                  <a:moveTo>
                    <a:pt x="1863766" y="47216"/>
                  </a:moveTo>
                  <a:cubicBezTo>
                    <a:pt x="1866519" y="47216"/>
                    <a:pt x="1868789" y="47328"/>
                    <a:pt x="1870575" y="47551"/>
                  </a:cubicBezTo>
                  <a:cubicBezTo>
                    <a:pt x="1872361" y="47774"/>
                    <a:pt x="1873793" y="48091"/>
                    <a:pt x="1874872" y="48500"/>
                  </a:cubicBezTo>
                  <a:cubicBezTo>
                    <a:pt x="1875951" y="48909"/>
                    <a:pt x="1876714" y="49393"/>
                    <a:pt x="1877160" y="49951"/>
                  </a:cubicBezTo>
                  <a:cubicBezTo>
                    <a:pt x="1877607" y="50509"/>
                    <a:pt x="1877830" y="51160"/>
                    <a:pt x="1877830" y="51904"/>
                  </a:cubicBezTo>
                  <a:lnTo>
                    <a:pt x="1877830" y="151247"/>
                  </a:lnTo>
                  <a:cubicBezTo>
                    <a:pt x="1877830" y="151991"/>
                    <a:pt x="1877607" y="152642"/>
                    <a:pt x="1877160" y="153200"/>
                  </a:cubicBezTo>
                  <a:cubicBezTo>
                    <a:pt x="1876714" y="153758"/>
                    <a:pt x="1875951" y="154224"/>
                    <a:pt x="1874872" y="154596"/>
                  </a:cubicBezTo>
                  <a:cubicBezTo>
                    <a:pt x="1873793" y="154968"/>
                    <a:pt x="1872361" y="155247"/>
                    <a:pt x="1870575" y="155433"/>
                  </a:cubicBezTo>
                  <a:cubicBezTo>
                    <a:pt x="1868789" y="155619"/>
                    <a:pt x="1866519" y="155712"/>
                    <a:pt x="1863766" y="155712"/>
                  </a:cubicBezTo>
                  <a:cubicBezTo>
                    <a:pt x="1861012" y="155712"/>
                    <a:pt x="1858743" y="155619"/>
                    <a:pt x="1856957" y="155433"/>
                  </a:cubicBezTo>
                  <a:cubicBezTo>
                    <a:pt x="1855171" y="155247"/>
                    <a:pt x="1853738" y="154968"/>
                    <a:pt x="1852659" y="154596"/>
                  </a:cubicBezTo>
                  <a:cubicBezTo>
                    <a:pt x="1851580" y="154224"/>
                    <a:pt x="1850818" y="153758"/>
                    <a:pt x="1850371" y="153200"/>
                  </a:cubicBezTo>
                  <a:cubicBezTo>
                    <a:pt x="1849925" y="152642"/>
                    <a:pt x="1849702" y="151991"/>
                    <a:pt x="1849702" y="151247"/>
                  </a:cubicBezTo>
                  <a:lnTo>
                    <a:pt x="1849702" y="51904"/>
                  </a:lnTo>
                  <a:cubicBezTo>
                    <a:pt x="1849702" y="51160"/>
                    <a:pt x="1849925" y="50509"/>
                    <a:pt x="1850371" y="49951"/>
                  </a:cubicBezTo>
                  <a:cubicBezTo>
                    <a:pt x="1850818" y="49393"/>
                    <a:pt x="1851580" y="48909"/>
                    <a:pt x="1852659" y="48500"/>
                  </a:cubicBezTo>
                  <a:cubicBezTo>
                    <a:pt x="1853738" y="48091"/>
                    <a:pt x="1855171" y="47774"/>
                    <a:pt x="1856957" y="47551"/>
                  </a:cubicBezTo>
                  <a:cubicBezTo>
                    <a:pt x="1858743" y="47328"/>
                    <a:pt x="1861012" y="47216"/>
                    <a:pt x="1863766" y="47216"/>
                  </a:cubicBezTo>
                  <a:close/>
                  <a:moveTo>
                    <a:pt x="491496" y="47216"/>
                  </a:moveTo>
                  <a:cubicBezTo>
                    <a:pt x="494249" y="47216"/>
                    <a:pt x="496519" y="47309"/>
                    <a:pt x="498305" y="47495"/>
                  </a:cubicBezTo>
                  <a:cubicBezTo>
                    <a:pt x="500091" y="47681"/>
                    <a:pt x="501523" y="47960"/>
                    <a:pt x="502602" y="48332"/>
                  </a:cubicBezTo>
                  <a:cubicBezTo>
                    <a:pt x="503681" y="48704"/>
                    <a:pt x="504444" y="49170"/>
                    <a:pt x="504890" y="49728"/>
                  </a:cubicBezTo>
                  <a:cubicBezTo>
                    <a:pt x="505337" y="50286"/>
                    <a:pt x="505560" y="50937"/>
                    <a:pt x="505560" y="51681"/>
                  </a:cubicBezTo>
                  <a:lnTo>
                    <a:pt x="505560" y="107938"/>
                  </a:lnTo>
                  <a:cubicBezTo>
                    <a:pt x="505560" y="113147"/>
                    <a:pt x="505895" y="117128"/>
                    <a:pt x="506565" y="119881"/>
                  </a:cubicBezTo>
                  <a:cubicBezTo>
                    <a:pt x="507235" y="122635"/>
                    <a:pt x="508258" y="124997"/>
                    <a:pt x="509634" y="126969"/>
                  </a:cubicBezTo>
                  <a:cubicBezTo>
                    <a:pt x="511011" y="128941"/>
                    <a:pt x="512760" y="130467"/>
                    <a:pt x="514881" y="131546"/>
                  </a:cubicBezTo>
                  <a:cubicBezTo>
                    <a:pt x="517001" y="132625"/>
                    <a:pt x="519476" y="133164"/>
                    <a:pt x="522303" y="133164"/>
                  </a:cubicBezTo>
                  <a:cubicBezTo>
                    <a:pt x="525875" y="133164"/>
                    <a:pt x="529466" y="131862"/>
                    <a:pt x="533075" y="129258"/>
                  </a:cubicBezTo>
                  <a:cubicBezTo>
                    <a:pt x="536684" y="126653"/>
                    <a:pt x="540535" y="122858"/>
                    <a:pt x="544628" y="117872"/>
                  </a:cubicBezTo>
                  <a:lnTo>
                    <a:pt x="544628" y="51681"/>
                  </a:lnTo>
                  <a:cubicBezTo>
                    <a:pt x="544628" y="50937"/>
                    <a:pt x="544832" y="50286"/>
                    <a:pt x="545241" y="49728"/>
                  </a:cubicBezTo>
                  <a:cubicBezTo>
                    <a:pt x="545651" y="49170"/>
                    <a:pt x="546395" y="48704"/>
                    <a:pt x="547474" y="48332"/>
                  </a:cubicBezTo>
                  <a:cubicBezTo>
                    <a:pt x="548553" y="47960"/>
                    <a:pt x="549985" y="47681"/>
                    <a:pt x="551771" y="47495"/>
                  </a:cubicBezTo>
                  <a:cubicBezTo>
                    <a:pt x="553557" y="47309"/>
                    <a:pt x="555827" y="47216"/>
                    <a:pt x="558580" y="47216"/>
                  </a:cubicBezTo>
                  <a:cubicBezTo>
                    <a:pt x="561334" y="47216"/>
                    <a:pt x="563603" y="47309"/>
                    <a:pt x="565389" y="47495"/>
                  </a:cubicBezTo>
                  <a:cubicBezTo>
                    <a:pt x="567175" y="47681"/>
                    <a:pt x="568589" y="47960"/>
                    <a:pt x="569631" y="48332"/>
                  </a:cubicBezTo>
                  <a:cubicBezTo>
                    <a:pt x="570672" y="48704"/>
                    <a:pt x="571417" y="49170"/>
                    <a:pt x="571863" y="49728"/>
                  </a:cubicBezTo>
                  <a:cubicBezTo>
                    <a:pt x="572310" y="50286"/>
                    <a:pt x="572533" y="50937"/>
                    <a:pt x="572533" y="51681"/>
                  </a:cubicBezTo>
                  <a:lnTo>
                    <a:pt x="572533" y="151247"/>
                  </a:lnTo>
                  <a:cubicBezTo>
                    <a:pt x="572533" y="151991"/>
                    <a:pt x="572347" y="152642"/>
                    <a:pt x="571975" y="153200"/>
                  </a:cubicBezTo>
                  <a:cubicBezTo>
                    <a:pt x="571603" y="153758"/>
                    <a:pt x="570952" y="154224"/>
                    <a:pt x="570021" y="154596"/>
                  </a:cubicBezTo>
                  <a:cubicBezTo>
                    <a:pt x="569091" y="154968"/>
                    <a:pt x="567863" y="155247"/>
                    <a:pt x="566338" y="155433"/>
                  </a:cubicBezTo>
                  <a:cubicBezTo>
                    <a:pt x="564812" y="155619"/>
                    <a:pt x="562896" y="155712"/>
                    <a:pt x="560589" y="155712"/>
                  </a:cubicBezTo>
                  <a:cubicBezTo>
                    <a:pt x="558134" y="155712"/>
                    <a:pt x="556143" y="155619"/>
                    <a:pt x="554618" y="155433"/>
                  </a:cubicBezTo>
                  <a:cubicBezTo>
                    <a:pt x="553092" y="155247"/>
                    <a:pt x="551883" y="154968"/>
                    <a:pt x="550990" y="154596"/>
                  </a:cubicBezTo>
                  <a:cubicBezTo>
                    <a:pt x="550097" y="154224"/>
                    <a:pt x="549464" y="153758"/>
                    <a:pt x="549092" y="153200"/>
                  </a:cubicBezTo>
                  <a:cubicBezTo>
                    <a:pt x="548720" y="152642"/>
                    <a:pt x="548534" y="151991"/>
                    <a:pt x="548534" y="151247"/>
                  </a:cubicBezTo>
                  <a:lnTo>
                    <a:pt x="548534" y="139750"/>
                  </a:lnTo>
                  <a:cubicBezTo>
                    <a:pt x="543028" y="145703"/>
                    <a:pt x="537428" y="150168"/>
                    <a:pt x="531735" y="153145"/>
                  </a:cubicBezTo>
                  <a:cubicBezTo>
                    <a:pt x="526043" y="156121"/>
                    <a:pt x="520145" y="157609"/>
                    <a:pt x="514043" y="157609"/>
                  </a:cubicBezTo>
                  <a:cubicBezTo>
                    <a:pt x="507197" y="157609"/>
                    <a:pt x="501449" y="156493"/>
                    <a:pt x="496798" y="154261"/>
                  </a:cubicBezTo>
                  <a:cubicBezTo>
                    <a:pt x="492147" y="152028"/>
                    <a:pt x="488389" y="148977"/>
                    <a:pt x="485524" y="145108"/>
                  </a:cubicBezTo>
                  <a:cubicBezTo>
                    <a:pt x="482659" y="141238"/>
                    <a:pt x="480613" y="136755"/>
                    <a:pt x="479385" y="131658"/>
                  </a:cubicBezTo>
                  <a:cubicBezTo>
                    <a:pt x="478157" y="126560"/>
                    <a:pt x="477543" y="120216"/>
                    <a:pt x="477543" y="112626"/>
                  </a:cubicBezTo>
                  <a:lnTo>
                    <a:pt x="477543" y="51681"/>
                  </a:lnTo>
                  <a:cubicBezTo>
                    <a:pt x="477543" y="50937"/>
                    <a:pt x="477748" y="50286"/>
                    <a:pt x="478157" y="49728"/>
                  </a:cubicBezTo>
                  <a:cubicBezTo>
                    <a:pt x="478566" y="49170"/>
                    <a:pt x="479311" y="48704"/>
                    <a:pt x="480390" y="48332"/>
                  </a:cubicBezTo>
                  <a:cubicBezTo>
                    <a:pt x="481469" y="47960"/>
                    <a:pt x="482920" y="47681"/>
                    <a:pt x="484743" y="47495"/>
                  </a:cubicBezTo>
                  <a:cubicBezTo>
                    <a:pt x="486566" y="47309"/>
                    <a:pt x="488817" y="47216"/>
                    <a:pt x="491496" y="47216"/>
                  </a:cubicBezTo>
                  <a:close/>
                  <a:moveTo>
                    <a:pt x="410273" y="45765"/>
                  </a:moveTo>
                  <a:cubicBezTo>
                    <a:pt x="413398" y="45765"/>
                    <a:pt x="416394" y="45951"/>
                    <a:pt x="419258" y="46323"/>
                  </a:cubicBezTo>
                  <a:cubicBezTo>
                    <a:pt x="422123" y="46695"/>
                    <a:pt x="424784" y="47216"/>
                    <a:pt x="427239" y="47886"/>
                  </a:cubicBezTo>
                  <a:lnTo>
                    <a:pt x="458828" y="47886"/>
                  </a:lnTo>
                  <a:cubicBezTo>
                    <a:pt x="460093" y="47886"/>
                    <a:pt x="461116" y="48704"/>
                    <a:pt x="461898" y="50342"/>
                  </a:cubicBezTo>
                  <a:cubicBezTo>
                    <a:pt x="462679" y="51979"/>
                    <a:pt x="463070" y="54732"/>
                    <a:pt x="463070" y="58602"/>
                  </a:cubicBezTo>
                  <a:cubicBezTo>
                    <a:pt x="463070" y="62173"/>
                    <a:pt x="462660" y="64815"/>
                    <a:pt x="461842" y="66527"/>
                  </a:cubicBezTo>
                  <a:cubicBezTo>
                    <a:pt x="461023" y="68238"/>
                    <a:pt x="460019" y="69094"/>
                    <a:pt x="458828" y="69094"/>
                  </a:cubicBezTo>
                  <a:lnTo>
                    <a:pt x="447108" y="69094"/>
                  </a:lnTo>
                  <a:cubicBezTo>
                    <a:pt x="448745" y="70880"/>
                    <a:pt x="449917" y="72908"/>
                    <a:pt x="450624" y="75177"/>
                  </a:cubicBezTo>
                  <a:cubicBezTo>
                    <a:pt x="451331" y="77447"/>
                    <a:pt x="451684" y="79810"/>
                    <a:pt x="451684" y="82265"/>
                  </a:cubicBezTo>
                  <a:cubicBezTo>
                    <a:pt x="451684" y="88069"/>
                    <a:pt x="450717" y="93223"/>
                    <a:pt x="448782" y="97725"/>
                  </a:cubicBezTo>
                  <a:cubicBezTo>
                    <a:pt x="446847" y="102227"/>
                    <a:pt x="444076" y="106022"/>
                    <a:pt x="440466" y="109110"/>
                  </a:cubicBezTo>
                  <a:cubicBezTo>
                    <a:pt x="436857" y="112198"/>
                    <a:pt x="432504" y="114542"/>
                    <a:pt x="427407" y="116142"/>
                  </a:cubicBezTo>
                  <a:cubicBezTo>
                    <a:pt x="422309" y="117742"/>
                    <a:pt x="416635" y="118542"/>
                    <a:pt x="410385" y="118542"/>
                  </a:cubicBezTo>
                  <a:cubicBezTo>
                    <a:pt x="407185" y="118542"/>
                    <a:pt x="404134" y="118151"/>
                    <a:pt x="401232" y="117370"/>
                  </a:cubicBezTo>
                  <a:cubicBezTo>
                    <a:pt x="398330" y="116589"/>
                    <a:pt x="396097" y="115677"/>
                    <a:pt x="394534" y="114635"/>
                  </a:cubicBezTo>
                  <a:cubicBezTo>
                    <a:pt x="393641" y="115603"/>
                    <a:pt x="392841" y="116756"/>
                    <a:pt x="392135" y="118096"/>
                  </a:cubicBezTo>
                  <a:cubicBezTo>
                    <a:pt x="391428" y="119435"/>
                    <a:pt x="391074" y="120923"/>
                    <a:pt x="391074" y="122560"/>
                  </a:cubicBezTo>
                  <a:cubicBezTo>
                    <a:pt x="391074" y="124718"/>
                    <a:pt x="392023" y="126486"/>
                    <a:pt x="393920" y="127862"/>
                  </a:cubicBezTo>
                  <a:cubicBezTo>
                    <a:pt x="395818" y="129239"/>
                    <a:pt x="398478" y="130002"/>
                    <a:pt x="401901" y="130151"/>
                  </a:cubicBezTo>
                  <a:lnTo>
                    <a:pt x="426123" y="131044"/>
                  </a:lnTo>
                  <a:cubicBezTo>
                    <a:pt x="431779" y="131267"/>
                    <a:pt x="436820" y="132067"/>
                    <a:pt x="441248" y="133443"/>
                  </a:cubicBezTo>
                  <a:cubicBezTo>
                    <a:pt x="445675" y="134820"/>
                    <a:pt x="449396" y="136755"/>
                    <a:pt x="452410" y="139248"/>
                  </a:cubicBezTo>
                  <a:cubicBezTo>
                    <a:pt x="455424" y="141741"/>
                    <a:pt x="457731" y="144736"/>
                    <a:pt x="459330" y="148233"/>
                  </a:cubicBezTo>
                  <a:cubicBezTo>
                    <a:pt x="460930" y="151731"/>
                    <a:pt x="461730" y="155712"/>
                    <a:pt x="461730" y="160177"/>
                  </a:cubicBezTo>
                  <a:cubicBezTo>
                    <a:pt x="461730" y="165088"/>
                    <a:pt x="460651" y="169720"/>
                    <a:pt x="458493" y="174074"/>
                  </a:cubicBezTo>
                  <a:cubicBezTo>
                    <a:pt x="456335" y="178427"/>
                    <a:pt x="453098" y="182203"/>
                    <a:pt x="448782" y="185403"/>
                  </a:cubicBezTo>
                  <a:cubicBezTo>
                    <a:pt x="444466" y="188603"/>
                    <a:pt x="439053" y="191133"/>
                    <a:pt x="432541" y="192993"/>
                  </a:cubicBezTo>
                  <a:cubicBezTo>
                    <a:pt x="426030" y="194854"/>
                    <a:pt x="418421" y="195784"/>
                    <a:pt x="409715" y="195784"/>
                  </a:cubicBezTo>
                  <a:cubicBezTo>
                    <a:pt x="401232" y="195784"/>
                    <a:pt x="393995" y="195114"/>
                    <a:pt x="388005" y="193775"/>
                  </a:cubicBezTo>
                  <a:cubicBezTo>
                    <a:pt x="382014" y="192435"/>
                    <a:pt x="377103" y="190575"/>
                    <a:pt x="373271" y="188194"/>
                  </a:cubicBezTo>
                  <a:cubicBezTo>
                    <a:pt x="369438" y="185812"/>
                    <a:pt x="366648" y="182966"/>
                    <a:pt x="364899" y="179655"/>
                  </a:cubicBezTo>
                  <a:cubicBezTo>
                    <a:pt x="363150" y="176343"/>
                    <a:pt x="362276" y="172715"/>
                    <a:pt x="362276" y="168772"/>
                  </a:cubicBezTo>
                  <a:cubicBezTo>
                    <a:pt x="362276" y="166316"/>
                    <a:pt x="362592" y="163972"/>
                    <a:pt x="363225" y="161739"/>
                  </a:cubicBezTo>
                  <a:cubicBezTo>
                    <a:pt x="363857" y="159507"/>
                    <a:pt x="364787" y="157368"/>
                    <a:pt x="366015" y="155321"/>
                  </a:cubicBezTo>
                  <a:cubicBezTo>
                    <a:pt x="367243" y="153275"/>
                    <a:pt x="368750" y="151321"/>
                    <a:pt x="370536" y="149461"/>
                  </a:cubicBezTo>
                  <a:cubicBezTo>
                    <a:pt x="372322" y="147601"/>
                    <a:pt x="374368" y="145815"/>
                    <a:pt x="376675" y="144103"/>
                  </a:cubicBezTo>
                  <a:cubicBezTo>
                    <a:pt x="373475" y="142392"/>
                    <a:pt x="371001" y="140066"/>
                    <a:pt x="369252" y="137127"/>
                  </a:cubicBezTo>
                  <a:cubicBezTo>
                    <a:pt x="367503" y="134188"/>
                    <a:pt x="366629" y="130969"/>
                    <a:pt x="366629" y="127472"/>
                  </a:cubicBezTo>
                  <a:cubicBezTo>
                    <a:pt x="366629" y="123081"/>
                    <a:pt x="367634" y="119082"/>
                    <a:pt x="369643" y="115472"/>
                  </a:cubicBezTo>
                  <a:cubicBezTo>
                    <a:pt x="371652" y="111863"/>
                    <a:pt x="374257" y="108608"/>
                    <a:pt x="377456" y="105706"/>
                  </a:cubicBezTo>
                  <a:cubicBezTo>
                    <a:pt x="374852" y="103101"/>
                    <a:pt x="372768" y="99976"/>
                    <a:pt x="371206" y="96329"/>
                  </a:cubicBezTo>
                  <a:cubicBezTo>
                    <a:pt x="369643" y="92683"/>
                    <a:pt x="368862" y="88144"/>
                    <a:pt x="368862" y="82712"/>
                  </a:cubicBezTo>
                  <a:cubicBezTo>
                    <a:pt x="368862" y="76907"/>
                    <a:pt x="369885" y="71717"/>
                    <a:pt x="371931" y="67141"/>
                  </a:cubicBezTo>
                  <a:cubicBezTo>
                    <a:pt x="373978" y="62564"/>
                    <a:pt x="376824" y="58695"/>
                    <a:pt x="380470" y="55532"/>
                  </a:cubicBezTo>
                  <a:cubicBezTo>
                    <a:pt x="384116" y="52369"/>
                    <a:pt x="388470" y="49951"/>
                    <a:pt x="393530" y="48277"/>
                  </a:cubicBezTo>
                  <a:cubicBezTo>
                    <a:pt x="398590" y="46602"/>
                    <a:pt x="404171" y="45765"/>
                    <a:pt x="410273" y="45765"/>
                  </a:cubicBezTo>
                  <a:close/>
                  <a:moveTo>
                    <a:pt x="2189662" y="45319"/>
                  </a:moveTo>
                  <a:cubicBezTo>
                    <a:pt x="2192787" y="45319"/>
                    <a:pt x="2195820" y="45542"/>
                    <a:pt x="2198759" y="45988"/>
                  </a:cubicBezTo>
                  <a:cubicBezTo>
                    <a:pt x="2201699" y="46435"/>
                    <a:pt x="2204359" y="46993"/>
                    <a:pt x="2206740" y="47663"/>
                  </a:cubicBezTo>
                  <a:cubicBezTo>
                    <a:pt x="2209121" y="48332"/>
                    <a:pt x="2211131" y="49058"/>
                    <a:pt x="2212768" y="49839"/>
                  </a:cubicBezTo>
                  <a:cubicBezTo>
                    <a:pt x="2214405" y="50621"/>
                    <a:pt x="2215577" y="51290"/>
                    <a:pt x="2216284" y="51848"/>
                  </a:cubicBezTo>
                  <a:lnTo>
                    <a:pt x="2217407" y="53097"/>
                  </a:lnTo>
                  <a:lnTo>
                    <a:pt x="2217407" y="71915"/>
                  </a:lnTo>
                  <a:lnTo>
                    <a:pt x="2217232" y="72163"/>
                  </a:lnTo>
                  <a:cubicBezTo>
                    <a:pt x="2216786" y="72424"/>
                    <a:pt x="2216265" y="72554"/>
                    <a:pt x="2215670" y="72554"/>
                  </a:cubicBezTo>
                  <a:cubicBezTo>
                    <a:pt x="2215000" y="72554"/>
                    <a:pt x="2213958" y="72163"/>
                    <a:pt x="2212544" y="71382"/>
                  </a:cubicBezTo>
                  <a:cubicBezTo>
                    <a:pt x="2211131" y="70601"/>
                    <a:pt x="2209363" y="69764"/>
                    <a:pt x="2207242" y="68871"/>
                  </a:cubicBezTo>
                  <a:cubicBezTo>
                    <a:pt x="2205122" y="67978"/>
                    <a:pt x="2202666" y="67141"/>
                    <a:pt x="2199875" y="66359"/>
                  </a:cubicBezTo>
                  <a:cubicBezTo>
                    <a:pt x="2197085" y="65578"/>
                    <a:pt x="2193904" y="65187"/>
                    <a:pt x="2190332" y="65187"/>
                  </a:cubicBezTo>
                  <a:cubicBezTo>
                    <a:pt x="2187802" y="65187"/>
                    <a:pt x="2185607" y="65448"/>
                    <a:pt x="2183746" y="65968"/>
                  </a:cubicBezTo>
                  <a:cubicBezTo>
                    <a:pt x="2181886" y="66489"/>
                    <a:pt x="2180360" y="67234"/>
                    <a:pt x="2179170" y="68201"/>
                  </a:cubicBezTo>
                  <a:cubicBezTo>
                    <a:pt x="2177979" y="69168"/>
                    <a:pt x="2177086" y="70303"/>
                    <a:pt x="2176491" y="71605"/>
                  </a:cubicBezTo>
                  <a:cubicBezTo>
                    <a:pt x="2175895" y="72908"/>
                    <a:pt x="2175598" y="74303"/>
                    <a:pt x="2175598" y="75791"/>
                  </a:cubicBezTo>
                  <a:cubicBezTo>
                    <a:pt x="2175598" y="78098"/>
                    <a:pt x="2176305" y="80033"/>
                    <a:pt x="2177719" y="81595"/>
                  </a:cubicBezTo>
                  <a:cubicBezTo>
                    <a:pt x="2179132" y="83158"/>
                    <a:pt x="2180993" y="84535"/>
                    <a:pt x="2183300" y="85725"/>
                  </a:cubicBezTo>
                  <a:cubicBezTo>
                    <a:pt x="2185607" y="86916"/>
                    <a:pt x="2188230" y="88032"/>
                    <a:pt x="2191169" y="89074"/>
                  </a:cubicBezTo>
                  <a:cubicBezTo>
                    <a:pt x="2194108" y="90116"/>
                    <a:pt x="2197085" y="91251"/>
                    <a:pt x="2200099" y="92479"/>
                  </a:cubicBezTo>
                  <a:cubicBezTo>
                    <a:pt x="2203112" y="93706"/>
                    <a:pt x="2206089" y="95139"/>
                    <a:pt x="2209028" y="96776"/>
                  </a:cubicBezTo>
                  <a:cubicBezTo>
                    <a:pt x="2211968" y="98413"/>
                    <a:pt x="2214591" y="100422"/>
                    <a:pt x="2216898" y="102803"/>
                  </a:cubicBezTo>
                  <a:lnTo>
                    <a:pt x="2217407" y="103583"/>
                  </a:lnTo>
                  <a:lnTo>
                    <a:pt x="2217407" y="142909"/>
                  </a:lnTo>
                  <a:lnTo>
                    <a:pt x="2212433" y="148903"/>
                  </a:lnTo>
                  <a:cubicBezTo>
                    <a:pt x="2208563" y="151805"/>
                    <a:pt x="2203987" y="153982"/>
                    <a:pt x="2198703" y="155433"/>
                  </a:cubicBezTo>
                  <a:cubicBezTo>
                    <a:pt x="2193420" y="156884"/>
                    <a:pt x="2187690" y="157609"/>
                    <a:pt x="2181514" y="157609"/>
                  </a:cubicBezTo>
                  <a:cubicBezTo>
                    <a:pt x="2177793" y="157609"/>
                    <a:pt x="2174240" y="157330"/>
                    <a:pt x="2170854" y="156772"/>
                  </a:cubicBezTo>
                  <a:cubicBezTo>
                    <a:pt x="2167468" y="156214"/>
                    <a:pt x="2164436" y="155507"/>
                    <a:pt x="2161757" y="154651"/>
                  </a:cubicBezTo>
                  <a:cubicBezTo>
                    <a:pt x="2159078" y="153796"/>
                    <a:pt x="2156845" y="152921"/>
                    <a:pt x="2155060" y="152028"/>
                  </a:cubicBezTo>
                  <a:cubicBezTo>
                    <a:pt x="2153274" y="151135"/>
                    <a:pt x="2151971" y="150298"/>
                    <a:pt x="2151153" y="149517"/>
                  </a:cubicBezTo>
                  <a:cubicBezTo>
                    <a:pt x="2150334" y="148736"/>
                    <a:pt x="2149702" y="147508"/>
                    <a:pt x="2149255" y="145833"/>
                  </a:cubicBezTo>
                  <a:cubicBezTo>
                    <a:pt x="2148809" y="144159"/>
                    <a:pt x="2148586" y="141685"/>
                    <a:pt x="2148586" y="138411"/>
                  </a:cubicBezTo>
                  <a:cubicBezTo>
                    <a:pt x="2148586" y="136253"/>
                    <a:pt x="2148660" y="134522"/>
                    <a:pt x="2148809" y="133220"/>
                  </a:cubicBezTo>
                  <a:cubicBezTo>
                    <a:pt x="2148958" y="131918"/>
                    <a:pt x="2149181" y="130876"/>
                    <a:pt x="2149478" y="130095"/>
                  </a:cubicBezTo>
                  <a:cubicBezTo>
                    <a:pt x="2149776" y="129313"/>
                    <a:pt x="2150148" y="128793"/>
                    <a:pt x="2150595" y="128532"/>
                  </a:cubicBezTo>
                  <a:cubicBezTo>
                    <a:pt x="2151041" y="128272"/>
                    <a:pt x="2151599" y="128141"/>
                    <a:pt x="2152269" y="128141"/>
                  </a:cubicBezTo>
                  <a:cubicBezTo>
                    <a:pt x="2153088" y="128141"/>
                    <a:pt x="2154297" y="128607"/>
                    <a:pt x="2155897" y="129537"/>
                  </a:cubicBezTo>
                  <a:cubicBezTo>
                    <a:pt x="2157497" y="130467"/>
                    <a:pt x="2159487" y="131490"/>
                    <a:pt x="2161868" y="132606"/>
                  </a:cubicBezTo>
                  <a:cubicBezTo>
                    <a:pt x="2164250" y="133722"/>
                    <a:pt x="2167022" y="134764"/>
                    <a:pt x="2170184" y="135732"/>
                  </a:cubicBezTo>
                  <a:cubicBezTo>
                    <a:pt x="2173347" y="136699"/>
                    <a:pt x="2176937" y="137183"/>
                    <a:pt x="2180956" y="137183"/>
                  </a:cubicBezTo>
                  <a:cubicBezTo>
                    <a:pt x="2183486" y="137183"/>
                    <a:pt x="2185737" y="136922"/>
                    <a:pt x="2187709" y="136401"/>
                  </a:cubicBezTo>
                  <a:cubicBezTo>
                    <a:pt x="2189681" y="135881"/>
                    <a:pt x="2191392" y="135136"/>
                    <a:pt x="2192843" y="134169"/>
                  </a:cubicBezTo>
                  <a:cubicBezTo>
                    <a:pt x="2194294" y="133202"/>
                    <a:pt x="2195392" y="131974"/>
                    <a:pt x="2196136" y="130485"/>
                  </a:cubicBezTo>
                  <a:cubicBezTo>
                    <a:pt x="2196880" y="128997"/>
                    <a:pt x="2197252" y="127286"/>
                    <a:pt x="2197252" y="125351"/>
                  </a:cubicBezTo>
                  <a:cubicBezTo>
                    <a:pt x="2197252" y="123118"/>
                    <a:pt x="2196564" y="121202"/>
                    <a:pt x="2195187" y="119602"/>
                  </a:cubicBezTo>
                  <a:cubicBezTo>
                    <a:pt x="2193811" y="118003"/>
                    <a:pt x="2191988" y="116607"/>
                    <a:pt x="2189718" y="115417"/>
                  </a:cubicBezTo>
                  <a:cubicBezTo>
                    <a:pt x="2187448" y="114226"/>
                    <a:pt x="2184881" y="113110"/>
                    <a:pt x="2182016" y="112068"/>
                  </a:cubicBezTo>
                  <a:cubicBezTo>
                    <a:pt x="2179151" y="111026"/>
                    <a:pt x="2176212" y="109873"/>
                    <a:pt x="2173198" y="108608"/>
                  </a:cubicBezTo>
                  <a:cubicBezTo>
                    <a:pt x="2170184" y="107343"/>
                    <a:pt x="2167245" y="105892"/>
                    <a:pt x="2164380" y="104255"/>
                  </a:cubicBezTo>
                  <a:cubicBezTo>
                    <a:pt x="2161515" y="102617"/>
                    <a:pt x="2158948" y="100608"/>
                    <a:pt x="2156678" y="98227"/>
                  </a:cubicBezTo>
                  <a:cubicBezTo>
                    <a:pt x="2154408" y="95846"/>
                    <a:pt x="2152585" y="92981"/>
                    <a:pt x="2151209" y="89632"/>
                  </a:cubicBezTo>
                  <a:cubicBezTo>
                    <a:pt x="2149832" y="86284"/>
                    <a:pt x="2149144" y="82265"/>
                    <a:pt x="2149144" y="77577"/>
                  </a:cubicBezTo>
                  <a:cubicBezTo>
                    <a:pt x="2149144" y="72815"/>
                    <a:pt x="2150074" y="68443"/>
                    <a:pt x="2151934" y="64462"/>
                  </a:cubicBezTo>
                  <a:cubicBezTo>
                    <a:pt x="2153795" y="60480"/>
                    <a:pt x="2156473" y="57076"/>
                    <a:pt x="2159971" y="54248"/>
                  </a:cubicBezTo>
                  <a:cubicBezTo>
                    <a:pt x="2163468" y="51421"/>
                    <a:pt x="2167729" y="49225"/>
                    <a:pt x="2172751" y="47663"/>
                  </a:cubicBezTo>
                  <a:cubicBezTo>
                    <a:pt x="2177774" y="46100"/>
                    <a:pt x="2183411" y="45319"/>
                    <a:pt x="2189662" y="45319"/>
                  </a:cubicBezTo>
                  <a:close/>
                  <a:moveTo>
                    <a:pt x="2085185" y="45319"/>
                  </a:moveTo>
                  <a:cubicBezTo>
                    <a:pt x="2093519" y="45319"/>
                    <a:pt x="2100644" y="46546"/>
                    <a:pt x="2106560" y="49002"/>
                  </a:cubicBezTo>
                  <a:cubicBezTo>
                    <a:pt x="2112476" y="51458"/>
                    <a:pt x="2117332" y="54862"/>
                    <a:pt x="2121127" y="59215"/>
                  </a:cubicBezTo>
                  <a:cubicBezTo>
                    <a:pt x="2124922" y="63569"/>
                    <a:pt x="2127712" y="68722"/>
                    <a:pt x="2129498" y="74675"/>
                  </a:cubicBezTo>
                  <a:cubicBezTo>
                    <a:pt x="2131284" y="80628"/>
                    <a:pt x="2132177" y="87102"/>
                    <a:pt x="2132177" y="94097"/>
                  </a:cubicBezTo>
                  <a:lnTo>
                    <a:pt x="2132177" y="98562"/>
                  </a:lnTo>
                  <a:cubicBezTo>
                    <a:pt x="2132177" y="101985"/>
                    <a:pt x="2131414" y="104515"/>
                    <a:pt x="2129889" y="106152"/>
                  </a:cubicBezTo>
                  <a:cubicBezTo>
                    <a:pt x="2128364" y="107789"/>
                    <a:pt x="2126261" y="108608"/>
                    <a:pt x="2123582" y="108608"/>
                  </a:cubicBezTo>
                  <a:lnTo>
                    <a:pt x="2062972" y="108608"/>
                  </a:lnTo>
                  <a:cubicBezTo>
                    <a:pt x="2062972" y="112849"/>
                    <a:pt x="2063474" y="116700"/>
                    <a:pt x="2064479" y="120161"/>
                  </a:cubicBezTo>
                  <a:cubicBezTo>
                    <a:pt x="2065484" y="123621"/>
                    <a:pt x="2067084" y="126560"/>
                    <a:pt x="2069279" y="128979"/>
                  </a:cubicBezTo>
                  <a:cubicBezTo>
                    <a:pt x="2071474" y="131397"/>
                    <a:pt x="2074302" y="133239"/>
                    <a:pt x="2077762" y="134504"/>
                  </a:cubicBezTo>
                  <a:cubicBezTo>
                    <a:pt x="2081222" y="135769"/>
                    <a:pt x="2085371" y="136401"/>
                    <a:pt x="2090208" y="136401"/>
                  </a:cubicBezTo>
                  <a:cubicBezTo>
                    <a:pt x="2095119" y="136401"/>
                    <a:pt x="2099435" y="136048"/>
                    <a:pt x="2103156" y="135341"/>
                  </a:cubicBezTo>
                  <a:cubicBezTo>
                    <a:pt x="2106876" y="134634"/>
                    <a:pt x="2110095" y="133853"/>
                    <a:pt x="2112811" y="132997"/>
                  </a:cubicBezTo>
                  <a:cubicBezTo>
                    <a:pt x="2115527" y="132141"/>
                    <a:pt x="2117778" y="131360"/>
                    <a:pt x="2119564" y="130653"/>
                  </a:cubicBezTo>
                  <a:cubicBezTo>
                    <a:pt x="2121350" y="129946"/>
                    <a:pt x="2122801" y="129593"/>
                    <a:pt x="2123917" y="129593"/>
                  </a:cubicBezTo>
                  <a:cubicBezTo>
                    <a:pt x="2124587" y="129593"/>
                    <a:pt x="2125145" y="129723"/>
                    <a:pt x="2125592" y="129983"/>
                  </a:cubicBezTo>
                  <a:cubicBezTo>
                    <a:pt x="2126038" y="130244"/>
                    <a:pt x="2126410" y="130709"/>
                    <a:pt x="2126708" y="131378"/>
                  </a:cubicBezTo>
                  <a:cubicBezTo>
                    <a:pt x="2127005" y="132048"/>
                    <a:pt x="2127210" y="132997"/>
                    <a:pt x="2127322" y="134225"/>
                  </a:cubicBezTo>
                  <a:cubicBezTo>
                    <a:pt x="2127433" y="135453"/>
                    <a:pt x="2127489" y="136997"/>
                    <a:pt x="2127489" y="138857"/>
                  </a:cubicBezTo>
                  <a:cubicBezTo>
                    <a:pt x="2127489" y="140494"/>
                    <a:pt x="2127452" y="141889"/>
                    <a:pt x="2127378" y="143043"/>
                  </a:cubicBezTo>
                  <a:cubicBezTo>
                    <a:pt x="2127303" y="144196"/>
                    <a:pt x="2127191" y="145182"/>
                    <a:pt x="2127043" y="146001"/>
                  </a:cubicBezTo>
                  <a:cubicBezTo>
                    <a:pt x="2126894" y="146819"/>
                    <a:pt x="2126671" y="147508"/>
                    <a:pt x="2126373" y="148066"/>
                  </a:cubicBezTo>
                  <a:cubicBezTo>
                    <a:pt x="2126075" y="148624"/>
                    <a:pt x="2125685" y="149163"/>
                    <a:pt x="2125201" y="149684"/>
                  </a:cubicBezTo>
                  <a:cubicBezTo>
                    <a:pt x="2124717" y="150205"/>
                    <a:pt x="2123396" y="150912"/>
                    <a:pt x="2121238" y="151805"/>
                  </a:cubicBezTo>
                  <a:cubicBezTo>
                    <a:pt x="2119080" y="152698"/>
                    <a:pt x="2116327" y="153572"/>
                    <a:pt x="2112978" y="154428"/>
                  </a:cubicBezTo>
                  <a:cubicBezTo>
                    <a:pt x="2109630" y="155284"/>
                    <a:pt x="2105797" y="156028"/>
                    <a:pt x="2101481" y="156661"/>
                  </a:cubicBezTo>
                  <a:cubicBezTo>
                    <a:pt x="2097165" y="157293"/>
                    <a:pt x="2092552" y="157609"/>
                    <a:pt x="2087640" y="157609"/>
                  </a:cubicBezTo>
                  <a:cubicBezTo>
                    <a:pt x="2078785" y="157609"/>
                    <a:pt x="2071027" y="156493"/>
                    <a:pt x="2064367" y="154261"/>
                  </a:cubicBezTo>
                  <a:cubicBezTo>
                    <a:pt x="2057707" y="152028"/>
                    <a:pt x="2052145" y="148643"/>
                    <a:pt x="2047680" y="144103"/>
                  </a:cubicBezTo>
                  <a:cubicBezTo>
                    <a:pt x="2043215" y="139564"/>
                    <a:pt x="2039885" y="133834"/>
                    <a:pt x="2037690" y="126914"/>
                  </a:cubicBezTo>
                  <a:cubicBezTo>
                    <a:pt x="2035495" y="119993"/>
                    <a:pt x="2034397" y="111882"/>
                    <a:pt x="2034397" y="102580"/>
                  </a:cubicBezTo>
                  <a:cubicBezTo>
                    <a:pt x="2034397" y="93725"/>
                    <a:pt x="2035551" y="85744"/>
                    <a:pt x="2037857" y="78637"/>
                  </a:cubicBezTo>
                  <a:cubicBezTo>
                    <a:pt x="2040164" y="71531"/>
                    <a:pt x="2043513" y="65503"/>
                    <a:pt x="2047903" y="60555"/>
                  </a:cubicBezTo>
                  <a:cubicBezTo>
                    <a:pt x="2052294" y="55606"/>
                    <a:pt x="2057633" y="51830"/>
                    <a:pt x="2063921" y="49225"/>
                  </a:cubicBezTo>
                  <a:cubicBezTo>
                    <a:pt x="2070209" y="46621"/>
                    <a:pt x="2077297" y="45319"/>
                    <a:pt x="2085185" y="45319"/>
                  </a:cubicBezTo>
                  <a:close/>
                  <a:moveTo>
                    <a:pt x="1650607" y="45319"/>
                  </a:moveTo>
                  <a:cubicBezTo>
                    <a:pt x="1659536" y="45319"/>
                    <a:pt x="1667275" y="46528"/>
                    <a:pt x="1673824" y="48946"/>
                  </a:cubicBezTo>
                  <a:cubicBezTo>
                    <a:pt x="1680372" y="51365"/>
                    <a:pt x="1685786" y="54918"/>
                    <a:pt x="1690065" y="59606"/>
                  </a:cubicBezTo>
                  <a:cubicBezTo>
                    <a:pt x="1694344" y="64294"/>
                    <a:pt x="1697525" y="70061"/>
                    <a:pt x="1699608" y="76907"/>
                  </a:cubicBezTo>
                  <a:cubicBezTo>
                    <a:pt x="1701692" y="83753"/>
                    <a:pt x="1702734" y="91604"/>
                    <a:pt x="1702734" y="100459"/>
                  </a:cubicBezTo>
                  <a:cubicBezTo>
                    <a:pt x="1702734" y="108943"/>
                    <a:pt x="1701618" y="116682"/>
                    <a:pt x="1699385" y="123677"/>
                  </a:cubicBezTo>
                  <a:cubicBezTo>
                    <a:pt x="1697153" y="130672"/>
                    <a:pt x="1693767" y="136699"/>
                    <a:pt x="1689228" y="141759"/>
                  </a:cubicBezTo>
                  <a:cubicBezTo>
                    <a:pt x="1684688" y="146819"/>
                    <a:pt x="1678996" y="150726"/>
                    <a:pt x="1672150" y="153479"/>
                  </a:cubicBezTo>
                  <a:cubicBezTo>
                    <a:pt x="1665303" y="156233"/>
                    <a:pt x="1657304" y="157609"/>
                    <a:pt x="1648151" y="157609"/>
                  </a:cubicBezTo>
                  <a:cubicBezTo>
                    <a:pt x="1639296" y="157609"/>
                    <a:pt x="1631594" y="156382"/>
                    <a:pt x="1625045" y="153926"/>
                  </a:cubicBezTo>
                  <a:cubicBezTo>
                    <a:pt x="1618497" y="151470"/>
                    <a:pt x="1613065" y="147898"/>
                    <a:pt x="1608749" y="143210"/>
                  </a:cubicBezTo>
                  <a:cubicBezTo>
                    <a:pt x="1604433" y="138522"/>
                    <a:pt x="1601233" y="132755"/>
                    <a:pt x="1599149" y="125909"/>
                  </a:cubicBezTo>
                  <a:cubicBezTo>
                    <a:pt x="1597066" y="119063"/>
                    <a:pt x="1596024" y="111249"/>
                    <a:pt x="1596024" y="102469"/>
                  </a:cubicBezTo>
                  <a:cubicBezTo>
                    <a:pt x="1596024" y="93985"/>
                    <a:pt x="1597159" y="86228"/>
                    <a:pt x="1599428" y="79196"/>
                  </a:cubicBezTo>
                  <a:cubicBezTo>
                    <a:pt x="1601698" y="72163"/>
                    <a:pt x="1605102" y="66136"/>
                    <a:pt x="1609642" y="61113"/>
                  </a:cubicBezTo>
                  <a:cubicBezTo>
                    <a:pt x="1614181" y="56090"/>
                    <a:pt x="1619855" y="52202"/>
                    <a:pt x="1626664" y="49449"/>
                  </a:cubicBezTo>
                  <a:cubicBezTo>
                    <a:pt x="1633473" y="46695"/>
                    <a:pt x="1641454" y="45319"/>
                    <a:pt x="1650607" y="45319"/>
                  </a:cubicBezTo>
                  <a:close/>
                  <a:moveTo>
                    <a:pt x="1469148" y="45319"/>
                  </a:moveTo>
                  <a:cubicBezTo>
                    <a:pt x="1473241" y="45319"/>
                    <a:pt x="1476924" y="45746"/>
                    <a:pt x="1480198" y="46602"/>
                  </a:cubicBezTo>
                  <a:cubicBezTo>
                    <a:pt x="1483473" y="47458"/>
                    <a:pt x="1486393" y="48686"/>
                    <a:pt x="1488961" y="50286"/>
                  </a:cubicBezTo>
                  <a:cubicBezTo>
                    <a:pt x="1491528" y="51886"/>
                    <a:pt x="1493742" y="53802"/>
                    <a:pt x="1495602" y="56034"/>
                  </a:cubicBezTo>
                  <a:cubicBezTo>
                    <a:pt x="1497463" y="58267"/>
                    <a:pt x="1499025" y="60760"/>
                    <a:pt x="1500290" y="63513"/>
                  </a:cubicBezTo>
                  <a:cubicBezTo>
                    <a:pt x="1503267" y="60313"/>
                    <a:pt x="1506188" y="57560"/>
                    <a:pt x="1509053" y="55253"/>
                  </a:cubicBezTo>
                  <a:cubicBezTo>
                    <a:pt x="1511917" y="52946"/>
                    <a:pt x="1514745" y="51067"/>
                    <a:pt x="1517536" y="49616"/>
                  </a:cubicBezTo>
                  <a:cubicBezTo>
                    <a:pt x="1520326" y="48165"/>
                    <a:pt x="1523117" y="47086"/>
                    <a:pt x="1525907" y="46379"/>
                  </a:cubicBezTo>
                  <a:cubicBezTo>
                    <a:pt x="1528698" y="45672"/>
                    <a:pt x="1531544" y="45319"/>
                    <a:pt x="1534446" y="45319"/>
                  </a:cubicBezTo>
                  <a:cubicBezTo>
                    <a:pt x="1541069" y="45319"/>
                    <a:pt x="1546650" y="46435"/>
                    <a:pt x="1551189" y="48667"/>
                  </a:cubicBezTo>
                  <a:cubicBezTo>
                    <a:pt x="1555729" y="50900"/>
                    <a:pt x="1559394" y="53932"/>
                    <a:pt x="1562184" y="57764"/>
                  </a:cubicBezTo>
                  <a:cubicBezTo>
                    <a:pt x="1564975" y="61597"/>
                    <a:pt x="1566965" y="66080"/>
                    <a:pt x="1568156" y="71215"/>
                  </a:cubicBezTo>
                  <a:cubicBezTo>
                    <a:pt x="1569347" y="76349"/>
                    <a:pt x="1569942" y="81781"/>
                    <a:pt x="1569942" y="87511"/>
                  </a:cubicBezTo>
                  <a:lnTo>
                    <a:pt x="1569942" y="151247"/>
                  </a:lnTo>
                  <a:cubicBezTo>
                    <a:pt x="1569942" y="151991"/>
                    <a:pt x="1569719" y="152642"/>
                    <a:pt x="1569272" y="153200"/>
                  </a:cubicBezTo>
                  <a:cubicBezTo>
                    <a:pt x="1568826" y="153758"/>
                    <a:pt x="1568081" y="154224"/>
                    <a:pt x="1567040" y="154596"/>
                  </a:cubicBezTo>
                  <a:cubicBezTo>
                    <a:pt x="1565998" y="154968"/>
                    <a:pt x="1564584" y="155247"/>
                    <a:pt x="1562798" y="155433"/>
                  </a:cubicBezTo>
                  <a:cubicBezTo>
                    <a:pt x="1561012" y="155619"/>
                    <a:pt x="1558743" y="155712"/>
                    <a:pt x="1555989" y="155712"/>
                  </a:cubicBezTo>
                  <a:cubicBezTo>
                    <a:pt x="1553161" y="155712"/>
                    <a:pt x="1550855" y="155619"/>
                    <a:pt x="1549069" y="155433"/>
                  </a:cubicBezTo>
                  <a:cubicBezTo>
                    <a:pt x="1547283" y="155247"/>
                    <a:pt x="1545850" y="154968"/>
                    <a:pt x="1544771" y="154596"/>
                  </a:cubicBezTo>
                  <a:cubicBezTo>
                    <a:pt x="1543692" y="154224"/>
                    <a:pt x="1542948" y="153758"/>
                    <a:pt x="1542539" y="153200"/>
                  </a:cubicBezTo>
                  <a:cubicBezTo>
                    <a:pt x="1542130" y="152642"/>
                    <a:pt x="1541925" y="151991"/>
                    <a:pt x="1541925" y="151247"/>
                  </a:cubicBezTo>
                  <a:lnTo>
                    <a:pt x="1541925" y="92199"/>
                  </a:lnTo>
                  <a:cubicBezTo>
                    <a:pt x="1541925" y="88851"/>
                    <a:pt x="1541609" y="85800"/>
                    <a:pt x="1540976" y="83047"/>
                  </a:cubicBezTo>
                  <a:cubicBezTo>
                    <a:pt x="1540344" y="80293"/>
                    <a:pt x="1539376" y="77931"/>
                    <a:pt x="1538074" y="75959"/>
                  </a:cubicBezTo>
                  <a:cubicBezTo>
                    <a:pt x="1536772" y="73987"/>
                    <a:pt x="1535135" y="72461"/>
                    <a:pt x="1533163" y="71382"/>
                  </a:cubicBezTo>
                  <a:cubicBezTo>
                    <a:pt x="1531191" y="70303"/>
                    <a:pt x="1528828" y="69764"/>
                    <a:pt x="1526075" y="69764"/>
                  </a:cubicBezTo>
                  <a:cubicBezTo>
                    <a:pt x="1522726" y="69764"/>
                    <a:pt x="1519340" y="71066"/>
                    <a:pt x="1515917" y="73670"/>
                  </a:cubicBezTo>
                  <a:cubicBezTo>
                    <a:pt x="1512494" y="76275"/>
                    <a:pt x="1508773" y="80070"/>
                    <a:pt x="1504755" y="85056"/>
                  </a:cubicBezTo>
                  <a:lnTo>
                    <a:pt x="1504755" y="151247"/>
                  </a:lnTo>
                  <a:cubicBezTo>
                    <a:pt x="1504755" y="151991"/>
                    <a:pt x="1504532" y="152642"/>
                    <a:pt x="1504085" y="153200"/>
                  </a:cubicBezTo>
                  <a:cubicBezTo>
                    <a:pt x="1503639" y="153758"/>
                    <a:pt x="1502876" y="154224"/>
                    <a:pt x="1501797" y="154596"/>
                  </a:cubicBezTo>
                  <a:cubicBezTo>
                    <a:pt x="1500718" y="154968"/>
                    <a:pt x="1499286" y="155247"/>
                    <a:pt x="1497500" y="155433"/>
                  </a:cubicBezTo>
                  <a:cubicBezTo>
                    <a:pt x="1495714" y="155619"/>
                    <a:pt x="1493481" y="155712"/>
                    <a:pt x="1490802" y="155712"/>
                  </a:cubicBezTo>
                  <a:cubicBezTo>
                    <a:pt x="1488049" y="155712"/>
                    <a:pt x="1485780" y="155619"/>
                    <a:pt x="1483994" y="155433"/>
                  </a:cubicBezTo>
                  <a:cubicBezTo>
                    <a:pt x="1482208" y="155247"/>
                    <a:pt x="1480775" y="154968"/>
                    <a:pt x="1479696" y="154596"/>
                  </a:cubicBezTo>
                  <a:cubicBezTo>
                    <a:pt x="1478617" y="154224"/>
                    <a:pt x="1477854" y="153758"/>
                    <a:pt x="1477408" y="153200"/>
                  </a:cubicBezTo>
                  <a:cubicBezTo>
                    <a:pt x="1476961" y="152642"/>
                    <a:pt x="1476738" y="151991"/>
                    <a:pt x="1476738" y="151247"/>
                  </a:cubicBezTo>
                  <a:lnTo>
                    <a:pt x="1476738" y="92199"/>
                  </a:lnTo>
                  <a:cubicBezTo>
                    <a:pt x="1476738" y="88851"/>
                    <a:pt x="1476422" y="85800"/>
                    <a:pt x="1475789" y="83047"/>
                  </a:cubicBezTo>
                  <a:cubicBezTo>
                    <a:pt x="1475157" y="80293"/>
                    <a:pt x="1474208" y="77931"/>
                    <a:pt x="1472943" y="75959"/>
                  </a:cubicBezTo>
                  <a:cubicBezTo>
                    <a:pt x="1471678" y="73987"/>
                    <a:pt x="1470041" y="72461"/>
                    <a:pt x="1468032" y="71382"/>
                  </a:cubicBezTo>
                  <a:cubicBezTo>
                    <a:pt x="1466023" y="70303"/>
                    <a:pt x="1463679" y="69764"/>
                    <a:pt x="1461000" y="69764"/>
                  </a:cubicBezTo>
                  <a:cubicBezTo>
                    <a:pt x="1457577" y="69764"/>
                    <a:pt x="1454154" y="71066"/>
                    <a:pt x="1450731" y="73670"/>
                  </a:cubicBezTo>
                  <a:cubicBezTo>
                    <a:pt x="1447307" y="76275"/>
                    <a:pt x="1443624" y="80070"/>
                    <a:pt x="1439680" y="85056"/>
                  </a:cubicBezTo>
                  <a:lnTo>
                    <a:pt x="1439680" y="151247"/>
                  </a:lnTo>
                  <a:cubicBezTo>
                    <a:pt x="1439680" y="151991"/>
                    <a:pt x="1439457" y="152642"/>
                    <a:pt x="1439010" y="153200"/>
                  </a:cubicBezTo>
                  <a:cubicBezTo>
                    <a:pt x="1438564" y="153758"/>
                    <a:pt x="1437801" y="154224"/>
                    <a:pt x="1436722" y="154596"/>
                  </a:cubicBezTo>
                  <a:cubicBezTo>
                    <a:pt x="1435643" y="154968"/>
                    <a:pt x="1434211" y="155247"/>
                    <a:pt x="1432425" y="155433"/>
                  </a:cubicBezTo>
                  <a:cubicBezTo>
                    <a:pt x="1430639" y="155619"/>
                    <a:pt x="1428369" y="155712"/>
                    <a:pt x="1425616" y="155712"/>
                  </a:cubicBezTo>
                  <a:cubicBezTo>
                    <a:pt x="1422862" y="155712"/>
                    <a:pt x="1420593" y="155619"/>
                    <a:pt x="1418807" y="155433"/>
                  </a:cubicBezTo>
                  <a:cubicBezTo>
                    <a:pt x="1417021" y="155247"/>
                    <a:pt x="1415588" y="154968"/>
                    <a:pt x="1414509" y="154596"/>
                  </a:cubicBezTo>
                  <a:cubicBezTo>
                    <a:pt x="1413430" y="154224"/>
                    <a:pt x="1412668" y="153758"/>
                    <a:pt x="1412221" y="153200"/>
                  </a:cubicBezTo>
                  <a:cubicBezTo>
                    <a:pt x="1411775" y="152642"/>
                    <a:pt x="1411552" y="151991"/>
                    <a:pt x="1411552" y="151247"/>
                  </a:cubicBezTo>
                  <a:lnTo>
                    <a:pt x="1411552" y="51681"/>
                  </a:lnTo>
                  <a:cubicBezTo>
                    <a:pt x="1411552" y="50937"/>
                    <a:pt x="1411738" y="50286"/>
                    <a:pt x="1412110" y="49728"/>
                  </a:cubicBezTo>
                  <a:cubicBezTo>
                    <a:pt x="1412482" y="49170"/>
                    <a:pt x="1413151" y="48704"/>
                    <a:pt x="1414119" y="48332"/>
                  </a:cubicBezTo>
                  <a:cubicBezTo>
                    <a:pt x="1415086" y="47960"/>
                    <a:pt x="1416333" y="47681"/>
                    <a:pt x="1417858" y="47495"/>
                  </a:cubicBezTo>
                  <a:cubicBezTo>
                    <a:pt x="1419384" y="47309"/>
                    <a:pt x="1421300" y="47216"/>
                    <a:pt x="1423607" y="47216"/>
                  </a:cubicBezTo>
                  <a:cubicBezTo>
                    <a:pt x="1425988" y="47216"/>
                    <a:pt x="1427960" y="47309"/>
                    <a:pt x="1429522" y="47495"/>
                  </a:cubicBezTo>
                  <a:cubicBezTo>
                    <a:pt x="1431085" y="47681"/>
                    <a:pt x="1432294" y="47960"/>
                    <a:pt x="1433150" y="48332"/>
                  </a:cubicBezTo>
                  <a:cubicBezTo>
                    <a:pt x="1434006" y="48704"/>
                    <a:pt x="1434620" y="49170"/>
                    <a:pt x="1434992" y="49728"/>
                  </a:cubicBezTo>
                  <a:cubicBezTo>
                    <a:pt x="1435364" y="50286"/>
                    <a:pt x="1435550" y="50937"/>
                    <a:pt x="1435550" y="51681"/>
                  </a:cubicBezTo>
                  <a:lnTo>
                    <a:pt x="1435550" y="63178"/>
                  </a:lnTo>
                  <a:cubicBezTo>
                    <a:pt x="1441057" y="57225"/>
                    <a:pt x="1446545" y="52760"/>
                    <a:pt x="1452014" y="49783"/>
                  </a:cubicBezTo>
                  <a:cubicBezTo>
                    <a:pt x="1457484" y="46807"/>
                    <a:pt x="1463195" y="45319"/>
                    <a:pt x="1469148" y="45319"/>
                  </a:cubicBezTo>
                  <a:close/>
                  <a:moveTo>
                    <a:pt x="1278648" y="45319"/>
                  </a:moveTo>
                  <a:cubicBezTo>
                    <a:pt x="1282741" y="45319"/>
                    <a:pt x="1286424" y="45746"/>
                    <a:pt x="1289698" y="46602"/>
                  </a:cubicBezTo>
                  <a:cubicBezTo>
                    <a:pt x="1292973" y="47458"/>
                    <a:pt x="1295893" y="48686"/>
                    <a:pt x="1298461" y="50286"/>
                  </a:cubicBezTo>
                  <a:cubicBezTo>
                    <a:pt x="1301028" y="51886"/>
                    <a:pt x="1303242" y="53802"/>
                    <a:pt x="1305102" y="56034"/>
                  </a:cubicBezTo>
                  <a:cubicBezTo>
                    <a:pt x="1306963" y="58267"/>
                    <a:pt x="1308525" y="60760"/>
                    <a:pt x="1309790" y="63513"/>
                  </a:cubicBezTo>
                  <a:cubicBezTo>
                    <a:pt x="1312767" y="60313"/>
                    <a:pt x="1315688" y="57560"/>
                    <a:pt x="1318553" y="55253"/>
                  </a:cubicBezTo>
                  <a:cubicBezTo>
                    <a:pt x="1321417" y="52946"/>
                    <a:pt x="1324245" y="51067"/>
                    <a:pt x="1327036" y="49616"/>
                  </a:cubicBezTo>
                  <a:cubicBezTo>
                    <a:pt x="1329826" y="48165"/>
                    <a:pt x="1332617" y="47086"/>
                    <a:pt x="1335407" y="46379"/>
                  </a:cubicBezTo>
                  <a:cubicBezTo>
                    <a:pt x="1338198" y="45672"/>
                    <a:pt x="1341044" y="45319"/>
                    <a:pt x="1343946" y="45319"/>
                  </a:cubicBezTo>
                  <a:cubicBezTo>
                    <a:pt x="1350569" y="45319"/>
                    <a:pt x="1356150" y="46435"/>
                    <a:pt x="1360689" y="48667"/>
                  </a:cubicBezTo>
                  <a:cubicBezTo>
                    <a:pt x="1365229" y="50900"/>
                    <a:pt x="1368894" y="53932"/>
                    <a:pt x="1371684" y="57764"/>
                  </a:cubicBezTo>
                  <a:cubicBezTo>
                    <a:pt x="1374475" y="61597"/>
                    <a:pt x="1376465" y="66080"/>
                    <a:pt x="1377656" y="71215"/>
                  </a:cubicBezTo>
                  <a:cubicBezTo>
                    <a:pt x="1378847" y="76349"/>
                    <a:pt x="1379442" y="81781"/>
                    <a:pt x="1379442" y="87511"/>
                  </a:cubicBezTo>
                  <a:lnTo>
                    <a:pt x="1379442" y="151247"/>
                  </a:lnTo>
                  <a:cubicBezTo>
                    <a:pt x="1379442" y="151991"/>
                    <a:pt x="1379219" y="152642"/>
                    <a:pt x="1378772" y="153200"/>
                  </a:cubicBezTo>
                  <a:cubicBezTo>
                    <a:pt x="1378326" y="153758"/>
                    <a:pt x="1377581" y="154224"/>
                    <a:pt x="1376540" y="154596"/>
                  </a:cubicBezTo>
                  <a:cubicBezTo>
                    <a:pt x="1375498" y="154968"/>
                    <a:pt x="1374084" y="155247"/>
                    <a:pt x="1372298" y="155433"/>
                  </a:cubicBezTo>
                  <a:cubicBezTo>
                    <a:pt x="1370512" y="155619"/>
                    <a:pt x="1368243" y="155712"/>
                    <a:pt x="1365489" y="155712"/>
                  </a:cubicBezTo>
                  <a:cubicBezTo>
                    <a:pt x="1362661" y="155712"/>
                    <a:pt x="1360355" y="155619"/>
                    <a:pt x="1358569" y="155433"/>
                  </a:cubicBezTo>
                  <a:cubicBezTo>
                    <a:pt x="1356783" y="155247"/>
                    <a:pt x="1355350" y="154968"/>
                    <a:pt x="1354271" y="154596"/>
                  </a:cubicBezTo>
                  <a:cubicBezTo>
                    <a:pt x="1353192" y="154224"/>
                    <a:pt x="1352448" y="153758"/>
                    <a:pt x="1352039" y="153200"/>
                  </a:cubicBezTo>
                  <a:cubicBezTo>
                    <a:pt x="1351630" y="152642"/>
                    <a:pt x="1351425" y="151991"/>
                    <a:pt x="1351425" y="151247"/>
                  </a:cubicBezTo>
                  <a:lnTo>
                    <a:pt x="1351425" y="92199"/>
                  </a:lnTo>
                  <a:cubicBezTo>
                    <a:pt x="1351425" y="88851"/>
                    <a:pt x="1351109" y="85800"/>
                    <a:pt x="1350476" y="83047"/>
                  </a:cubicBezTo>
                  <a:cubicBezTo>
                    <a:pt x="1349844" y="80293"/>
                    <a:pt x="1348876" y="77931"/>
                    <a:pt x="1347574" y="75959"/>
                  </a:cubicBezTo>
                  <a:cubicBezTo>
                    <a:pt x="1346272" y="73987"/>
                    <a:pt x="1344635" y="72461"/>
                    <a:pt x="1342663" y="71382"/>
                  </a:cubicBezTo>
                  <a:cubicBezTo>
                    <a:pt x="1340691" y="70303"/>
                    <a:pt x="1338328" y="69764"/>
                    <a:pt x="1335575" y="69764"/>
                  </a:cubicBezTo>
                  <a:cubicBezTo>
                    <a:pt x="1332226" y="69764"/>
                    <a:pt x="1328840" y="71066"/>
                    <a:pt x="1325417" y="73670"/>
                  </a:cubicBezTo>
                  <a:cubicBezTo>
                    <a:pt x="1321994" y="76275"/>
                    <a:pt x="1318273" y="80070"/>
                    <a:pt x="1314255" y="85056"/>
                  </a:cubicBezTo>
                  <a:lnTo>
                    <a:pt x="1314255" y="151247"/>
                  </a:lnTo>
                  <a:cubicBezTo>
                    <a:pt x="1314255" y="151991"/>
                    <a:pt x="1314032" y="152642"/>
                    <a:pt x="1313585" y="153200"/>
                  </a:cubicBezTo>
                  <a:cubicBezTo>
                    <a:pt x="1313139" y="153758"/>
                    <a:pt x="1312376" y="154224"/>
                    <a:pt x="1311297" y="154596"/>
                  </a:cubicBezTo>
                  <a:cubicBezTo>
                    <a:pt x="1310218" y="154968"/>
                    <a:pt x="1308786" y="155247"/>
                    <a:pt x="1307000" y="155433"/>
                  </a:cubicBezTo>
                  <a:cubicBezTo>
                    <a:pt x="1305214" y="155619"/>
                    <a:pt x="1302981" y="155712"/>
                    <a:pt x="1300302" y="155712"/>
                  </a:cubicBezTo>
                  <a:cubicBezTo>
                    <a:pt x="1297549" y="155712"/>
                    <a:pt x="1295280" y="155619"/>
                    <a:pt x="1293494" y="155433"/>
                  </a:cubicBezTo>
                  <a:cubicBezTo>
                    <a:pt x="1291708" y="155247"/>
                    <a:pt x="1290275" y="154968"/>
                    <a:pt x="1289196" y="154596"/>
                  </a:cubicBezTo>
                  <a:cubicBezTo>
                    <a:pt x="1288117" y="154224"/>
                    <a:pt x="1287354" y="153758"/>
                    <a:pt x="1286908" y="153200"/>
                  </a:cubicBezTo>
                  <a:cubicBezTo>
                    <a:pt x="1286461" y="152642"/>
                    <a:pt x="1286238" y="151991"/>
                    <a:pt x="1286238" y="151247"/>
                  </a:cubicBezTo>
                  <a:lnTo>
                    <a:pt x="1286238" y="92199"/>
                  </a:lnTo>
                  <a:cubicBezTo>
                    <a:pt x="1286238" y="88851"/>
                    <a:pt x="1285922" y="85800"/>
                    <a:pt x="1285289" y="83047"/>
                  </a:cubicBezTo>
                  <a:cubicBezTo>
                    <a:pt x="1284657" y="80293"/>
                    <a:pt x="1283708" y="77931"/>
                    <a:pt x="1282443" y="75959"/>
                  </a:cubicBezTo>
                  <a:cubicBezTo>
                    <a:pt x="1281178" y="73987"/>
                    <a:pt x="1279541" y="72461"/>
                    <a:pt x="1277532" y="71382"/>
                  </a:cubicBezTo>
                  <a:cubicBezTo>
                    <a:pt x="1275523" y="70303"/>
                    <a:pt x="1273179" y="69764"/>
                    <a:pt x="1270500" y="69764"/>
                  </a:cubicBezTo>
                  <a:cubicBezTo>
                    <a:pt x="1267077" y="69764"/>
                    <a:pt x="1263654" y="71066"/>
                    <a:pt x="1260231" y="73670"/>
                  </a:cubicBezTo>
                  <a:cubicBezTo>
                    <a:pt x="1256807" y="76275"/>
                    <a:pt x="1253124" y="80070"/>
                    <a:pt x="1249180" y="85056"/>
                  </a:cubicBezTo>
                  <a:lnTo>
                    <a:pt x="1249180" y="151247"/>
                  </a:lnTo>
                  <a:cubicBezTo>
                    <a:pt x="1249180" y="151991"/>
                    <a:pt x="1248957" y="152642"/>
                    <a:pt x="1248510" y="153200"/>
                  </a:cubicBezTo>
                  <a:cubicBezTo>
                    <a:pt x="1248064" y="153758"/>
                    <a:pt x="1247301" y="154224"/>
                    <a:pt x="1246222" y="154596"/>
                  </a:cubicBezTo>
                  <a:cubicBezTo>
                    <a:pt x="1245143" y="154968"/>
                    <a:pt x="1243711" y="155247"/>
                    <a:pt x="1241925" y="155433"/>
                  </a:cubicBezTo>
                  <a:cubicBezTo>
                    <a:pt x="1240139" y="155619"/>
                    <a:pt x="1237869" y="155712"/>
                    <a:pt x="1235116" y="155712"/>
                  </a:cubicBezTo>
                  <a:cubicBezTo>
                    <a:pt x="1232362" y="155712"/>
                    <a:pt x="1230093" y="155619"/>
                    <a:pt x="1228307" y="155433"/>
                  </a:cubicBezTo>
                  <a:cubicBezTo>
                    <a:pt x="1226521" y="155247"/>
                    <a:pt x="1225088" y="154968"/>
                    <a:pt x="1224009" y="154596"/>
                  </a:cubicBezTo>
                  <a:cubicBezTo>
                    <a:pt x="1222930" y="154224"/>
                    <a:pt x="1222168" y="153758"/>
                    <a:pt x="1221721" y="153200"/>
                  </a:cubicBezTo>
                  <a:cubicBezTo>
                    <a:pt x="1221275" y="152642"/>
                    <a:pt x="1221052" y="151991"/>
                    <a:pt x="1221052" y="151247"/>
                  </a:cubicBezTo>
                  <a:lnTo>
                    <a:pt x="1221052" y="51681"/>
                  </a:lnTo>
                  <a:cubicBezTo>
                    <a:pt x="1221052" y="50937"/>
                    <a:pt x="1221238" y="50286"/>
                    <a:pt x="1221610" y="49728"/>
                  </a:cubicBezTo>
                  <a:cubicBezTo>
                    <a:pt x="1221982" y="49170"/>
                    <a:pt x="1222651" y="48704"/>
                    <a:pt x="1223619" y="48332"/>
                  </a:cubicBezTo>
                  <a:cubicBezTo>
                    <a:pt x="1224586" y="47960"/>
                    <a:pt x="1225833" y="47681"/>
                    <a:pt x="1227358" y="47495"/>
                  </a:cubicBezTo>
                  <a:cubicBezTo>
                    <a:pt x="1228884" y="47309"/>
                    <a:pt x="1230800" y="47216"/>
                    <a:pt x="1233107" y="47216"/>
                  </a:cubicBezTo>
                  <a:cubicBezTo>
                    <a:pt x="1235488" y="47216"/>
                    <a:pt x="1237460" y="47309"/>
                    <a:pt x="1239022" y="47495"/>
                  </a:cubicBezTo>
                  <a:cubicBezTo>
                    <a:pt x="1240585" y="47681"/>
                    <a:pt x="1241794" y="47960"/>
                    <a:pt x="1242650" y="48332"/>
                  </a:cubicBezTo>
                  <a:cubicBezTo>
                    <a:pt x="1243506" y="48704"/>
                    <a:pt x="1244120" y="49170"/>
                    <a:pt x="1244492" y="49728"/>
                  </a:cubicBezTo>
                  <a:cubicBezTo>
                    <a:pt x="1244864" y="50286"/>
                    <a:pt x="1245050" y="50937"/>
                    <a:pt x="1245050" y="51681"/>
                  </a:cubicBezTo>
                  <a:lnTo>
                    <a:pt x="1245050" y="63178"/>
                  </a:lnTo>
                  <a:cubicBezTo>
                    <a:pt x="1250557" y="57225"/>
                    <a:pt x="1256045" y="52760"/>
                    <a:pt x="1261514" y="49783"/>
                  </a:cubicBezTo>
                  <a:cubicBezTo>
                    <a:pt x="1266984" y="46807"/>
                    <a:pt x="1272695" y="45319"/>
                    <a:pt x="1278648" y="45319"/>
                  </a:cubicBezTo>
                  <a:close/>
                  <a:moveTo>
                    <a:pt x="1145782" y="45319"/>
                  </a:moveTo>
                  <a:cubicBezTo>
                    <a:pt x="1154711" y="45319"/>
                    <a:pt x="1162450" y="46528"/>
                    <a:pt x="1168999" y="48946"/>
                  </a:cubicBezTo>
                  <a:cubicBezTo>
                    <a:pt x="1175547" y="51365"/>
                    <a:pt x="1180961" y="54918"/>
                    <a:pt x="1185240" y="59606"/>
                  </a:cubicBezTo>
                  <a:cubicBezTo>
                    <a:pt x="1189519" y="64294"/>
                    <a:pt x="1192700" y="70061"/>
                    <a:pt x="1194783" y="76907"/>
                  </a:cubicBezTo>
                  <a:cubicBezTo>
                    <a:pt x="1196867" y="83753"/>
                    <a:pt x="1197909" y="91604"/>
                    <a:pt x="1197909" y="100459"/>
                  </a:cubicBezTo>
                  <a:cubicBezTo>
                    <a:pt x="1197909" y="108943"/>
                    <a:pt x="1196793" y="116682"/>
                    <a:pt x="1194560" y="123677"/>
                  </a:cubicBezTo>
                  <a:cubicBezTo>
                    <a:pt x="1192328" y="130672"/>
                    <a:pt x="1188942" y="136699"/>
                    <a:pt x="1184403" y="141759"/>
                  </a:cubicBezTo>
                  <a:cubicBezTo>
                    <a:pt x="1179863" y="146819"/>
                    <a:pt x="1174171" y="150726"/>
                    <a:pt x="1167325" y="153479"/>
                  </a:cubicBezTo>
                  <a:cubicBezTo>
                    <a:pt x="1160478" y="156233"/>
                    <a:pt x="1152479" y="157609"/>
                    <a:pt x="1143326" y="157609"/>
                  </a:cubicBezTo>
                  <a:cubicBezTo>
                    <a:pt x="1134471" y="157609"/>
                    <a:pt x="1126769" y="156382"/>
                    <a:pt x="1120220" y="153926"/>
                  </a:cubicBezTo>
                  <a:cubicBezTo>
                    <a:pt x="1113672" y="151470"/>
                    <a:pt x="1108240" y="147898"/>
                    <a:pt x="1103924" y="143210"/>
                  </a:cubicBezTo>
                  <a:cubicBezTo>
                    <a:pt x="1099608" y="138522"/>
                    <a:pt x="1096408" y="132755"/>
                    <a:pt x="1094324" y="125909"/>
                  </a:cubicBezTo>
                  <a:cubicBezTo>
                    <a:pt x="1092241" y="119063"/>
                    <a:pt x="1091199" y="111249"/>
                    <a:pt x="1091199" y="102469"/>
                  </a:cubicBezTo>
                  <a:cubicBezTo>
                    <a:pt x="1091199" y="93985"/>
                    <a:pt x="1092334" y="86228"/>
                    <a:pt x="1094603" y="79196"/>
                  </a:cubicBezTo>
                  <a:cubicBezTo>
                    <a:pt x="1096873" y="72163"/>
                    <a:pt x="1100277" y="66136"/>
                    <a:pt x="1104817" y="61113"/>
                  </a:cubicBezTo>
                  <a:cubicBezTo>
                    <a:pt x="1109356" y="56090"/>
                    <a:pt x="1115030" y="52202"/>
                    <a:pt x="1121839" y="49449"/>
                  </a:cubicBezTo>
                  <a:cubicBezTo>
                    <a:pt x="1128648" y="46695"/>
                    <a:pt x="1136629" y="45319"/>
                    <a:pt x="1145782" y="45319"/>
                  </a:cubicBezTo>
                  <a:close/>
                  <a:moveTo>
                    <a:pt x="766679" y="45319"/>
                  </a:moveTo>
                  <a:cubicBezTo>
                    <a:pt x="767647" y="45319"/>
                    <a:pt x="768688" y="45374"/>
                    <a:pt x="769805" y="45486"/>
                  </a:cubicBezTo>
                  <a:cubicBezTo>
                    <a:pt x="770921" y="45598"/>
                    <a:pt x="772074" y="45784"/>
                    <a:pt x="773265" y="46044"/>
                  </a:cubicBezTo>
                  <a:cubicBezTo>
                    <a:pt x="774455" y="46305"/>
                    <a:pt x="775497" y="46602"/>
                    <a:pt x="776390" y="46937"/>
                  </a:cubicBezTo>
                  <a:cubicBezTo>
                    <a:pt x="777283" y="47272"/>
                    <a:pt x="777934" y="47625"/>
                    <a:pt x="778344" y="47997"/>
                  </a:cubicBezTo>
                  <a:cubicBezTo>
                    <a:pt x="778753" y="48370"/>
                    <a:pt x="779050" y="48779"/>
                    <a:pt x="779237" y="49225"/>
                  </a:cubicBezTo>
                  <a:cubicBezTo>
                    <a:pt x="779423" y="49672"/>
                    <a:pt x="779590" y="50286"/>
                    <a:pt x="779739" y="51067"/>
                  </a:cubicBezTo>
                  <a:cubicBezTo>
                    <a:pt x="779888" y="51848"/>
                    <a:pt x="779999" y="53020"/>
                    <a:pt x="780074" y="54583"/>
                  </a:cubicBezTo>
                  <a:cubicBezTo>
                    <a:pt x="780148" y="56146"/>
                    <a:pt x="780185" y="58267"/>
                    <a:pt x="780185" y="60946"/>
                  </a:cubicBezTo>
                  <a:cubicBezTo>
                    <a:pt x="780185" y="63624"/>
                    <a:pt x="780111" y="65820"/>
                    <a:pt x="779962" y="67531"/>
                  </a:cubicBezTo>
                  <a:cubicBezTo>
                    <a:pt x="779813" y="69243"/>
                    <a:pt x="779590" y="70582"/>
                    <a:pt x="779292" y="71550"/>
                  </a:cubicBezTo>
                  <a:cubicBezTo>
                    <a:pt x="778995" y="72517"/>
                    <a:pt x="778604" y="73187"/>
                    <a:pt x="778120" y="73559"/>
                  </a:cubicBezTo>
                  <a:cubicBezTo>
                    <a:pt x="777637" y="73931"/>
                    <a:pt x="777023" y="74117"/>
                    <a:pt x="776279" y="74117"/>
                  </a:cubicBezTo>
                  <a:cubicBezTo>
                    <a:pt x="775683" y="74117"/>
                    <a:pt x="775014" y="73987"/>
                    <a:pt x="774269" y="73726"/>
                  </a:cubicBezTo>
                  <a:cubicBezTo>
                    <a:pt x="773525" y="73466"/>
                    <a:pt x="772688" y="73187"/>
                    <a:pt x="771758" y="72889"/>
                  </a:cubicBezTo>
                  <a:cubicBezTo>
                    <a:pt x="770828" y="72591"/>
                    <a:pt x="769805" y="72312"/>
                    <a:pt x="768688" y="72052"/>
                  </a:cubicBezTo>
                  <a:cubicBezTo>
                    <a:pt x="767572" y="71791"/>
                    <a:pt x="766344" y="71661"/>
                    <a:pt x="765005" y="71661"/>
                  </a:cubicBezTo>
                  <a:cubicBezTo>
                    <a:pt x="763442" y="71661"/>
                    <a:pt x="761879" y="71977"/>
                    <a:pt x="760317" y="72610"/>
                  </a:cubicBezTo>
                  <a:cubicBezTo>
                    <a:pt x="758754" y="73242"/>
                    <a:pt x="757136" y="74228"/>
                    <a:pt x="755461" y="75568"/>
                  </a:cubicBezTo>
                  <a:cubicBezTo>
                    <a:pt x="753787" y="76907"/>
                    <a:pt x="752038" y="78693"/>
                    <a:pt x="750215" y="80926"/>
                  </a:cubicBezTo>
                  <a:cubicBezTo>
                    <a:pt x="748392" y="83158"/>
                    <a:pt x="746439" y="85911"/>
                    <a:pt x="744355" y="89186"/>
                  </a:cubicBezTo>
                  <a:lnTo>
                    <a:pt x="744355" y="151247"/>
                  </a:lnTo>
                  <a:cubicBezTo>
                    <a:pt x="744355" y="151991"/>
                    <a:pt x="744132" y="152642"/>
                    <a:pt x="743685" y="153200"/>
                  </a:cubicBezTo>
                  <a:cubicBezTo>
                    <a:pt x="743239" y="153758"/>
                    <a:pt x="742476" y="154224"/>
                    <a:pt x="741397" y="154596"/>
                  </a:cubicBezTo>
                  <a:cubicBezTo>
                    <a:pt x="740318" y="154968"/>
                    <a:pt x="738885" y="155247"/>
                    <a:pt x="737100" y="155433"/>
                  </a:cubicBezTo>
                  <a:cubicBezTo>
                    <a:pt x="735314" y="155619"/>
                    <a:pt x="733044" y="155712"/>
                    <a:pt x="730291" y="155712"/>
                  </a:cubicBezTo>
                  <a:cubicBezTo>
                    <a:pt x="727537" y="155712"/>
                    <a:pt x="725268" y="155619"/>
                    <a:pt x="723482" y="155433"/>
                  </a:cubicBezTo>
                  <a:cubicBezTo>
                    <a:pt x="721696" y="155247"/>
                    <a:pt x="720263" y="154968"/>
                    <a:pt x="719184" y="154596"/>
                  </a:cubicBezTo>
                  <a:cubicBezTo>
                    <a:pt x="718105" y="154224"/>
                    <a:pt x="717343" y="153758"/>
                    <a:pt x="716896" y="153200"/>
                  </a:cubicBezTo>
                  <a:cubicBezTo>
                    <a:pt x="716450" y="152642"/>
                    <a:pt x="716226" y="151991"/>
                    <a:pt x="716226" y="151247"/>
                  </a:cubicBezTo>
                  <a:lnTo>
                    <a:pt x="716226" y="51681"/>
                  </a:lnTo>
                  <a:cubicBezTo>
                    <a:pt x="716226" y="50937"/>
                    <a:pt x="716412" y="50286"/>
                    <a:pt x="716785" y="49728"/>
                  </a:cubicBezTo>
                  <a:cubicBezTo>
                    <a:pt x="717157" y="49170"/>
                    <a:pt x="717826" y="48704"/>
                    <a:pt x="718794" y="48332"/>
                  </a:cubicBezTo>
                  <a:cubicBezTo>
                    <a:pt x="719761" y="47960"/>
                    <a:pt x="721008" y="47681"/>
                    <a:pt x="722533" y="47495"/>
                  </a:cubicBezTo>
                  <a:cubicBezTo>
                    <a:pt x="724058" y="47309"/>
                    <a:pt x="725975" y="47216"/>
                    <a:pt x="728281" y="47216"/>
                  </a:cubicBezTo>
                  <a:cubicBezTo>
                    <a:pt x="730663" y="47216"/>
                    <a:pt x="732635" y="47309"/>
                    <a:pt x="734197" y="47495"/>
                  </a:cubicBezTo>
                  <a:cubicBezTo>
                    <a:pt x="735760" y="47681"/>
                    <a:pt x="736969" y="47960"/>
                    <a:pt x="737825" y="48332"/>
                  </a:cubicBezTo>
                  <a:cubicBezTo>
                    <a:pt x="738681" y="48704"/>
                    <a:pt x="739295" y="49170"/>
                    <a:pt x="739667" y="49728"/>
                  </a:cubicBezTo>
                  <a:cubicBezTo>
                    <a:pt x="740039" y="50286"/>
                    <a:pt x="740225" y="50937"/>
                    <a:pt x="740225" y="51681"/>
                  </a:cubicBezTo>
                  <a:lnTo>
                    <a:pt x="740225" y="64071"/>
                  </a:lnTo>
                  <a:cubicBezTo>
                    <a:pt x="742829" y="60350"/>
                    <a:pt x="745285" y="57281"/>
                    <a:pt x="747592" y="54862"/>
                  </a:cubicBezTo>
                  <a:cubicBezTo>
                    <a:pt x="749899" y="52444"/>
                    <a:pt x="752094" y="50528"/>
                    <a:pt x="754178" y="49114"/>
                  </a:cubicBezTo>
                  <a:cubicBezTo>
                    <a:pt x="756261" y="47700"/>
                    <a:pt x="758345" y="46714"/>
                    <a:pt x="760428" y="46156"/>
                  </a:cubicBezTo>
                  <a:cubicBezTo>
                    <a:pt x="762512" y="45598"/>
                    <a:pt x="764596" y="45319"/>
                    <a:pt x="766679" y="45319"/>
                  </a:cubicBezTo>
                  <a:close/>
                  <a:moveTo>
                    <a:pt x="642780" y="45319"/>
                  </a:moveTo>
                  <a:cubicBezTo>
                    <a:pt x="650593" y="45319"/>
                    <a:pt x="657272" y="46081"/>
                    <a:pt x="662816" y="47607"/>
                  </a:cubicBezTo>
                  <a:cubicBezTo>
                    <a:pt x="668360" y="49132"/>
                    <a:pt x="672917" y="51476"/>
                    <a:pt x="676489" y="54639"/>
                  </a:cubicBezTo>
                  <a:cubicBezTo>
                    <a:pt x="680061" y="57802"/>
                    <a:pt x="682666" y="61876"/>
                    <a:pt x="684303" y="66861"/>
                  </a:cubicBezTo>
                  <a:cubicBezTo>
                    <a:pt x="685940" y="71847"/>
                    <a:pt x="686758" y="77763"/>
                    <a:pt x="686758" y="84609"/>
                  </a:cubicBezTo>
                  <a:lnTo>
                    <a:pt x="686758" y="151582"/>
                  </a:lnTo>
                  <a:cubicBezTo>
                    <a:pt x="686758" y="152624"/>
                    <a:pt x="686386" y="153442"/>
                    <a:pt x="685642" y="154038"/>
                  </a:cubicBezTo>
                  <a:cubicBezTo>
                    <a:pt x="684898" y="154633"/>
                    <a:pt x="683726" y="155061"/>
                    <a:pt x="682126" y="155321"/>
                  </a:cubicBezTo>
                  <a:cubicBezTo>
                    <a:pt x="680526" y="155582"/>
                    <a:pt x="678164" y="155712"/>
                    <a:pt x="675038" y="155712"/>
                  </a:cubicBezTo>
                  <a:cubicBezTo>
                    <a:pt x="671690" y="155712"/>
                    <a:pt x="669253" y="155582"/>
                    <a:pt x="667727" y="155321"/>
                  </a:cubicBezTo>
                  <a:cubicBezTo>
                    <a:pt x="666202" y="155061"/>
                    <a:pt x="665123" y="154633"/>
                    <a:pt x="664490" y="154038"/>
                  </a:cubicBezTo>
                  <a:cubicBezTo>
                    <a:pt x="663858" y="153442"/>
                    <a:pt x="663541" y="152624"/>
                    <a:pt x="663541" y="151582"/>
                  </a:cubicBezTo>
                  <a:lnTo>
                    <a:pt x="663541" y="143657"/>
                  </a:lnTo>
                  <a:cubicBezTo>
                    <a:pt x="659448" y="148047"/>
                    <a:pt x="654779" y="151470"/>
                    <a:pt x="649533" y="153926"/>
                  </a:cubicBezTo>
                  <a:cubicBezTo>
                    <a:pt x="644287" y="156382"/>
                    <a:pt x="638464" y="157609"/>
                    <a:pt x="632064" y="157609"/>
                  </a:cubicBezTo>
                  <a:cubicBezTo>
                    <a:pt x="626781" y="157609"/>
                    <a:pt x="621925" y="156921"/>
                    <a:pt x="617498" y="155544"/>
                  </a:cubicBezTo>
                  <a:cubicBezTo>
                    <a:pt x="613070" y="154168"/>
                    <a:pt x="609238" y="152121"/>
                    <a:pt x="606001" y="149405"/>
                  </a:cubicBezTo>
                  <a:cubicBezTo>
                    <a:pt x="602764" y="146689"/>
                    <a:pt x="600252" y="143322"/>
                    <a:pt x="598466" y="139304"/>
                  </a:cubicBezTo>
                  <a:cubicBezTo>
                    <a:pt x="596680" y="135285"/>
                    <a:pt x="595787" y="130597"/>
                    <a:pt x="595787" y="125239"/>
                  </a:cubicBezTo>
                  <a:cubicBezTo>
                    <a:pt x="595787" y="119435"/>
                    <a:pt x="596922" y="114393"/>
                    <a:pt x="599192" y="110115"/>
                  </a:cubicBezTo>
                  <a:cubicBezTo>
                    <a:pt x="601461" y="105836"/>
                    <a:pt x="604847" y="102301"/>
                    <a:pt x="609349" y="99511"/>
                  </a:cubicBezTo>
                  <a:cubicBezTo>
                    <a:pt x="613851" y="96720"/>
                    <a:pt x="619451" y="94655"/>
                    <a:pt x="626148" y="93316"/>
                  </a:cubicBezTo>
                  <a:cubicBezTo>
                    <a:pt x="632845" y="91976"/>
                    <a:pt x="640622" y="91306"/>
                    <a:pt x="649477" y="91306"/>
                  </a:cubicBezTo>
                  <a:lnTo>
                    <a:pt x="659188" y="91306"/>
                  </a:lnTo>
                  <a:lnTo>
                    <a:pt x="659188" y="85279"/>
                  </a:lnTo>
                  <a:cubicBezTo>
                    <a:pt x="659188" y="82154"/>
                    <a:pt x="658872" y="79419"/>
                    <a:pt x="658239" y="77075"/>
                  </a:cubicBezTo>
                  <a:cubicBezTo>
                    <a:pt x="657607" y="74731"/>
                    <a:pt x="656565" y="72777"/>
                    <a:pt x="655114" y="71215"/>
                  </a:cubicBezTo>
                  <a:cubicBezTo>
                    <a:pt x="653663" y="69652"/>
                    <a:pt x="651728" y="68499"/>
                    <a:pt x="649310" y="67754"/>
                  </a:cubicBezTo>
                  <a:cubicBezTo>
                    <a:pt x="646891" y="67010"/>
                    <a:pt x="643896" y="66638"/>
                    <a:pt x="640324" y="66638"/>
                  </a:cubicBezTo>
                  <a:cubicBezTo>
                    <a:pt x="635636" y="66638"/>
                    <a:pt x="631450" y="67159"/>
                    <a:pt x="627767" y="68201"/>
                  </a:cubicBezTo>
                  <a:cubicBezTo>
                    <a:pt x="624083" y="69243"/>
                    <a:pt x="620828" y="70396"/>
                    <a:pt x="618000" y="71661"/>
                  </a:cubicBezTo>
                  <a:cubicBezTo>
                    <a:pt x="615172" y="72926"/>
                    <a:pt x="612809" y="74080"/>
                    <a:pt x="610912" y="75121"/>
                  </a:cubicBezTo>
                  <a:cubicBezTo>
                    <a:pt x="609014" y="76163"/>
                    <a:pt x="607470" y="76684"/>
                    <a:pt x="606280" y="76684"/>
                  </a:cubicBezTo>
                  <a:cubicBezTo>
                    <a:pt x="605461" y="76684"/>
                    <a:pt x="604736" y="76424"/>
                    <a:pt x="604103" y="75903"/>
                  </a:cubicBezTo>
                  <a:cubicBezTo>
                    <a:pt x="603470" y="75382"/>
                    <a:pt x="602950" y="74638"/>
                    <a:pt x="602540" y="73670"/>
                  </a:cubicBezTo>
                  <a:cubicBezTo>
                    <a:pt x="602131" y="72703"/>
                    <a:pt x="601815" y="71512"/>
                    <a:pt x="601592" y="70098"/>
                  </a:cubicBezTo>
                  <a:cubicBezTo>
                    <a:pt x="601368" y="68685"/>
                    <a:pt x="601257" y="67122"/>
                    <a:pt x="601257" y="65410"/>
                  </a:cubicBezTo>
                  <a:cubicBezTo>
                    <a:pt x="601257" y="63104"/>
                    <a:pt x="601443" y="61280"/>
                    <a:pt x="601815" y="59941"/>
                  </a:cubicBezTo>
                  <a:cubicBezTo>
                    <a:pt x="602187" y="58602"/>
                    <a:pt x="602894" y="57392"/>
                    <a:pt x="603936" y="56313"/>
                  </a:cubicBezTo>
                  <a:cubicBezTo>
                    <a:pt x="604977" y="55234"/>
                    <a:pt x="606801" y="54044"/>
                    <a:pt x="609405" y="52741"/>
                  </a:cubicBezTo>
                  <a:cubicBezTo>
                    <a:pt x="612010" y="51439"/>
                    <a:pt x="615060" y="50230"/>
                    <a:pt x="618558" y="49114"/>
                  </a:cubicBezTo>
                  <a:cubicBezTo>
                    <a:pt x="622055" y="47997"/>
                    <a:pt x="625869" y="47086"/>
                    <a:pt x="629999" y="46379"/>
                  </a:cubicBezTo>
                  <a:cubicBezTo>
                    <a:pt x="634129" y="45672"/>
                    <a:pt x="638389" y="45319"/>
                    <a:pt x="642780" y="45319"/>
                  </a:cubicBezTo>
                  <a:close/>
                  <a:moveTo>
                    <a:pt x="308102" y="45319"/>
                  </a:moveTo>
                  <a:cubicBezTo>
                    <a:pt x="314874" y="45319"/>
                    <a:pt x="320585" y="46435"/>
                    <a:pt x="325236" y="48667"/>
                  </a:cubicBezTo>
                  <a:cubicBezTo>
                    <a:pt x="329887" y="50900"/>
                    <a:pt x="333645" y="53932"/>
                    <a:pt x="336510" y="57764"/>
                  </a:cubicBezTo>
                  <a:cubicBezTo>
                    <a:pt x="339375" y="61597"/>
                    <a:pt x="341440" y="66080"/>
                    <a:pt x="342705" y="71215"/>
                  </a:cubicBezTo>
                  <a:cubicBezTo>
                    <a:pt x="343970" y="76349"/>
                    <a:pt x="344603" y="82526"/>
                    <a:pt x="344603" y="89744"/>
                  </a:cubicBezTo>
                  <a:lnTo>
                    <a:pt x="344603" y="151247"/>
                  </a:lnTo>
                  <a:cubicBezTo>
                    <a:pt x="344603" y="151991"/>
                    <a:pt x="344379" y="152642"/>
                    <a:pt x="343933" y="153200"/>
                  </a:cubicBezTo>
                  <a:cubicBezTo>
                    <a:pt x="343486" y="153758"/>
                    <a:pt x="342742" y="154224"/>
                    <a:pt x="341700" y="154596"/>
                  </a:cubicBezTo>
                  <a:cubicBezTo>
                    <a:pt x="340659" y="154968"/>
                    <a:pt x="339226" y="155247"/>
                    <a:pt x="337403" y="155433"/>
                  </a:cubicBezTo>
                  <a:cubicBezTo>
                    <a:pt x="335580" y="155619"/>
                    <a:pt x="333329" y="155712"/>
                    <a:pt x="330650" y="155712"/>
                  </a:cubicBezTo>
                  <a:cubicBezTo>
                    <a:pt x="327897" y="155712"/>
                    <a:pt x="325608" y="155619"/>
                    <a:pt x="323785" y="155433"/>
                  </a:cubicBezTo>
                  <a:cubicBezTo>
                    <a:pt x="321962" y="155247"/>
                    <a:pt x="320530" y="154968"/>
                    <a:pt x="319488" y="154596"/>
                  </a:cubicBezTo>
                  <a:cubicBezTo>
                    <a:pt x="318446" y="154224"/>
                    <a:pt x="317702" y="153758"/>
                    <a:pt x="317255" y="153200"/>
                  </a:cubicBezTo>
                  <a:cubicBezTo>
                    <a:pt x="316809" y="152642"/>
                    <a:pt x="316586" y="151991"/>
                    <a:pt x="316586" y="151247"/>
                  </a:cubicBezTo>
                  <a:lnTo>
                    <a:pt x="316586" y="94432"/>
                  </a:lnTo>
                  <a:cubicBezTo>
                    <a:pt x="316586" y="89595"/>
                    <a:pt x="316232" y="85800"/>
                    <a:pt x="315525" y="83047"/>
                  </a:cubicBezTo>
                  <a:cubicBezTo>
                    <a:pt x="314818" y="80293"/>
                    <a:pt x="313795" y="77931"/>
                    <a:pt x="312456" y="75959"/>
                  </a:cubicBezTo>
                  <a:cubicBezTo>
                    <a:pt x="311116" y="73987"/>
                    <a:pt x="309386" y="72461"/>
                    <a:pt x="307265" y="71382"/>
                  </a:cubicBezTo>
                  <a:cubicBezTo>
                    <a:pt x="305144" y="70303"/>
                    <a:pt x="302670" y="69764"/>
                    <a:pt x="299842" y="69764"/>
                  </a:cubicBezTo>
                  <a:cubicBezTo>
                    <a:pt x="296271" y="69764"/>
                    <a:pt x="292662" y="71066"/>
                    <a:pt x="289015" y="73670"/>
                  </a:cubicBezTo>
                  <a:cubicBezTo>
                    <a:pt x="285369" y="76275"/>
                    <a:pt x="281574" y="80070"/>
                    <a:pt x="277630" y="85056"/>
                  </a:cubicBezTo>
                  <a:lnTo>
                    <a:pt x="277630" y="151247"/>
                  </a:lnTo>
                  <a:cubicBezTo>
                    <a:pt x="277630" y="151991"/>
                    <a:pt x="277407" y="152642"/>
                    <a:pt x="276960" y="153200"/>
                  </a:cubicBezTo>
                  <a:cubicBezTo>
                    <a:pt x="276514" y="153758"/>
                    <a:pt x="275751" y="154224"/>
                    <a:pt x="274672" y="154596"/>
                  </a:cubicBezTo>
                  <a:cubicBezTo>
                    <a:pt x="273593" y="154968"/>
                    <a:pt x="272160" y="155247"/>
                    <a:pt x="270375" y="155433"/>
                  </a:cubicBezTo>
                  <a:cubicBezTo>
                    <a:pt x="268589" y="155619"/>
                    <a:pt x="266319" y="155712"/>
                    <a:pt x="263566" y="155712"/>
                  </a:cubicBezTo>
                  <a:cubicBezTo>
                    <a:pt x="260812" y="155712"/>
                    <a:pt x="258543" y="155619"/>
                    <a:pt x="256757" y="155433"/>
                  </a:cubicBezTo>
                  <a:cubicBezTo>
                    <a:pt x="254971" y="155247"/>
                    <a:pt x="253538" y="154968"/>
                    <a:pt x="252459" y="154596"/>
                  </a:cubicBezTo>
                  <a:cubicBezTo>
                    <a:pt x="251380" y="154224"/>
                    <a:pt x="250618" y="153758"/>
                    <a:pt x="250171" y="153200"/>
                  </a:cubicBezTo>
                  <a:cubicBezTo>
                    <a:pt x="249725" y="152642"/>
                    <a:pt x="249501" y="151991"/>
                    <a:pt x="249501" y="151247"/>
                  </a:cubicBezTo>
                  <a:lnTo>
                    <a:pt x="249501" y="51681"/>
                  </a:lnTo>
                  <a:cubicBezTo>
                    <a:pt x="249501" y="50937"/>
                    <a:pt x="249687" y="50286"/>
                    <a:pt x="250059" y="49728"/>
                  </a:cubicBezTo>
                  <a:cubicBezTo>
                    <a:pt x="250432" y="49170"/>
                    <a:pt x="251101" y="48704"/>
                    <a:pt x="252069" y="48332"/>
                  </a:cubicBezTo>
                  <a:cubicBezTo>
                    <a:pt x="253036" y="47960"/>
                    <a:pt x="254283" y="47681"/>
                    <a:pt x="255808" y="47495"/>
                  </a:cubicBezTo>
                  <a:cubicBezTo>
                    <a:pt x="257334" y="47309"/>
                    <a:pt x="259250" y="47216"/>
                    <a:pt x="261556" y="47216"/>
                  </a:cubicBezTo>
                  <a:cubicBezTo>
                    <a:pt x="263938" y="47216"/>
                    <a:pt x="265910" y="47309"/>
                    <a:pt x="267472" y="47495"/>
                  </a:cubicBezTo>
                  <a:cubicBezTo>
                    <a:pt x="269035" y="47681"/>
                    <a:pt x="270244" y="47960"/>
                    <a:pt x="271100" y="48332"/>
                  </a:cubicBezTo>
                  <a:cubicBezTo>
                    <a:pt x="271956" y="48704"/>
                    <a:pt x="272570" y="49170"/>
                    <a:pt x="272942" y="49728"/>
                  </a:cubicBezTo>
                  <a:cubicBezTo>
                    <a:pt x="273314" y="50286"/>
                    <a:pt x="273500" y="50937"/>
                    <a:pt x="273500" y="51681"/>
                  </a:cubicBezTo>
                  <a:lnTo>
                    <a:pt x="273500" y="63178"/>
                  </a:lnTo>
                  <a:cubicBezTo>
                    <a:pt x="279007" y="57225"/>
                    <a:pt x="284606" y="52760"/>
                    <a:pt x="290299" y="49783"/>
                  </a:cubicBezTo>
                  <a:cubicBezTo>
                    <a:pt x="295992" y="46807"/>
                    <a:pt x="301926" y="45319"/>
                    <a:pt x="308102" y="45319"/>
                  </a:cubicBezTo>
                  <a:close/>
                  <a:moveTo>
                    <a:pt x="176055" y="45319"/>
                  </a:moveTo>
                  <a:cubicBezTo>
                    <a:pt x="183868" y="45319"/>
                    <a:pt x="190547" y="46081"/>
                    <a:pt x="196091" y="47607"/>
                  </a:cubicBezTo>
                  <a:cubicBezTo>
                    <a:pt x="201635" y="49132"/>
                    <a:pt x="206192" y="51476"/>
                    <a:pt x="209764" y="54639"/>
                  </a:cubicBezTo>
                  <a:cubicBezTo>
                    <a:pt x="213336" y="57802"/>
                    <a:pt x="215941" y="61876"/>
                    <a:pt x="217578" y="66861"/>
                  </a:cubicBezTo>
                  <a:cubicBezTo>
                    <a:pt x="219215" y="71847"/>
                    <a:pt x="220033" y="77763"/>
                    <a:pt x="220033" y="84609"/>
                  </a:cubicBezTo>
                  <a:lnTo>
                    <a:pt x="220033" y="151582"/>
                  </a:lnTo>
                  <a:cubicBezTo>
                    <a:pt x="220033" y="152624"/>
                    <a:pt x="219661" y="153442"/>
                    <a:pt x="218917" y="154038"/>
                  </a:cubicBezTo>
                  <a:cubicBezTo>
                    <a:pt x="218173" y="154633"/>
                    <a:pt x="217001" y="155061"/>
                    <a:pt x="215401" y="155321"/>
                  </a:cubicBezTo>
                  <a:cubicBezTo>
                    <a:pt x="213801" y="155582"/>
                    <a:pt x="211439" y="155712"/>
                    <a:pt x="208313" y="155712"/>
                  </a:cubicBezTo>
                  <a:cubicBezTo>
                    <a:pt x="204965" y="155712"/>
                    <a:pt x="202528" y="155582"/>
                    <a:pt x="201002" y="155321"/>
                  </a:cubicBezTo>
                  <a:cubicBezTo>
                    <a:pt x="199477" y="155061"/>
                    <a:pt x="198398" y="154633"/>
                    <a:pt x="197765" y="154038"/>
                  </a:cubicBezTo>
                  <a:cubicBezTo>
                    <a:pt x="197133" y="153442"/>
                    <a:pt x="196816" y="152624"/>
                    <a:pt x="196816" y="151582"/>
                  </a:cubicBezTo>
                  <a:lnTo>
                    <a:pt x="196816" y="143657"/>
                  </a:lnTo>
                  <a:cubicBezTo>
                    <a:pt x="192723" y="148047"/>
                    <a:pt x="188054" y="151470"/>
                    <a:pt x="182808" y="153926"/>
                  </a:cubicBezTo>
                  <a:cubicBezTo>
                    <a:pt x="177562" y="156382"/>
                    <a:pt x="171739" y="157609"/>
                    <a:pt x="165339" y="157609"/>
                  </a:cubicBezTo>
                  <a:cubicBezTo>
                    <a:pt x="160056" y="157609"/>
                    <a:pt x="155200" y="156921"/>
                    <a:pt x="150773" y="155544"/>
                  </a:cubicBezTo>
                  <a:cubicBezTo>
                    <a:pt x="146345" y="154168"/>
                    <a:pt x="142513" y="152121"/>
                    <a:pt x="139276" y="149405"/>
                  </a:cubicBezTo>
                  <a:cubicBezTo>
                    <a:pt x="136039" y="146689"/>
                    <a:pt x="133527" y="143322"/>
                    <a:pt x="131741" y="139304"/>
                  </a:cubicBezTo>
                  <a:cubicBezTo>
                    <a:pt x="129955" y="135285"/>
                    <a:pt x="129062" y="130597"/>
                    <a:pt x="129062" y="125239"/>
                  </a:cubicBezTo>
                  <a:cubicBezTo>
                    <a:pt x="129062" y="119435"/>
                    <a:pt x="130197" y="114393"/>
                    <a:pt x="132467" y="110115"/>
                  </a:cubicBezTo>
                  <a:cubicBezTo>
                    <a:pt x="134736" y="105836"/>
                    <a:pt x="138122" y="102301"/>
                    <a:pt x="142624" y="99511"/>
                  </a:cubicBezTo>
                  <a:cubicBezTo>
                    <a:pt x="147126" y="96720"/>
                    <a:pt x="152726" y="94655"/>
                    <a:pt x="159423" y="93316"/>
                  </a:cubicBezTo>
                  <a:cubicBezTo>
                    <a:pt x="166120" y="91976"/>
                    <a:pt x="173897" y="91306"/>
                    <a:pt x="182752" y="91306"/>
                  </a:cubicBezTo>
                  <a:lnTo>
                    <a:pt x="192463" y="91306"/>
                  </a:lnTo>
                  <a:lnTo>
                    <a:pt x="192463" y="85279"/>
                  </a:lnTo>
                  <a:cubicBezTo>
                    <a:pt x="192463" y="82154"/>
                    <a:pt x="192147" y="79419"/>
                    <a:pt x="191514" y="77075"/>
                  </a:cubicBezTo>
                  <a:cubicBezTo>
                    <a:pt x="190882" y="74731"/>
                    <a:pt x="189840" y="72777"/>
                    <a:pt x="188389" y="71215"/>
                  </a:cubicBezTo>
                  <a:cubicBezTo>
                    <a:pt x="186938" y="69652"/>
                    <a:pt x="185003" y="68499"/>
                    <a:pt x="182585" y="67754"/>
                  </a:cubicBezTo>
                  <a:cubicBezTo>
                    <a:pt x="180166" y="67010"/>
                    <a:pt x="177171" y="66638"/>
                    <a:pt x="173599" y="66638"/>
                  </a:cubicBezTo>
                  <a:cubicBezTo>
                    <a:pt x="168911" y="66638"/>
                    <a:pt x="164725" y="67159"/>
                    <a:pt x="161042" y="68201"/>
                  </a:cubicBezTo>
                  <a:cubicBezTo>
                    <a:pt x="157358" y="69243"/>
                    <a:pt x="154103" y="70396"/>
                    <a:pt x="151275" y="71661"/>
                  </a:cubicBezTo>
                  <a:cubicBezTo>
                    <a:pt x="148447" y="72926"/>
                    <a:pt x="146084" y="74080"/>
                    <a:pt x="144187" y="75121"/>
                  </a:cubicBezTo>
                  <a:cubicBezTo>
                    <a:pt x="142289" y="76163"/>
                    <a:pt x="140745" y="76684"/>
                    <a:pt x="139555" y="76684"/>
                  </a:cubicBezTo>
                  <a:cubicBezTo>
                    <a:pt x="138736" y="76684"/>
                    <a:pt x="138011" y="76424"/>
                    <a:pt x="137378" y="75903"/>
                  </a:cubicBezTo>
                  <a:cubicBezTo>
                    <a:pt x="136746" y="75382"/>
                    <a:pt x="136225" y="74638"/>
                    <a:pt x="135815" y="73670"/>
                  </a:cubicBezTo>
                  <a:cubicBezTo>
                    <a:pt x="135406" y="72703"/>
                    <a:pt x="135090" y="71512"/>
                    <a:pt x="134867" y="70098"/>
                  </a:cubicBezTo>
                  <a:cubicBezTo>
                    <a:pt x="134643" y="68685"/>
                    <a:pt x="134532" y="67122"/>
                    <a:pt x="134532" y="65410"/>
                  </a:cubicBezTo>
                  <a:cubicBezTo>
                    <a:pt x="134532" y="63104"/>
                    <a:pt x="134718" y="61280"/>
                    <a:pt x="135090" y="59941"/>
                  </a:cubicBezTo>
                  <a:cubicBezTo>
                    <a:pt x="135462" y="58602"/>
                    <a:pt x="136169" y="57392"/>
                    <a:pt x="137211" y="56313"/>
                  </a:cubicBezTo>
                  <a:cubicBezTo>
                    <a:pt x="138252" y="55234"/>
                    <a:pt x="140076" y="54044"/>
                    <a:pt x="142680" y="52741"/>
                  </a:cubicBezTo>
                  <a:cubicBezTo>
                    <a:pt x="145284" y="51439"/>
                    <a:pt x="148335" y="50230"/>
                    <a:pt x="151833" y="49114"/>
                  </a:cubicBezTo>
                  <a:cubicBezTo>
                    <a:pt x="155330" y="47997"/>
                    <a:pt x="159144" y="47086"/>
                    <a:pt x="163274" y="46379"/>
                  </a:cubicBezTo>
                  <a:cubicBezTo>
                    <a:pt x="167404" y="45672"/>
                    <a:pt x="171664" y="45319"/>
                    <a:pt x="176055" y="45319"/>
                  </a:cubicBezTo>
                  <a:close/>
                  <a:moveTo>
                    <a:pt x="1925604" y="20985"/>
                  </a:moveTo>
                  <a:cubicBezTo>
                    <a:pt x="1928357" y="20985"/>
                    <a:pt x="1930645" y="21078"/>
                    <a:pt x="1932469" y="21264"/>
                  </a:cubicBezTo>
                  <a:cubicBezTo>
                    <a:pt x="1934292" y="21450"/>
                    <a:pt x="1935724" y="21748"/>
                    <a:pt x="1936766" y="22157"/>
                  </a:cubicBezTo>
                  <a:cubicBezTo>
                    <a:pt x="1937808" y="22566"/>
                    <a:pt x="1938552" y="23069"/>
                    <a:pt x="1938998" y="23664"/>
                  </a:cubicBezTo>
                  <a:cubicBezTo>
                    <a:pt x="1939445" y="24259"/>
                    <a:pt x="1939668" y="24929"/>
                    <a:pt x="1939668" y="25673"/>
                  </a:cubicBezTo>
                  <a:lnTo>
                    <a:pt x="1939668" y="47886"/>
                  </a:lnTo>
                  <a:lnTo>
                    <a:pt x="1961323" y="47886"/>
                  </a:lnTo>
                  <a:cubicBezTo>
                    <a:pt x="1962067" y="47886"/>
                    <a:pt x="1962718" y="48072"/>
                    <a:pt x="1963276" y="48444"/>
                  </a:cubicBezTo>
                  <a:cubicBezTo>
                    <a:pt x="1963834" y="48816"/>
                    <a:pt x="1964299" y="49430"/>
                    <a:pt x="1964671" y="50286"/>
                  </a:cubicBezTo>
                  <a:cubicBezTo>
                    <a:pt x="1965043" y="51141"/>
                    <a:pt x="1965322" y="52314"/>
                    <a:pt x="1965508" y="53802"/>
                  </a:cubicBezTo>
                  <a:cubicBezTo>
                    <a:pt x="1965694" y="55290"/>
                    <a:pt x="1965787" y="57113"/>
                    <a:pt x="1965787" y="59271"/>
                  </a:cubicBezTo>
                  <a:cubicBezTo>
                    <a:pt x="1965787" y="63364"/>
                    <a:pt x="1965415" y="66285"/>
                    <a:pt x="1964671" y="68033"/>
                  </a:cubicBezTo>
                  <a:cubicBezTo>
                    <a:pt x="1963927" y="69782"/>
                    <a:pt x="1962848" y="70657"/>
                    <a:pt x="1961434" y="70657"/>
                  </a:cubicBezTo>
                  <a:lnTo>
                    <a:pt x="1939668" y="70657"/>
                  </a:lnTo>
                  <a:lnTo>
                    <a:pt x="1939668" y="117426"/>
                  </a:lnTo>
                  <a:cubicBezTo>
                    <a:pt x="1939668" y="122858"/>
                    <a:pt x="1940524" y="126932"/>
                    <a:pt x="1942235" y="129648"/>
                  </a:cubicBezTo>
                  <a:cubicBezTo>
                    <a:pt x="1943947" y="132364"/>
                    <a:pt x="1946998" y="133722"/>
                    <a:pt x="1951388" y="133722"/>
                  </a:cubicBezTo>
                  <a:cubicBezTo>
                    <a:pt x="1952877" y="133722"/>
                    <a:pt x="1954216" y="133592"/>
                    <a:pt x="1955407" y="133332"/>
                  </a:cubicBezTo>
                  <a:cubicBezTo>
                    <a:pt x="1956597" y="133071"/>
                    <a:pt x="1957658" y="132774"/>
                    <a:pt x="1958588" y="132439"/>
                  </a:cubicBezTo>
                  <a:cubicBezTo>
                    <a:pt x="1959518" y="132104"/>
                    <a:pt x="1960299" y="131806"/>
                    <a:pt x="1960932" y="131546"/>
                  </a:cubicBezTo>
                  <a:cubicBezTo>
                    <a:pt x="1961564" y="131285"/>
                    <a:pt x="1962141" y="131155"/>
                    <a:pt x="1962662" y="131155"/>
                  </a:cubicBezTo>
                  <a:cubicBezTo>
                    <a:pt x="1963109" y="131155"/>
                    <a:pt x="1963536" y="131285"/>
                    <a:pt x="1963946" y="131546"/>
                  </a:cubicBezTo>
                  <a:cubicBezTo>
                    <a:pt x="1964355" y="131806"/>
                    <a:pt x="1964671" y="132327"/>
                    <a:pt x="1964894" y="133109"/>
                  </a:cubicBezTo>
                  <a:cubicBezTo>
                    <a:pt x="1965118" y="133890"/>
                    <a:pt x="1965322" y="134950"/>
                    <a:pt x="1965508" y="136290"/>
                  </a:cubicBezTo>
                  <a:cubicBezTo>
                    <a:pt x="1965694" y="137629"/>
                    <a:pt x="1965787" y="139341"/>
                    <a:pt x="1965787" y="141424"/>
                  </a:cubicBezTo>
                  <a:cubicBezTo>
                    <a:pt x="1965787" y="144699"/>
                    <a:pt x="1965583" y="147210"/>
                    <a:pt x="1965174" y="148959"/>
                  </a:cubicBezTo>
                  <a:cubicBezTo>
                    <a:pt x="1964764" y="150708"/>
                    <a:pt x="1964225" y="151935"/>
                    <a:pt x="1963555" y="152642"/>
                  </a:cubicBezTo>
                  <a:cubicBezTo>
                    <a:pt x="1962885" y="153349"/>
                    <a:pt x="1961899" y="153982"/>
                    <a:pt x="1960597" y="154540"/>
                  </a:cubicBezTo>
                  <a:cubicBezTo>
                    <a:pt x="1959295" y="155098"/>
                    <a:pt x="1957769" y="155582"/>
                    <a:pt x="1956021" y="155991"/>
                  </a:cubicBezTo>
                  <a:cubicBezTo>
                    <a:pt x="1954272" y="156400"/>
                    <a:pt x="1952374" y="156716"/>
                    <a:pt x="1950328" y="156940"/>
                  </a:cubicBezTo>
                  <a:cubicBezTo>
                    <a:pt x="1948282" y="157163"/>
                    <a:pt x="1946217" y="157275"/>
                    <a:pt x="1944133" y="157275"/>
                  </a:cubicBezTo>
                  <a:cubicBezTo>
                    <a:pt x="1938552" y="157275"/>
                    <a:pt x="1933715" y="156568"/>
                    <a:pt x="1929622" y="155154"/>
                  </a:cubicBezTo>
                  <a:cubicBezTo>
                    <a:pt x="1925529" y="153740"/>
                    <a:pt x="1922144" y="151563"/>
                    <a:pt x="1919465" y="148624"/>
                  </a:cubicBezTo>
                  <a:cubicBezTo>
                    <a:pt x="1916786" y="145685"/>
                    <a:pt x="1914814" y="141982"/>
                    <a:pt x="1913549" y="137518"/>
                  </a:cubicBezTo>
                  <a:cubicBezTo>
                    <a:pt x="1912284" y="133053"/>
                    <a:pt x="1911651" y="127769"/>
                    <a:pt x="1911651" y="121667"/>
                  </a:cubicBezTo>
                  <a:lnTo>
                    <a:pt x="1911651" y="70657"/>
                  </a:lnTo>
                  <a:lnTo>
                    <a:pt x="1899708" y="70657"/>
                  </a:lnTo>
                  <a:cubicBezTo>
                    <a:pt x="1898294" y="70657"/>
                    <a:pt x="1897215" y="69782"/>
                    <a:pt x="1896471" y="68033"/>
                  </a:cubicBezTo>
                  <a:cubicBezTo>
                    <a:pt x="1895727" y="66285"/>
                    <a:pt x="1895355" y="63364"/>
                    <a:pt x="1895355" y="59271"/>
                  </a:cubicBezTo>
                  <a:cubicBezTo>
                    <a:pt x="1895355" y="57113"/>
                    <a:pt x="1895448" y="55290"/>
                    <a:pt x="1895634" y="53802"/>
                  </a:cubicBezTo>
                  <a:cubicBezTo>
                    <a:pt x="1895820" y="52314"/>
                    <a:pt x="1896099" y="51141"/>
                    <a:pt x="1896471" y="50286"/>
                  </a:cubicBezTo>
                  <a:cubicBezTo>
                    <a:pt x="1896843" y="49430"/>
                    <a:pt x="1897308" y="48816"/>
                    <a:pt x="1897866" y="48444"/>
                  </a:cubicBezTo>
                  <a:cubicBezTo>
                    <a:pt x="1898424" y="48072"/>
                    <a:pt x="1899075" y="47886"/>
                    <a:pt x="1899819" y="47886"/>
                  </a:cubicBezTo>
                  <a:lnTo>
                    <a:pt x="1911651" y="47886"/>
                  </a:lnTo>
                  <a:lnTo>
                    <a:pt x="1911651" y="25673"/>
                  </a:lnTo>
                  <a:cubicBezTo>
                    <a:pt x="1911651" y="24929"/>
                    <a:pt x="1911856" y="24259"/>
                    <a:pt x="1912265" y="23664"/>
                  </a:cubicBezTo>
                  <a:cubicBezTo>
                    <a:pt x="1912674" y="23069"/>
                    <a:pt x="1913419" y="22566"/>
                    <a:pt x="1914498" y="22157"/>
                  </a:cubicBezTo>
                  <a:cubicBezTo>
                    <a:pt x="1915577" y="21748"/>
                    <a:pt x="1917028" y="21450"/>
                    <a:pt x="1918851" y="21264"/>
                  </a:cubicBezTo>
                  <a:cubicBezTo>
                    <a:pt x="1920674" y="21078"/>
                    <a:pt x="1922925" y="20985"/>
                    <a:pt x="1925604" y="20985"/>
                  </a:cubicBezTo>
                  <a:close/>
                  <a:moveTo>
                    <a:pt x="15283" y="9935"/>
                  </a:moveTo>
                  <a:cubicBezTo>
                    <a:pt x="18706" y="9935"/>
                    <a:pt x="21385" y="10009"/>
                    <a:pt x="23320" y="10158"/>
                  </a:cubicBezTo>
                  <a:cubicBezTo>
                    <a:pt x="25255" y="10307"/>
                    <a:pt x="26743" y="10567"/>
                    <a:pt x="27785" y="10939"/>
                  </a:cubicBezTo>
                  <a:cubicBezTo>
                    <a:pt x="28826" y="11311"/>
                    <a:pt x="29552" y="11869"/>
                    <a:pt x="29961" y="12614"/>
                  </a:cubicBezTo>
                  <a:cubicBezTo>
                    <a:pt x="30371" y="13358"/>
                    <a:pt x="30761" y="14288"/>
                    <a:pt x="31133" y="15404"/>
                  </a:cubicBezTo>
                  <a:lnTo>
                    <a:pt x="66294" y="126802"/>
                  </a:lnTo>
                  <a:lnTo>
                    <a:pt x="66406" y="126802"/>
                  </a:lnTo>
                  <a:lnTo>
                    <a:pt x="100897" y="15962"/>
                  </a:lnTo>
                  <a:cubicBezTo>
                    <a:pt x="101194" y="14697"/>
                    <a:pt x="101566" y="13674"/>
                    <a:pt x="102013" y="12893"/>
                  </a:cubicBezTo>
                  <a:cubicBezTo>
                    <a:pt x="102459" y="12111"/>
                    <a:pt x="103222" y="11497"/>
                    <a:pt x="104301" y="11051"/>
                  </a:cubicBezTo>
                  <a:cubicBezTo>
                    <a:pt x="105380" y="10604"/>
                    <a:pt x="106924" y="10307"/>
                    <a:pt x="108933" y="10158"/>
                  </a:cubicBezTo>
                  <a:cubicBezTo>
                    <a:pt x="110942" y="10009"/>
                    <a:pt x="113696" y="9935"/>
                    <a:pt x="117193" y="9935"/>
                  </a:cubicBezTo>
                  <a:cubicBezTo>
                    <a:pt x="120616" y="9935"/>
                    <a:pt x="123277" y="10046"/>
                    <a:pt x="125174" y="10270"/>
                  </a:cubicBezTo>
                  <a:cubicBezTo>
                    <a:pt x="127072" y="10493"/>
                    <a:pt x="128374" y="11032"/>
                    <a:pt x="129081" y="11888"/>
                  </a:cubicBezTo>
                  <a:cubicBezTo>
                    <a:pt x="129788" y="12744"/>
                    <a:pt x="130011" y="13953"/>
                    <a:pt x="129751" y="15516"/>
                  </a:cubicBezTo>
                  <a:cubicBezTo>
                    <a:pt x="129490" y="17078"/>
                    <a:pt x="128913" y="19162"/>
                    <a:pt x="128020" y="21767"/>
                  </a:cubicBezTo>
                  <a:lnTo>
                    <a:pt x="84935" y="149908"/>
                  </a:lnTo>
                  <a:cubicBezTo>
                    <a:pt x="84563" y="151173"/>
                    <a:pt x="84079" y="152196"/>
                    <a:pt x="83484" y="152977"/>
                  </a:cubicBezTo>
                  <a:cubicBezTo>
                    <a:pt x="82888" y="153758"/>
                    <a:pt x="81921" y="154354"/>
                    <a:pt x="80581" y="154763"/>
                  </a:cubicBezTo>
                  <a:cubicBezTo>
                    <a:pt x="79242" y="155172"/>
                    <a:pt x="77419" y="155433"/>
                    <a:pt x="75112" y="155544"/>
                  </a:cubicBezTo>
                  <a:cubicBezTo>
                    <a:pt x="72805" y="155656"/>
                    <a:pt x="69791" y="155712"/>
                    <a:pt x="66071" y="155712"/>
                  </a:cubicBezTo>
                  <a:cubicBezTo>
                    <a:pt x="63094" y="155712"/>
                    <a:pt x="60546" y="155693"/>
                    <a:pt x="58425" y="155656"/>
                  </a:cubicBezTo>
                  <a:cubicBezTo>
                    <a:pt x="56304" y="155619"/>
                    <a:pt x="54499" y="155526"/>
                    <a:pt x="53011" y="155377"/>
                  </a:cubicBezTo>
                  <a:cubicBezTo>
                    <a:pt x="51523" y="155228"/>
                    <a:pt x="50314" y="155005"/>
                    <a:pt x="49383" y="154707"/>
                  </a:cubicBezTo>
                  <a:cubicBezTo>
                    <a:pt x="48453" y="154410"/>
                    <a:pt x="47672" y="154038"/>
                    <a:pt x="47039" y="153591"/>
                  </a:cubicBezTo>
                  <a:cubicBezTo>
                    <a:pt x="46407" y="153145"/>
                    <a:pt x="45923" y="152605"/>
                    <a:pt x="45588" y="151973"/>
                  </a:cubicBezTo>
                  <a:cubicBezTo>
                    <a:pt x="45253" y="151340"/>
                    <a:pt x="44937" y="150540"/>
                    <a:pt x="44639" y="149573"/>
                  </a:cubicBezTo>
                  <a:lnTo>
                    <a:pt x="1665" y="21543"/>
                  </a:lnTo>
                  <a:cubicBezTo>
                    <a:pt x="772" y="18864"/>
                    <a:pt x="233" y="16744"/>
                    <a:pt x="47" y="15181"/>
                  </a:cubicBezTo>
                  <a:cubicBezTo>
                    <a:pt x="-139" y="13618"/>
                    <a:pt x="233" y="12446"/>
                    <a:pt x="1163" y="11665"/>
                  </a:cubicBezTo>
                  <a:cubicBezTo>
                    <a:pt x="2093" y="10883"/>
                    <a:pt x="3675" y="10400"/>
                    <a:pt x="5907" y="10214"/>
                  </a:cubicBezTo>
                  <a:cubicBezTo>
                    <a:pt x="8139" y="10028"/>
                    <a:pt x="11265" y="9935"/>
                    <a:pt x="15283" y="9935"/>
                  </a:cubicBezTo>
                  <a:close/>
                  <a:moveTo>
                    <a:pt x="1035128" y="8260"/>
                  </a:moveTo>
                  <a:cubicBezTo>
                    <a:pt x="1039146" y="8260"/>
                    <a:pt x="1043016" y="8595"/>
                    <a:pt x="1046736" y="9265"/>
                  </a:cubicBezTo>
                  <a:cubicBezTo>
                    <a:pt x="1050457" y="9935"/>
                    <a:pt x="1053899" y="10809"/>
                    <a:pt x="1057061" y="11888"/>
                  </a:cubicBezTo>
                  <a:cubicBezTo>
                    <a:pt x="1060224" y="12967"/>
                    <a:pt x="1063070" y="14214"/>
                    <a:pt x="1065600" y="15627"/>
                  </a:cubicBezTo>
                  <a:cubicBezTo>
                    <a:pt x="1068131" y="17041"/>
                    <a:pt x="1069898" y="18250"/>
                    <a:pt x="1070902" y="19255"/>
                  </a:cubicBezTo>
                  <a:cubicBezTo>
                    <a:pt x="1071907" y="20260"/>
                    <a:pt x="1072595" y="21097"/>
                    <a:pt x="1072967" y="21767"/>
                  </a:cubicBezTo>
                  <a:cubicBezTo>
                    <a:pt x="1073340" y="22436"/>
                    <a:pt x="1073637" y="23292"/>
                    <a:pt x="1073860" y="24334"/>
                  </a:cubicBezTo>
                  <a:cubicBezTo>
                    <a:pt x="1074084" y="25376"/>
                    <a:pt x="1074251" y="26603"/>
                    <a:pt x="1074363" y="28017"/>
                  </a:cubicBezTo>
                  <a:cubicBezTo>
                    <a:pt x="1074474" y="29431"/>
                    <a:pt x="1074530" y="31180"/>
                    <a:pt x="1074530" y="33264"/>
                  </a:cubicBezTo>
                  <a:cubicBezTo>
                    <a:pt x="1074530" y="35496"/>
                    <a:pt x="1074456" y="37394"/>
                    <a:pt x="1074307" y="38956"/>
                  </a:cubicBezTo>
                  <a:cubicBezTo>
                    <a:pt x="1074158" y="40519"/>
                    <a:pt x="1073898" y="41784"/>
                    <a:pt x="1073526" y="42751"/>
                  </a:cubicBezTo>
                  <a:cubicBezTo>
                    <a:pt x="1073153" y="43719"/>
                    <a:pt x="1072707" y="44426"/>
                    <a:pt x="1072186" y="44872"/>
                  </a:cubicBezTo>
                  <a:cubicBezTo>
                    <a:pt x="1071665" y="45319"/>
                    <a:pt x="1071070" y="45542"/>
                    <a:pt x="1070400" y="45542"/>
                  </a:cubicBezTo>
                  <a:cubicBezTo>
                    <a:pt x="1069284" y="45542"/>
                    <a:pt x="1067870" y="44891"/>
                    <a:pt x="1066159" y="43588"/>
                  </a:cubicBezTo>
                  <a:cubicBezTo>
                    <a:pt x="1064447" y="42286"/>
                    <a:pt x="1062233" y="40835"/>
                    <a:pt x="1059517" y="39235"/>
                  </a:cubicBezTo>
                  <a:cubicBezTo>
                    <a:pt x="1056801" y="37635"/>
                    <a:pt x="1053564" y="36184"/>
                    <a:pt x="1049806" y="34882"/>
                  </a:cubicBezTo>
                  <a:cubicBezTo>
                    <a:pt x="1046048" y="33580"/>
                    <a:pt x="1041565" y="32929"/>
                    <a:pt x="1036356" y="32929"/>
                  </a:cubicBezTo>
                  <a:cubicBezTo>
                    <a:pt x="1030626" y="32929"/>
                    <a:pt x="1025510" y="34101"/>
                    <a:pt x="1021008" y="36445"/>
                  </a:cubicBezTo>
                  <a:cubicBezTo>
                    <a:pt x="1016506" y="38789"/>
                    <a:pt x="1012673" y="42137"/>
                    <a:pt x="1009511" y="46491"/>
                  </a:cubicBezTo>
                  <a:cubicBezTo>
                    <a:pt x="1006348" y="50844"/>
                    <a:pt x="1003948" y="56109"/>
                    <a:pt x="1002311" y="62285"/>
                  </a:cubicBezTo>
                  <a:cubicBezTo>
                    <a:pt x="1000674" y="68461"/>
                    <a:pt x="999856" y="75419"/>
                    <a:pt x="999856" y="83158"/>
                  </a:cubicBezTo>
                  <a:cubicBezTo>
                    <a:pt x="999856" y="91641"/>
                    <a:pt x="1000730" y="98990"/>
                    <a:pt x="1002479" y="105203"/>
                  </a:cubicBezTo>
                  <a:cubicBezTo>
                    <a:pt x="1004228" y="111417"/>
                    <a:pt x="1006720" y="116533"/>
                    <a:pt x="1009957" y="120551"/>
                  </a:cubicBezTo>
                  <a:cubicBezTo>
                    <a:pt x="1013194" y="124570"/>
                    <a:pt x="1017101" y="127565"/>
                    <a:pt x="1021678" y="129537"/>
                  </a:cubicBezTo>
                  <a:cubicBezTo>
                    <a:pt x="1026254" y="131509"/>
                    <a:pt x="1031407" y="132495"/>
                    <a:pt x="1037137" y="132495"/>
                  </a:cubicBezTo>
                  <a:cubicBezTo>
                    <a:pt x="1042346" y="132495"/>
                    <a:pt x="1046848" y="131881"/>
                    <a:pt x="1050643" y="130653"/>
                  </a:cubicBezTo>
                  <a:cubicBezTo>
                    <a:pt x="1054438" y="129425"/>
                    <a:pt x="1057694" y="128067"/>
                    <a:pt x="1060410" y="126579"/>
                  </a:cubicBezTo>
                  <a:cubicBezTo>
                    <a:pt x="1063126" y="125090"/>
                    <a:pt x="1065359" y="123751"/>
                    <a:pt x="1067107" y="122560"/>
                  </a:cubicBezTo>
                  <a:cubicBezTo>
                    <a:pt x="1068856" y="121370"/>
                    <a:pt x="1070214" y="120774"/>
                    <a:pt x="1071182" y="120774"/>
                  </a:cubicBezTo>
                  <a:cubicBezTo>
                    <a:pt x="1071926" y="120774"/>
                    <a:pt x="1072521" y="120923"/>
                    <a:pt x="1072967" y="121221"/>
                  </a:cubicBezTo>
                  <a:cubicBezTo>
                    <a:pt x="1073414" y="121519"/>
                    <a:pt x="1073786" y="122114"/>
                    <a:pt x="1074084" y="123007"/>
                  </a:cubicBezTo>
                  <a:cubicBezTo>
                    <a:pt x="1074381" y="123900"/>
                    <a:pt x="1074605" y="125146"/>
                    <a:pt x="1074753" y="126746"/>
                  </a:cubicBezTo>
                  <a:cubicBezTo>
                    <a:pt x="1074902" y="128346"/>
                    <a:pt x="1074977" y="130485"/>
                    <a:pt x="1074977" y="133164"/>
                  </a:cubicBezTo>
                  <a:cubicBezTo>
                    <a:pt x="1074977" y="135025"/>
                    <a:pt x="1074921" y="136606"/>
                    <a:pt x="1074809" y="137908"/>
                  </a:cubicBezTo>
                  <a:cubicBezTo>
                    <a:pt x="1074698" y="139211"/>
                    <a:pt x="1074530" y="140327"/>
                    <a:pt x="1074307" y="141257"/>
                  </a:cubicBezTo>
                  <a:cubicBezTo>
                    <a:pt x="1074084" y="142187"/>
                    <a:pt x="1073786" y="142987"/>
                    <a:pt x="1073414" y="143657"/>
                  </a:cubicBezTo>
                  <a:cubicBezTo>
                    <a:pt x="1073042" y="144327"/>
                    <a:pt x="1072447" y="145089"/>
                    <a:pt x="1071628" y="145945"/>
                  </a:cubicBezTo>
                  <a:cubicBezTo>
                    <a:pt x="1070809" y="146801"/>
                    <a:pt x="1069228" y="147898"/>
                    <a:pt x="1066884" y="149238"/>
                  </a:cubicBezTo>
                  <a:cubicBezTo>
                    <a:pt x="1064540" y="150577"/>
                    <a:pt x="1061675" y="151861"/>
                    <a:pt x="1058289" y="153089"/>
                  </a:cubicBezTo>
                  <a:cubicBezTo>
                    <a:pt x="1054904" y="154317"/>
                    <a:pt x="1051034" y="155340"/>
                    <a:pt x="1046681" y="156158"/>
                  </a:cubicBezTo>
                  <a:cubicBezTo>
                    <a:pt x="1042327" y="156977"/>
                    <a:pt x="1037621" y="157386"/>
                    <a:pt x="1032561" y="157386"/>
                  </a:cubicBezTo>
                  <a:cubicBezTo>
                    <a:pt x="1022664" y="157386"/>
                    <a:pt x="1013734" y="155861"/>
                    <a:pt x="1005772" y="152810"/>
                  </a:cubicBezTo>
                  <a:cubicBezTo>
                    <a:pt x="997809" y="149759"/>
                    <a:pt x="991038" y="145201"/>
                    <a:pt x="985457" y="139136"/>
                  </a:cubicBezTo>
                  <a:cubicBezTo>
                    <a:pt x="979875" y="133071"/>
                    <a:pt x="975597" y="125500"/>
                    <a:pt x="972620" y="116421"/>
                  </a:cubicBezTo>
                  <a:cubicBezTo>
                    <a:pt x="969644" y="107343"/>
                    <a:pt x="968155" y="96776"/>
                    <a:pt x="968155" y="84721"/>
                  </a:cubicBezTo>
                  <a:cubicBezTo>
                    <a:pt x="968155" y="72443"/>
                    <a:pt x="969792" y="61541"/>
                    <a:pt x="973067" y="52016"/>
                  </a:cubicBezTo>
                  <a:cubicBezTo>
                    <a:pt x="976341" y="42491"/>
                    <a:pt x="980917" y="34491"/>
                    <a:pt x="986796" y="28017"/>
                  </a:cubicBezTo>
                  <a:cubicBezTo>
                    <a:pt x="992675" y="21543"/>
                    <a:pt x="999725" y="16632"/>
                    <a:pt x="1007948" y="13283"/>
                  </a:cubicBezTo>
                  <a:cubicBezTo>
                    <a:pt x="1016171" y="9935"/>
                    <a:pt x="1025231" y="8260"/>
                    <a:pt x="1035128" y="8260"/>
                  </a:cubicBezTo>
                  <a:close/>
                  <a:moveTo>
                    <a:pt x="1997227" y="3461"/>
                  </a:moveTo>
                  <a:cubicBezTo>
                    <a:pt x="2003478" y="3461"/>
                    <a:pt x="2007720" y="4521"/>
                    <a:pt x="2009952" y="6642"/>
                  </a:cubicBezTo>
                  <a:cubicBezTo>
                    <a:pt x="2012185" y="8763"/>
                    <a:pt x="2013301" y="12539"/>
                    <a:pt x="2013301" y="17971"/>
                  </a:cubicBezTo>
                  <a:cubicBezTo>
                    <a:pt x="2013301" y="23627"/>
                    <a:pt x="2012147" y="27534"/>
                    <a:pt x="2009841" y="29692"/>
                  </a:cubicBezTo>
                  <a:cubicBezTo>
                    <a:pt x="2007534" y="31850"/>
                    <a:pt x="2003255" y="32929"/>
                    <a:pt x="1997004" y="32929"/>
                  </a:cubicBezTo>
                  <a:cubicBezTo>
                    <a:pt x="1990679" y="32929"/>
                    <a:pt x="1986419" y="31887"/>
                    <a:pt x="1984224" y="29803"/>
                  </a:cubicBezTo>
                  <a:cubicBezTo>
                    <a:pt x="1982028" y="27720"/>
                    <a:pt x="1980931" y="23962"/>
                    <a:pt x="1980931" y="18530"/>
                  </a:cubicBezTo>
                  <a:cubicBezTo>
                    <a:pt x="1980931" y="12874"/>
                    <a:pt x="1982066" y="8949"/>
                    <a:pt x="1984335" y="6754"/>
                  </a:cubicBezTo>
                  <a:cubicBezTo>
                    <a:pt x="1986605" y="4558"/>
                    <a:pt x="1990902" y="3461"/>
                    <a:pt x="1997227" y="3461"/>
                  </a:cubicBezTo>
                  <a:close/>
                  <a:moveTo>
                    <a:pt x="1863877" y="3461"/>
                  </a:moveTo>
                  <a:cubicBezTo>
                    <a:pt x="1870128" y="3461"/>
                    <a:pt x="1874370" y="4521"/>
                    <a:pt x="1876602" y="6642"/>
                  </a:cubicBezTo>
                  <a:cubicBezTo>
                    <a:pt x="1878835" y="8763"/>
                    <a:pt x="1879951" y="12539"/>
                    <a:pt x="1879951" y="17971"/>
                  </a:cubicBezTo>
                  <a:cubicBezTo>
                    <a:pt x="1879951" y="23627"/>
                    <a:pt x="1878797" y="27534"/>
                    <a:pt x="1876491" y="29692"/>
                  </a:cubicBezTo>
                  <a:cubicBezTo>
                    <a:pt x="1874184" y="31850"/>
                    <a:pt x="1869905" y="32929"/>
                    <a:pt x="1863654" y="32929"/>
                  </a:cubicBezTo>
                  <a:cubicBezTo>
                    <a:pt x="1857329" y="32929"/>
                    <a:pt x="1853069" y="31887"/>
                    <a:pt x="1850874" y="29803"/>
                  </a:cubicBezTo>
                  <a:cubicBezTo>
                    <a:pt x="1848678" y="27720"/>
                    <a:pt x="1847581" y="23962"/>
                    <a:pt x="1847581" y="18530"/>
                  </a:cubicBezTo>
                  <a:cubicBezTo>
                    <a:pt x="1847581" y="12874"/>
                    <a:pt x="1848716" y="8949"/>
                    <a:pt x="1850985" y="6754"/>
                  </a:cubicBezTo>
                  <a:cubicBezTo>
                    <a:pt x="1853255" y="4558"/>
                    <a:pt x="1857552" y="3461"/>
                    <a:pt x="1863877" y="3461"/>
                  </a:cubicBezTo>
                  <a:close/>
                  <a:moveTo>
                    <a:pt x="1806355" y="0"/>
                  </a:moveTo>
                  <a:cubicBezTo>
                    <a:pt x="1809109" y="0"/>
                    <a:pt x="1811378" y="112"/>
                    <a:pt x="1813164" y="335"/>
                  </a:cubicBezTo>
                  <a:cubicBezTo>
                    <a:pt x="1814950" y="559"/>
                    <a:pt x="1816364" y="875"/>
                    <a:pt x="1817406" y="1284"/>
                  </a:cubicBezTo>
                  <a:cubicBezTo>
                    <a:pt x="1818448" y="1693"/>
                    <a:pt x="1819192" y="2196"/>
                    <a:pt x="1819638" y="2791"/>
                  </a:cubicBezTo>
                  <a:cubicBezTo>
                    <a:pt x="1820085" y="3386"/>
                    <a:pt x="1820308" y="4056"/>
                    <a:pt x="1820308" y="4800"/>
                  </a:cubicBezTo>
                  <a:lnTo>
                    <a:pt x="1820308" y="151247"/>
                  </a:lnTo>
                  <a:cubicBezTo>
                    <a:pt x="1820308" y="152066"/>
                    <a:pt x="1820122" y="152754"/>
                    <a:pt x="1819750" y="153312"/>
                  </a:cubicBezTo>
                  <a:cubicBezTo>
                    <a:pt x="1819378" y="153870"/>
                    <a:pt x="1818745" y="154335"/>
                    <a:pt x="1817852" y="154707"/>
                  </a:cubicBezTo>
                  <a:cubicBezTo>
                    <a:pt x="1816959" y="155079"/>
                    <a:pt x="1815750" y="155340"/>
                    <a:pt x="1814225" y="155489"/>
                  </a:cubicBezTo>
                  <a:cubicBezTo>
                    <a:pt x="1812699" y="155637"/>
                    <a:pt x="1810820" y="155712"/>
                    <a:pt x="1808588" y="155712"/>
                  </a:cubicBezTo>
                  <a:cubicBezTo>
                    <a:pt x="1806206" y="155712"/>
                    <a:pt x="1804272" y="155637"/>
                    <a:pt x="1802783" y="155489"/>
                  </a:cubicBezTo>
                  <a:cubicBezTo>
                    <a:pt x="1801295" y="155340"/>
                    <a:pt x="1800086" y="155079"/>
                    <a:pt x="1799156" y="154707"/>
                  </a:cubicBezTo>
                  <a:cubicBezTo>
                    <a:pt x="1798226" y="154335"/>
                    <a:pt x="1797556" y="153870"/>
                    <a:pt x="1797147" y="153312"/>
                  </a:cubicBezTo>
                  <a:cubicBezTo>
                    <a:pt x="1796737" y="152754"/>
                    <a:pt x="1796533" y="152066"/>
                    <a:pt x="1796533" y="151247"/>
                  </a:cubicBezTo>
                  <a:lnTo>
                    <a:pt x="1796533" y="140197"/>
                  </a:lnTo>
                  <a:cubicBezTo>
                    <a:pt x="1791398" y="145703"/>
                    <a:pt x="1786022" y="149982"/>
                    <a:pt x="1780403" y="153033"/>
                  </a:cubicBezTo>
                  <a:cubicBezTo>
                    <a:pt x="1774785" y="156084"/>
                    <a:pt x="1768553" y="157609"/>
                    <a:pt x="1761707" y="157609"/>
                  </a:cubicBezTo>
                  <a:cubicBezTo>
                    <a:pt x="1754117" y="157609"/>
                    <a:pt x="1747698" y="156140"/>
                    <a:pt x="1742452" y="153200"/>
                  </a:cubicBezTo>
                  <a:cubicBezTo>
                    <a:pt x="1737206" y="150261"/>
                    <a:pt x="1732927" y="146298"/>
                    <a:pt x="1729616" y="141313"/>
                  </a:cubicBezTo>
                  <a:cubicBezTo>
                    <a:pt x="1726304" y="136327"/>
                    <a:pt x="1723905" y="130504"/>
                    <a:pt x="1722416" y="123844"/>
                  </a:cubicBezTo>
                  <a:cubicBezTo>
                    <a:pt x="1720928" y="117184"/>
                    <a:pt x="1720184" y="110170"/>
                    <a:pt x="1720184" y="102803"/>
                  </a:cubicBezTo>
                  <a:cubicBezTo>
                    <a:pt x="1720184" y="93948"/>
                    <a:pt x="1721133" y="85986"/>
                    <a:pt x="1723030" y="78917"/>
                  </a:cubicBezTo>
                  <a:cubicBezTo>
                    <a:pt x="1724928" y="71847"/>
                    <a:pt x="1727700" y="65820"/>
                    <a:pt x="1731346" y="60834"/>
                  </a:cubicBezTo>
                  <a:cubicBezTo>
                    <a:pt x="1734992" y="55848"/>
                    <a:pt x="1739531" y="52016"/>
                    <a:pt x="1744964" y="49337"/>
                  </a:cubicBezTo>
                  <a:cubicBezTo>
                    <a:pt x="1750396" y="46658"/>
                    <a:pt x="1756647" y="45319"/>
                    <a:pt x="1763716" y="45319"/>
                  </a:cubicBezTo>
                  <a:cubicBezTo>
                    <a:pt x="1769297" y="45319"/>
                    <a:pt x="1774357" y="46453"/>
                    <a:pt x="1778897" y="48723"/>
                  </a:cubicBezTo>
                  <a:cubicBezTo>
                    <a:pt x="1783436" y="50993"/>
                    <a:pt x="1787938" y="54323"/>
                    <a:pt x="1792403" y="58713"/>
                  </a:cubicBezTo>
                  <a:lnTo>
                    <a:pt x="1792403" y="4800"/>
                  </a:lnTo>
                  <a:cubicBezTo>
                    <a:pt x="1792403" y="4056"/>
                    <a:pt x="1792607" y="3386"/>
                    <a:pt x="1793017" y="2791"/>
                  </a:cubicBezTo>
                  <a:cubicBezTo>
                    <a:pt x="1793426" y="2196"/>
                    <a:pt x="1794170" y="1693"/>
                    <a:pt x="1795249" y="1284"/>
                  </a:cubicBezTo>
                  <a:cubicBezTo>
                    <a:pt x="1796328" y="875"/>
                    <a:pt x="1797760" y="559"/>
                    <a:pt x="1799546" y="335"/>
                  </a:cubicBezTo>
                  <a:cubicBezTo>
                    <a:pt x="1801332" y="112"/>
                    <a:pt x="1803602" y="0"/>
                    <a:pt x="1806355" y="0"/>
                  </a:cubicBezTo>
                  <a:close/>
                  <a:moveTo>
                    <a:pt x="882430" y="0"/>
                  </a:moveTo>
                  <a:cubicBezTo>
                    <a:pt x="885184" y="0"/>
                    <a:pt x="887453" y="112"/>
                    <a:pt x="889239" y="335"/>
                  </a:cubicBezTo>
                  <a:cubicBezTo>
                    <a:pt x="891025" y="559"/>
                    <a:pt x="892439" y="875"/>
                    <a:pt x="893481" y="1284"/>
                  </a:cubicBezTo>
                  <a:cubicBezTo>
                    <a:pt x="894522" y="1693"/>
                    <a:pt x="895267" y="2196"/>
                    <a:pt x="895713" y="2791"/>
                  </a:cubicBezTo>
                  <a:cubicBezTo>
                    <a:pt x="896160" y="3386"/>
                    <a:pt x="896383" y="4056"/>
                    <a:pt x="896383" y="4800"/>
                  </a:cubicBezTo>
                  <a:lnTo>
                    <a:pt x="896383" y="151247"/>
                  </a:lnTo>
                  <a:cubicBezTo>
                    <a:pt x="896383" y="152066"/>
                    <a:pt x="896197" y="152754"/>
                    <a:pt x="895825" y="153312"/>
                  </a:cubicBezTo>
                  <a:cubicBezTo>
                    <a:pt x="895453" y="153870"/>
                    <a:pt x="894820" y="154335"/>
                    <a:pt x="893927" y="154707"/>
                  </a:cubicBezTo>
                  <a:cubicBezTo>
                    <a:pt x="893034" y="155079"/>
                    <a:pt x="891825" y="155340"/>
                    <a:pt x="890299" y="155489"/>
                  </a:cubicBezTo>
                  <a:cubicBezTo>
                    <a:pt x="888774" y="155637"/>
                    <a:pt x="886895" y="155712"/>
                    <a:pt x="884663" y="155712"/>
                  </a:cubicBezTo>
                  <a:cubicBezTo>
                    <a:pt x="882281" y="155712"/>
                    <a:pt x="880347" y="155637"/>
                    <a:pt x="878858" y="155489"/>
                  </a:cubicBezTo>
                  <a:cubicBezTo>
                    <a:pt x="877370" y="155340"/>
                    <a:pt x="876161" y="155079"/>
                    <a:pt x="875231" y="154707"/>
                  </a:cubicBezTo>
                  <a:cubicBezTo>
                    <a:pt x="874300" y="154335"/>
                    <a:pt x="873631" y="153870"/>
                    <a:pt x="873221" y="153312"/>
                  </a:cubicBezTo>
                  <a:cubicBezTo>
                    <a:pt x="872812" y="152754"/>
                    <a:pt x="872608" y="152066"/>
                    <a:pt x="872608" y="151247"/>
                  </a:cubicBezTo>
                  <a:lnTo>
                    <a:pt x="872608" y="140197"/>
                  </a:lnTo>
                  <a:cubicBezTo>
                    <a:pt x="867473" y="145703"/>
                    <a:pt x="862097" y="149982"/>
                    <a:pt x="856478" y="153033"/>
                  </a:cubicBezTo>
                  <a:cubicBezTo>
                    <a:pt x="850860" y="156084"/>
                    <a:pt x="844628" y="157609"/>
                    <a:pt x="837782" y="157609"/>
                  </a:cubicBezTo>
                  <a:cubicBezTo>
                    <a:pt x="830192" y="157609"/>
                    <a:pt x="823773" y="156140"/>
                    <a:pt x="818527" y="153200"/>
                  </a:cubicBezTo>
                  <a:cubicBezTo>
                    <a:pt x="813281" y="150261"/>
                    <a:pt x="809002" y="146298"/>
                    <a:pt x="805691" y="141313"/>
                  </a:cubicBezTo>
                  <a:cubicBezTo>
                    <a:pt x="802379" y="136327"/>
                    <a:pt x="799979" y="130504"/>
                    <a:pt x="798491" y="123844"/>
                  </a:cubicBezTo>
                  <a:cubicBezTo>
                    <a:pt x="797003" y="117184"/>
                    <a:pt x="796259" y="110170"/>
                    <a:pt x="796259" y="102803"/>
                  </a:cubicBezTo>
                  <a:cubicBezTo>
                    <a:pt x="796259" y="93948"/>
                    <a:pt x="797208" y="85986"/>
                    <a:pt x="799105" y="78917"/>
                  </a:cubicBezTo>
                  <a:cubicBezTo>
                    <a:pt x="801003" y="71847"/>
                    <a:pt x="803775" y="65820"/>
                    <a:pt x="807421" y="60834"/>
                  </a:cubicBezTo>
                  <a:cubicBezTo>
                    <a:pt x="811067" y="55848"/>
                    <a:pt x="815606" y="52016"/>
                    <a:pt x="821039" y="49337"/>
                  </a:cubicBezTo>
                  <a:cubicBezTo>
                    <a:pt x="826471" y="46658"/>
                    <a:pt x="832722" y="45319"/>
                    <a:pt x="839791" y="45319"/>
                  </a:cubicBezTo>
                  <a:cubicBezTo>
                    <a:pt x="845372" y="45319"/>
                    <a:pt x="850432" y="46453"/>
                    <a:pt x="854971" y="48723"/>
                  </a:cubicBezTo>
                  <a:cubicBezTo>
                    <a:pt x="859511" y="50993"/>
                    <a:pt x="864013" y="54323"/>
                    <a:pt x="868478" y="58713"/>
                  </a:cubicBezTo>
                  <a:lnTo>
                    <a:pt x="868478" y="4800"/>
                  </a:lnTo>
                  <a:cubicBezTo>
                    <a:pt x="868478" y="4056"/>
                    <a:pt x="868682" y="3386"/>
                    <a:pt x="869091" y="2791"/>
                  </a:cubicBezTo>
                  <a:cubicBezTo>
                    <a:pt x="869501" y="2196"/>
                    <a:pt x="870245" y="1693"/>
                    <a:pt x="871324" y="1284"/>
                  </a:cubicBezTo>
                  <a:cubicBezTo>
                    <a:pt x="872403" y="875"/>
                    <a:pt x="873835" y="559"/>
                    <a:pt x="875621" y="335"/>
                  </a:cubicBezTo>
                  <a:cubicBezTo>
                    <a:pt x="877407" y="112"/>
                    <a:pt x="879677" y="0"/>
                    <a:pt x="882430" y="0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uk-UA"/>
            </a:p>
          </p:txBody>
        </p:sp>
      </p:grpSp>
      <p:sp>
        <p:nvSpPr>
          <p:cNvPr id="113" name="Полілінія: фігура 112">
            <a:extLst>
              <a:ext uri="{FF2B5EF4-FFF2-40B4-BE49-F238E27FC236}">
                <a16:creationId xmlns:a16="http://schemas.microsoft.com/office/drawing/2014/main" id="{E536DA62-B6A6-252C-F1D3-9B558D4A6A49}"/>
              </a:ext>
            </a:extLst>
          </p:cNvPr>
          <p:cNvSpPr/>
          <p:nvPr/>
        </p:nvSpPr>
        <p:spPr>
          <a:xfrm>
            <a:off x="4476926" y="212440"/>
            <a:ext cx="3237227" cy="206276"/>
          </a:xfrm>
          <a:custGeom>
            <a:avLst/>
            <a:gdLst/>
            <a:ahLst/>
            <a:cxnLst/>
            <a:rect l="l" t="t" r="r" b="b"/>
            <a:pathLst>
              <a:path w="3237227" h="206276">
                <a:moveTo>
                  <a:pt x="2112338" y="35397"/>
                </a:moveTo>
                <a:cubicBezTo>
                  <a:pt x="2109050" y="35403"/>
                  <a:pt x="2105404" y="35462"/>
                  <a:pt x="2101401" y="35576"/>
                </a:cubicBezTo>
                <a:cubicBezTo>
                  <a:pt x="2097399" y="35689"/>
                  <a:pt x="2093039" y="35820"/>
                  <a:pt x="2088321" y="35969"/>
                </a:cubicBezTo>
                <a:lnTo>
                  <a:pt x="2088321" y="95440"/>
                </a:lnTo>
                <a:lnTo>
                  <a:pt x="2111194" y="95440"/>
                </a:lnTo>
                <a:cubicBezTo>
                  <a:pt x="2121672" y="95440"/>
                  <a:pt x="2130595" y="92867"/>
                  <a:pt x="2137963" y="87720"/>
                </a:cubicBezTo>
                <a:cubicBezTo>
                  <a:pt x="2145332" y="82574"/>
                  <a:pt x="2149180" y="74854"/>
                  <a:pt x="2149507" y="64561"/>
                </a:cubicBezTo>
                <a:cubicBezTo>
                  <a:pt x="2149745" y="56466"/>
                  <a:pt x="2147124" y="49639"/>
                  <a:pt x="2141644" y="44082"/>
                </a:cubicBezTo>
                <a:cubicBezTo>
                  <a:pt x="2136164" y="38524"/>
                  <a:pt x="2126395" y="35629"/>
                  <a:pt x="2112338" y="35397"/>
                </a:cubicBezTo>
                <a:close/>
                <a:moveTo>
                  <a:pt x="1703906" y="35397"/>
                </a:moveTo>
                <a:cubicBezTo>
                  <a:pt x="1700321" y="35403"/>
                  <a:pt x="1696413" y="35462"/>
                  <a:pt x="1692184" y="35576"/>
                </a:cubicBezTo>
                <a:cubicBezTo>
                  <a:pt x="1687955" y="35689"/>
                  <a:pt x="1683475" y="35820"/>
                  <a:pt x="1678746" y="35969"/>
                </a:cubicBezTo>
                <a:lnTo>
                  <a:pt x="1678746" y="97440"/>
                </a:lnTo>
                <a:cubicBezTo>
                  <a:pt x="1682909" y="97874"/>
                  <a:pt x="1687091" y="98220"/>
                  <a:pt x="1691290" y="98476"/>
                </a:cubicBezTo>
                <a:cubicBezTo>
                  <a:pt x="1695490" y="98732"/>
                  <a:pt x="1699600" y="98863"/>
                  <a:pt x="1703620" y="98869"/>
                </a:cubicBezTo>
                <a:cubicBezTo>
                  <a:pt x="1714301" y="98917"/>
                  <a:pt x="1723104" y="96320"/>
                  <a:pt x="1730032" y="91078"/>
                </a:cubicBezTo>
                <a:cubicBezTo>
                  <a:pt x="1736959" y="85836"/>
                  <a:pt x="1740545" y="77664"/>
                  <a:pt x="1740789" y="66561"/>
                </a:cubicBezTo>
                <a:cubicBezTo>
                  <a:pt x="1740754" y="56131"/>
                  <a:pt x="1737608" y="48328"/>
                  <a:pt x="1731354" y="43152"/>
                </a:cubicBezTo>
                <a:cubicBezTo>
                  <a:pt x="1725100" y="37976"/>
                  <a:pt x="1715951" y="35391"/>
                  <a:pt x="1703906" y="35397"/>
                </a:cubicBezTo>
                <a:close/>
                <a:moveTo>
                  <a:pt x="1464638" y="35397"/>
                </a:moveTo>
                <a:cubicBezTo>
                  <a:pt x="1461350" y="35403"/>
                  <a:pt x="1457704" y="35462"/>
                  <a:pt x="1453701" y="35576"/>
                </a:cubicBezTo>
                <a:cubicBezTo>
                  <a:pt x="1449699" y="35689"/>
                  <a:pt x="1445339" y="35820"/>
                  <a:pt x="1440621" y="35969"/>
                </a:cubicBezTo>
                <a:lnTo>
                  <a:pt x="1440621" y="95440"/>
                </a:lnTo>
                <a:lnTo>
                  <a:pt x="1463494" y="95440"/>
                </a:lnTo>
                <a:cubicBezTo>
                  <a:pt x="1473972" y="95440"/>
                  <a:pt x="1482895" y="92867"/>
                  <a:pt x="1490263" y="87720"/>
                </a:cubicBezTo>
                <a:cubicBezTo>
                  <a:pt x="1497631" y="82574"/>
                  <a:pt x="1501479" y="74854"/>
                  <a:pt x="1501807" y="64561"/>
                </a:cubicBezTo>
                <a:cubicBezTo>
                  <a:pt x="1502045" y="56466"/>
                  <a:pt x="1499424" y="49639"/>
                  <a:pt x="1493944" y="44082"/>
                </a:cubicBezTo>
                <a:cubicBezTo>
                  <a:pt x="1488464" y="38524"/>
                  <a:pt x="1478695" y="35629"/>
                  <a:pt x="1464638" y="35397"/>
                </a:cubicBezTo>
                <a:close/>
                <a:moveTo>
                  <a:pt x="3132945" y="32825"/>
                </a:moveTo>
                <a:cubicBezTo>
                  <a:pt x="3113402" y="33165"/>
                  <a:pt x="3097467" y="39703"/>
                  <a:pt x="3085141" y="52439"/>
                </a:cubicBezTo>
                <a:cubicBezTo>
                  <a:pt x="3072815" y="65176"/>
                  <a:pt x="3066455" y="82076"/>
                  <a:pt x="3066062" y="103137"/>
                </a:cubicBezTo>
                <a:cubicBezTo>
                  <a:pt x="3066509" y="123574"/>
                  <a:pt x="3072976" y="140294"/>
                  <a:pt x="3085463" y="153299"/>
                </a:cubicBezTo>
                <a:cubicBezTo>
                  <a:pt x="3097950" y="166304"/>
                  <a:pt x="3113777" y="173021"/>
                  <a:pt x="3132945" y="173450"/>
                </a:cubicBezTo>
                <a:cubicBezTo>
                  <a:pt x="3154126" y="172985"/>
                  <a:pt x="3170573" y="166197"/>
                  <a:pt x="3182286" y="153085"/>
                </a:cubicBezTo>
                <a:cubicBezTo>
                  <a:pt x="3193999" y="139973"/>
                  <a:pt x="3199942" y="123323"/>
                  <a:pt x="3200115" y="103137"/>
                </a:cubicBezTo>
                <a:cubicBezTo>
                  <a:pt x="3199674" y="82076"/>
                  <a:pt x="3193195" y="65176"/>
                  <a:pt x="3180678" y="52439"/>
                </a:cubicBezTo>
                <a:cubicBezTo>
                  <a:pt x="3168161" y="39703"/>
                  <a:pt x="3152250" y="33165"/>
                  <a:pt x="3132945" y="32825"/>
                </a:cubicBezTo>
                <a:close/>
                <a:moveTo>
                  <a:pt x="2647170" y="32825"/>
                </a:moveTo>
                <a:cubicBezTo>
                  <a:pt x="2627627" y="33165"/>
                  <a:pt x="2611692" y="39703"/>
                  <a:pt x="2599366" y="52439"/>
                </a:cubicBezTo>
                <a:cubicBezTo>
                  <a:pt x="2587040" y="65176"/>
                  <a:pt x="2580680" y="82076"/>
                  <a:pt x="2580287" y="103137"/>
                </a:cubicBezTo>
                <a:cubicBezTo>
                  <a:pt x="2580734" y="123574"/>
                  <a:pt x="2587200" y="140294"/>
                  <a:pt x="2599688" y="153299"/>
                </a:cubicBezTo>
                <a:cubicBezTo>
                  <a:pt x="2612175" y="166304"/>
                  <a:pt x="2628002" y="173021"/>
                  <a:pt x="2647170" y="173450"/>
                </a:cubicBezTo>
                <a:cubicBezTo>
                  <a:pt x="2668351" y="172985"/>
                  <a:pt x="2684798" y="166197"/>
                  <a:pt x="2696511" y="153085"/>
                </a:cubicBezTo>
                <a:cubicBezTo>
                  <a:pt x="2708224" y="139973"/>
                  <a:pt x="2714167" y="123323"/>
                  <a:pt x="2714340" y="103137"/>
                </a:cubicBezTo>
                <a:cubicBezTo>
                  <a:pt x="2713899" y="82076"/>
                  <a:pt x="2707420" y="65176"/>
                  <a:pt x="2694903" y="52439"/>
                </a:cubicBezTo>
                <a:cubicBezTo>
                  <a:pt x="2682386" y="39703"/>
                  <a:pt x="2666475" y="33165"/>
                  <a:pt x="2647170" y="32825"/>
                </a:cubicBezTo>
                <a:close/>
                <a:moveTo>
                  <a:pt x="1904220" y="32825"/>
                </a:moveTo>
                <a:cubicBezTo>
                  <a:pt x="1884677" y="33165"/>
                  <a:pt x="1868742" y="39703"/>
                  <a:pt x="1856416" y="52439"/>
                </a:cubicBezTo>
                <a:cubicBezTo>
                  <a:pt x="1844090" y="65176"/>
                  <a:pt x="1837730" y="82076"/>
                  <a:pt x="1837337" y="103137"/>
                </a:cubicBezTo>
                <a:cubicBezTo>
                  <a:pt x="1837784" y="123574"/>
                  <a:pt x="1844250" y="140294"/>
                  <a:pt x="1856737" y="153299"/>
                </a:cubicBezTo>
                <a:cubicBezTo>
                  <a:pt x="1869224" y="166304"/>
                  <a:pt x="1885052" y="173021"/>
                  <a:pt x="1904220" y="173450"/>
                </a:cubicBezTo>
                <a:cubicBezTo>
                  <a:pt x="1925401" y="172985"/>
                  <a:pt x="1941848" y="166197"/>
                  <a:pt x="1953561" y="153085"/>
                </a:cubicBezTo>
                <a:cubicBezTo>
                  <a:pt x="1965274" y="139973"/>
                  <a:pt x="1971217" y="123323"/>
                  <a:pt x="1971390" y="103137"/>
                </a:cubicBezTo>
                <a:cubicBezTo>
                  <a:pt x="1970949" y="82076"/>
                  <a:pt x="1964470" y="65176"/>
                  <a:pt x="1951953" y="52439"/>
                </a:cubicBezTo>
                <a:cubicBezTo>
                  <a:pt x="1939436" y="39703"/>
                  <a:pt x="1923525" y="33165"/>
                  <a:pt x="1904220" y="32825"/>
                </a:cubicBezTo>
                <a:close/>
                <a:moveTo>
                  <a:pt x="837420" y="32825"/>
                </a:moveTo>
                <a:cubicBezTo>
                  <a:pt x="817877" y="33165"/>
                  <a:pt x="801942" y="39703"/>
                  <a:pt x="789616" y="52439"/>
                </a:cubicBezTo>
                <a:cubicBezTo>
                  <a:pt x="777290" y="65176"/>
                  <a:pt x="770930" y="82076"/>
                  <a:pt x="770537" y="103137"/>
                </a:cubicBezTo>
                <a:cubicBezTo>
                  <a:pt x="770984" y="123574"/>
                  <a:pt x="777450" y="140294"/>
                  <a:pt x="789937" y="153299"/>
                </a:cubicBezTo>
                <a:cubicBezTo>
                  <a:pt x="802424" y="166304"/>
                  <a:pt x="818252" y="173021"/>
                  <a:pt x="837420" y="173450"/>
                </a:cubicBezTo>
                <a:cubicBezTo>
                  <a:pt x="858601" y="172985"/>
                  <a:pt x="875048" y="166197"/>
                  <a:pt x="886761" y="153085"/>
                </a:cubicBezTo>
                <a:cubicBezTo>
                  <a:pt x="898474" y="139973"/>
                  <a:pt x="904417" y="123323"/>
                  <a:pt x="904590" y="103137"/>
                </a:cubicBezTo>
                <a:cubicBezTo>
                  <a:pt x="904149" y="82076"/>
                  <a:pt x="897670" y="65176"/>
                  <a:pt x="885153" y="52439"/>
                </a:cubicBezTo>
                <a:cubicBezTo>
                  <a:pt x="872636" y="39703"/>
                  <a:pt x="856725" y="33165"/>
                  <a:pt x="837420" y="32825"/>
                </a:cubicBezTo>
                <a:close/>
                <a:moveTo>
                  <a:pt x="2952846" y="3429"/>
                </a:moveTo>
                <a:lnTo>
                  <a:pt x="2987957" y="3429"/>
                </a:lnTo>
                <a:lnTo>
                  <a:pt x="2987957" y="203132"/>
                </a:lnTo>
                <a:lnTo>
                  <a:pt x="2952846" y="203132"/>
                </a:lnTo>
                <a:close/>
                <a:moveTo>
                  <a:pt x="2796159" y="3429"/>
                </a:moveTo>
                <a:lnTo>
                  <a:pt x="2831271" y="3429"/>
                </a:lnTo>
                <a:lnTo>
                  <a:pt x="2831271" y="170307"/>
                </a:lnTo>
                <a:lnTo>
                  <a:pt x="2921282" y="170307"/>
                </a:lnTo>
                <a:lnTo>
                  <a:pt x="2921282" y="203132"/>
                </a:lnTo>
                <a:lnTo>
                  <a:pt x="2796159" y="203132"/>
                </a:lnTo>
                <a:close/>
                <a:moveTo>
                  <a:pt x="2405634" y="3429"/>
                </a:moveTo>
                <a:lnTo>
                  <a:pt x="2519899" y="3429"/>
                </a:lnTo>
                <a:lnTo>
                  <a:pt x="2519899" y="36254"/>
                </a:lnTo>
                <a:lnTo>
                  <a:pt x="2440746" y="36254"/>
                </a:lnTo>
                <a:lnTo>
                  <a:pt x="2440746" y="92583"/>
                </a:lnTo>
                <a:lnTo>
                  <a:pt x="2511326" y="92583"/>
                </a:lnTo>
                <a:lnTo>
                  <a:pt x="2511326" y="125408"/>
                </a:lnTo>
                <a:lnTo>
                  <a:pt x="2440746" y="125408"/>
                </a:lnTo>
                <a:lnTo>
                  <a:pt x="2440746" y="203132"/>
                </a:lnTo>
                <a:lnTo>
                  <a:pt x="2405634" y="203132"/>
                </a:lnTo>
                <a:close/>
                <a:moveTo>
                  <a:pt x="2209324" y="3429"/>
                </a:moveTo>
                <a:lnTo>
                  <a:pt x="2374166" y="3429"/>
                </a:lnTo>
                <a:lnTo>
                  <a:pt x="2374166" y="36254"/>
                </a:lnTo>
                <a:lnTo>
                  <a:pt x="2309301" y="36254"/>
                </a:lnTo>
                <a:lnTo>
                  <a:pt x="2309301" y="203132"/>
                </a:lnTo>
                <a:lnTo>
                  <a:pt x="2274189" y="203132"/>
                </a:lnTo>
                <a:lnTo>
                  <a:pt x="2274189" y="36254"/>
                </a:lnTo>
                <a:lnTo>
                  <a:pt x="2209324" y="36254"/>
                </a:lnTo>
                <a:close/>
                <a:moveTo>
                  <a:pt x="1243584" y="3429"/>
                </a:moveTo>
                <a:lnTo>
                  <a:pt x="1359277" y="3429"/>
                </a:lnTo>
                <a:lnTo>
                  <a:pt x="1359277" y="36254"/>
                </a:lnTo>
                <a:lnTo>
                  <a:pt x="1278696" y="36254"/>
                </a:lnTo>
                <a:lnTo>
                  <a:pt x="1278696" y="85725"/>
                </a:lnTo>
                <a:lnTo>
                  <a:pt x="1350705" y="85725"/>
                </a:lnTo>
                <a:lnTo>
                  <a:pt x="1350705" y="118550"/>
                </a:lnTo>
                <a:lnTo>
                  <a:pt x="1278696" y="118550"/>
                </a:lnTo>
                <a:lnTo>
                  <a:pt x="1278696" y="170307"/>
                </a:lnTo>
                <a:lnTo>
                  <a:pt x="1362135" y="170307"/>
                </a:lnTo>
                <a:lnTo>
                  <a:pt x="1362135" y="203132"/>
                </a:lnTo>
                <a:lnTo>
                  <a:pt x="1243584" y="203132"/>
                </a:lnTo>
                <a:close/>
                <a:moveTo>
                  <a:pt x="986409" y="3429"/>
                </a:moveTo>
                <a:lnTo>
                  <a:pt x="1021807" y="3429"/>
                </a:lnTo>
                <a:lnTo>
                  <a:pt x="1090120" y="96718"/>
                </a:lnTo>
                <a:lnTo>
                  <a:pt x="1155286" y="3429"/>
                </a:lnTo>
                <a:lnTo>
                  <a:pt x="1188399" y="3429"/>
                </a:lnTo>
                <a:lnTo>
                  <a:pt x="1188399" y="203132"/>
                </a:lnTo>
                <a:lnTo>
                  <a:pt x="1153573" y="203132"/>
                </a:lnTo>
                <a:lnTo>
                  <a:pt x="1153573" y="58774"/>
                </a:lnTo>
                <a:lnTo>
                  <a:pt x="1090406" y="147500"/>
                </a:lnTo>
                <a:lnTo>
                  <a:pt x="1085260" y="147500"/>
                </a:lnTo>
                <a:lnTo>
                  <a:pt x="1021521" y="59630"/>
                </a:lnTo>
                <a:lnTo>
                  <a:pt x="1021521" y="203132"/>
                </a:lnTo>
                <a:lnTo>
                  <a:pt x="986409" y="203132"/>
                </a:lnTo>
                <a:close/>
                <a:moveTo>
                  <a:pt x="561499" y="3429"/>
                </a:moveTo>
                <a:lnTo>
                  <a:pt x="726341" y="3429"/>
                </a:lnTo>
                <a:lnTo>
                  <a:pt x="726341" y="36254"/>
                </a:lnTo>
                <a:lnTo>
                  <a:pt x="661476" y="36254"/>
                </a:lnTo>
                <a:lnTo>
                  <a:pt x="661476" y="203132"/>
                </a:lnTo>
                <a:lnTo>
                  <a:pt x="626364" y="203132"/>
                </a:lnTo>
                <a:lnTo>
                  <a:pt x="626364" y="36254"/>
                </a:lnTo>
                <a:lnTo>
                  <a:pt x="561499" y="36254"/>
                </a:lnTo>
                <a:close/>
                <a:moveTo>
                  <a:pt x="202502" y="3429"/>
                </a:moveTo>
                <a:lnTo>
                  <a:pt x="237613" y="3429"/>
                </a:lnTo>
                <a:lnTo>
                  <a:pt x="237613" y="110976"/>
                </a:lnTo>
                <a:cubicBezTo>
                  <a:pt x="237536" y="129928"/>
                  <a:pt x="241550" y="145012"/>
                  <a:pt x="249655" y="156227"/>
                </a:cubicBezTo>
                <a:cubicBezTo>
                  <a:pt x="257760" y="167441"/>
                  <a:pt x="270422" y="173182"/>
                  <a:pt x="287639" y="173450"/>
                </a:cubicBezTo>
                <a:cubicBezTo>
                  <a:pt x="302754" y="173367"/>
                  <a:pt x="313973" y="168184"/>
                  <a:pt x="321298" y="157903"/>
                </a:cubicBezTo>
                <a:cubicBezTo>
                  <a:pt x="328623" y="147621"/>
                  <a:pt x="332268" y="132739"/>
                  <a:pt x="332232" y="113258"/>
                </a:cubicBezTo>
                <a:lnTo>
                  <a:pt x="332232" y="3429"/>
                </a:lnTo>
                <a:lnTo>
                  <a:pt x="367058" y="3429"/>
                </a:lnTo>
                <a:lnTo>
                  <a:pt x="367058" y="120390"/>
                </a:lnTo>
                <a:cubicBezTo>
                  <a:pt x="366856" y="140670"/>
                  <a:pt x="363105" y="157137"/>
                  <a:pt x="355806" y="169791"/>
                </a:cubicBezTo>
                <a:cubicBezTo>
                  <a:pt x="348507" y="182444"/>
                  <a:pt x="338873" y="191706"/>
                  <a:pt x="326905" y="197576"/>
                </a:cubicBezTo>
                <a:cubicBezTo>
                  <a:pt x="314937" y="203446"/>
                  <a:pt x="301848" y="206346"/>
                  <a:pt x="287639" y="206275"/>
                </a:cubicBezTo>
                <a:cubicBezTo>
                  <a:pt x="262330" y="206269"/>
                  <a:pt x="241923" y="198932"/>
                  <a:pt x="226418" y="184265"/>
                </a:cubicBezTo>
                <a:cubicBezTo>
                  <a:pt x="210912" y="169598"/>
                  <a:pt x="202940" y="147641"/>
                  <a:pt x="202502" y="118393"/>
                </a:cubicBezTo>
                <a:close/>
                <a:moveTo>
                  <a:pt x="2114053" y="2571"/>
                </a:moveTo>
                <a:cubicBezTo>
                  <a:pt x="2140956" y="2981"/>
                  <a:pt x="2159873" y="8941"/>
                  <a:pt x="2170804" y="20453"/>
                </a:cubicBezTo>
                <a:cubicBezTo>
                  <a:pt x="2181735" y="31965"/>
                  <a:pt x="2187007" y="46572"/>
                  <a:pt x="2186619" y="64275"/>
                </a:cubicBezTo>
                <a:cubicBezTo>
                  <a:pt x="2186450" y="75674"/>
                  <a:pt x="2184345" y="85272"/>
                  <a:pt x="2180306" y="93067"/>
                </a:cubicBezTo>
                <a:cubicBezTo>
                  <a:pt x="2176267" y="100862"/>
                  <a:pt x="2171308" y="107069"/>
                  <a:pt x="2165429" y="111687"/>
                </a:cubicBezTo>
                <a:cubicBezTo>
                  <a:pt x="2159550" y="116305"/>
                  <a:pt x="2153766" y="119548"/>
                  <a:pt x="2148077" y="121415"/>
                </a:cubicBezTo>
                <a:lnTo>
                  <a:pt x="2210622" y="203132"/>
                </a:lnTo>
                <a:lnTo>
                  <a:pt x="2168063" y="203132"/>
                </a:lnTo>
                <a:lnTo>
                  <a:pt x="2112910" y="128266"/>
                </a:lnTo>
                <a:lnTo>
                  <a:pt x="2088321" y="128266"/>
                </a:lnTo>
                <a:lnTo>
                  <a:pt x="2088321" y="203132"/>
                </a:lnTo>
                <a:lnTo>
                  <a:pt x="2053209" y="203132"/>
                </a:lnTo>
                <a:lnTo>
                  <a:pt x="2053209" y="3142"/>
                </a:lnTo>
                <a:cubicBezTo>
                  <a:pt x="2057359" y="3135"/>
                  <a:pt x="2063843" y="3086"/>
                  <a:pt x="2072661" y="2994"/>
                </a:cubicBezTo>
                <a:cubicBezTo>
                  <a:pt x="2081478" y="2903"/>
                  <a:pt x="2089995" y="2811"/>
                  <a:pt x="2098211" y="2719"/>
                </a:cubicBezTo>
                <a:cubicBezTo>
                  <a:pt x="2106427" y="2628"/>
                  <a:pt x="2111708" y="2578"/>
                  <a:pt x="2114053" y="2571"/>
                </a:cubicBezTo>
                <a:close/>
                <a:moveTo>
                  <a:pt x="1700475" y="2571"/>
                </a:moveTo>
                <a:cubicBezTo>
                  <a:pt x="1719964" y="2756"/>
                  <a:pt x="1735377" y="5875"/>
                  <a:pt x="1746713" y="11929"/>
                </a:cubicBezTo>
                <a:cubicBezTo>
                  <a:pt x="1758049" y="17983"/>
                  <a:pt x="1766115" y="25864"/>
                  <a:pt x="1770910" y="35571"/>
                </a:cubicBezTo>
                <a:cubicBezTo>
                  <a:pt x="1775705" y="45278"/>
                  <a:pt x="1778035" y="55703"/>
                  <a:pt x="1777901" y="66847"/>
                </a:cubicBezTo>
                <a:cubicBezTo>
                  <a:pt x="1777882" y="78358"/>
                  <a:pt x="1775097" y="89002"/>
                  <a:pt x="1769546" y="98779"/>
                </a:cubicBezTo>
                <a:cubicBezTo>
                  <a:pt x="1763995" y="108557"/>
                  <a:pt x="1755793" y="116445"/>
                  <a:pt x="1744939" y="122442"/>
                </a:cubicBezTo>
                <a:cubicBezTo>
                  <a:pt x="1734085" y="128440"/>
                  <a:pt x="1720693" y="131524"/>
                  <a:pt x="1704764" y="131695"/>
                </a:cubicBezTo>
                <a:cubicBezTo>
                  <a:pt x="1701589" y="131712"/>
                  <a:pt x="1697575" y="131677"/>
                  <a:pt x="1692720" y="131588"/>
                </a:cubicBezTo>
                <a:cubicBezTo>
                  <a:pt x="1687865" y="131498"/>
                  <a:pt x="1683207" y="131249"/>
                  <a:pt x="1678746" y="130838"/>
                </a:cubicBezTo>
                <a:lnTo>
                  <a:pt x="1678746" y="203132"/>
                </a:lnTo>
                <a:lnTo>
                  <a:pt x="1643634" y="203132"/>
                </a:lnTo>
                <a:lnTo>
                  <a:pt x="1643634" y="3142"/>
                </a:lnTo>
                <a:cubicBezTo>
                  <a:pt x="1647581" y="3135"/>
                  <a:pt x="1653105" y="3086"/>
                  <a:pt x="1660206" y="2994"/>
                </a:cubicBezTo>
                <a:cubicBezTo>
                  <a:pt x="1667306" y="2903"/>
                  <a:pt x="1674566" y="2811"/>
                  <a:pt x="1681986" y="2719"/>
                </a:cubicBezTo>
                <a:cubicBezTo>
                  <a:pt x="1689406" y="2628"/>
                  <a:pt x="1695569" y="2578"/>
                  <a:pt x="1700475" y="2571"/>
                </a:cubicBezTo>
                <a:close/>
                <a:moveTo>
                  <a:pt x="1466353" y="2571"/>
                </a:moveTo>
                <a:cubicBezTo>
                  <a:pt x="1493256" y="2981"/>
                  <a:pt x="1512173" y="8941"/>
                  <a:pt x="1523104" y="20453"/>
                </a:cubicBezTo>
                <a:cubicBezTo>
                  <a:pt x="1534035" y="31965"/>
                  <a:pt x="1539307" y="46572"/>
                  <a:pt x="1538919" y="64275"/>
                </a:cubicBezTo>
                <a:cubicBezTo>
                  <a:pt x="1538750" y="75674"/>
                  <a:pt x="1536646" y="85272"/>
                  <a:pt x="1532607" y="93067"/>
                </a:cubicBezTo>
                <a:cubicBezTo>
                  <a:pt x="1528567" y="100862"/>
                  <a:pt x="1523608" y="107069"/>
                  <a:pt x="1517729" y="111687"/>
                </a:cubicBezTo>
                <a:cubicBezTo>
                  <a:pt x="1511850" y="116305"/>
                  <a:pt x="1506066" y="119548"/>
                  <a:pt x="1500377" y="121415"/>
                </a:cubicBezTo>
                <a:lnTo>
                  <a:pt x="1562922" y="203132"/>
                </a:lnTo>
                <a:lnTo>
                  <a:pt x="1520363" y="203132"/>
                </a:lnTo>
                <a:lnTo>
                  <a:pt x="1465209" y="128266"/>
                </a:lnTo>
                <a:lnTo>
                  <a:pt x="1440621" y="128266"/>
                </a:lnTo>
                <a:lnTo>
                  <a:pt x="1440621" y="203132"/>
                </a:lnTo>
                <a:lnTo>
                  <a:pt x="1405509" y="203132"/>
                </a:lnTo>
                <a:lnTo>
                  <a:pt x="1405509" y="3142"/>
                </a:lnTo>
                <a:cubicBezTo>
                  <a:pt x="1409659" y="3135"/>
                  <a:pt x="1416143" y="3086"/>
                  <a:pt x="1424961" y="2994"/>
                </a:cubicBezTo>
                <a:cubicBezTo>
                  <a:pt x="1433778" y="2903"/>
                  <a:pt x="1442295" y="2811"/>
                  <a:pt x="1450511" y="2719"/>
                </a:cubicBezTo>
                <a:cubicBezTo>
                  <a:pt x="1458728" y="2628"/>
                  <a:pt x="1464008" y="2578"/>
                  <a:pt x="1466353" y="2571"/>
                </a:cubicBezTo>
                <a:close/>
                <a:moveTo>
                  <a:pt x="3132945" y="0"/>
                </a:moveTo>
                <a:cubicBezTo>
                  <a:pt x="3152949" y="119"/>
                  <a:pt x="3170768" y="4417"/>
                  <a:pt x="3186404" y="12892"/>
                </a:cubicBezTo>
                <a:cubicBezTo>
                  <a:pt x="3202039" y="21368"/>
                  <a:pt x="3214372" y="33306"/>
                  <a:pt x="3223402" y="48705"/>
                </a:cubicBezTo>
                <a:cubicBezTo>
                  <a:pt x="3232432" y="64104"/>
                  <a:pt x="3237040" y="82248"/>
                  <a:pt x="3237227" y="103137"/>
                </a:cubicBezTo>
                <a:cubicBezTo>
                  <a:pt x="3237040" y="123307"/>
                  <a:pt x="3232432" y="141112"/>
                  <a:pt x="3223402" y="156554"/>
                </a:cubicBezTo>
                <a:cubicBezTo>
                  <a:pt x="3214372" y="171995"/>
                  <a:pt x="3202039" y="184102"/>
                  <a:pt x="3186404" y="192874"/>
                </a:cubicBezTo>
                <a:cubicBezTo>
                  <a:pt x="3170768" y="201647"/>
                  <a:pt x="3152949" y="206114"/>
                  <a:pt x="3132945" y="206275"/>
                </a:cubicBezTo>
                <a:cubicBezTo>
                  <a:pt x="3112945" y="206156"/>
                  <a:pt x="3095150" y="201858"/>
                  <a:pt x="3079561" y="193382"/>
                </a:cubicBezTo>
                <a:cubicBezTo>
                  <a:pt x="3063971" y="184907"/>
                  <a:pt x="3051684" y="172969"/>
                  <a:pt x="3042700" y="157570"/>
                </a:cubicBezTo>
                <a:cubicBezTo>
                  <a:pt x="3033717" y="142171"/>
                  <a:pt x="3029134" y="124026"/>
                  <a:pt x="3028950" y="103137"/>
                </a:cubicBezTo>
                <a:cubicBezTo>
                  <a:pt x="3029096" y="83598"/>
                  <a:pt x="3033532" y="66089"/>
                  <a:pt x="3042256" y="50610"/>
                </a:cubicBezTo>
                <a:cubicBezTo>
                  <a:pt x="3050980" y="35132"/>
                  <a:pt x="3063119" y="22877"/>
                  <a:pt x="3078671" y="13845"/>
                </a:cubicBezTo>
                <a:cubicBezTo>
                  <a:pt x="3094224" y="4814"/>
                  <a:pt x="3112315" y="198"/>
                  <a:pt x="3132945" y="0"/>
                </a:cubicBezTo>
                <a:close/>
                <a:moveTo>
                  <a:pt x="2647170" y="0"/>
                </a:moveTo>
                <a:cubicBezTo>
                  <a:pt x="2667174" y="119"/>
                  <a:pt x="2684993" y="4417"/>
                  <a:pt x="2700629" y="12892"/>
                </a:cubicBezTo>
                <a:cubicBezTo>
                  <a:pt x="2716264" y="21368"/>
                  <a:pt x="2728597" y="33306"/>
                  <a:pt x="2737627" y="48705"/>
                </a:cubicBezTo>
                <a:cubicBezTo>
                  <a:pt x="2746657" y="64104"/>
                  <a:pt x="2751265" y="82248"/>
                  <a:pt x="2751452" y="103137"/>
                </a:cubicBezTo>
                <a:cubicBezTo>
                  <a:pt x="2751265" y="123307"/>
                  <a:pt x="2746657" y="141112"/>
                  <a:pt x="2737627" y="156554"/>
                </a:cubicBezTo>
                <a:cubicBezTo>
                  <a:pt x="2728597" y="171995"/>
                  <a:pt x="2716264" y="184102"/>
                  <a:pt x="2700629" y="192874"/>
                </a:cubicBezTo>
                <a:cubicBezTo>
                  <a:pt x="2684993" y="201647"/>
                  <a:pt x="2667174" y="206114"/>
                  <a:pt x="2647170" y="206275"/>
                </a:cubicBezTo>
                <a:cubicBezTo>
                  <a:pt x="2627170" y="206156"/>
                  <a:pt x="2609375" y="201858"/>
                  <a:pt x="2593786" y="193382"/>
                </a:cubicBezTo>
                <a:cubicBezTo>
                  <a:pt x="2578196" y="184907"/>
                  <a:pt x="2565909" y="172969"/>
                  <a:pt x="2556925" y="157570"/>
                </a:cubicBezTo>
                <a:cubicBezTo>
                  <a:pt x="2547942" y="142171"/>
                  <a:pt x="2543358" y="124026"/>
                  <a:pt x="2543175" y="103137"/>
                </a:cubicBezTo>
                <a:cubicBezTo>
                  <a:pt x="2543321" y="83598"/>
                  <a:pt x="2547756" y="66089"/>
                  <a:pt x="2556481" y="50610"/>
                </a:cubicBezTo>
                <a:cubicBezTo>
                  <a:pt x="2565205" y="35132"/>
                  <a:pt x="2577344" y="22877"/>
                  <a:pt x="2592896" y="13845"/>
                </a:cubicBezTo>
                <a:cubicBezTo>
                  <a:pt x="2608449" y="4814"/>
                  <a:pt x="2626540" y="198"/>
                  <a:pt x="2647170" y="0"/>
                </a:cubicBezTo>
                <a:close/>
                <a:moveTo>
                  <a:pt x="1904220" y="0"/>
                </a:moveTo>
                <a:cubicBezTo>
                  <a:pt x="1924224" y="119"/>
                  <a:pt x="1942043" y="4417"/>
                  <a:pt x="1957679" y="12892"/>
                </a:cubicBezTo>
                <a:cubicBezTo>
                  <a:pt x="1973314" y="21368"/>
                  <a:pt x="1985647" y="33306"/>
                  <a:pt x="1994677" y="48705"/>
                </a:cubicBezTo>
                <a:cubicBezTo>
                  <a:pt x="2003707" y="64104"/>
                  <a:pt x="2008315" y="82248"/>
                  <a:pt x="2008501" y="103137"/>
                </a:cubicBezTo>
                <a:cubicBezTo>
                  <a:pt x="2008315" y="123307"/>
                  <a:pt x="2003707" y="141112"/>
                  <a:pt x="1994677" y="156554"/>
                </a:cubicBezTo>
                <a:cubicBezTo>
                  <a:pt x="1985647" y="171995"/>
                  <a:pt x="1973314" y="184102"/>
                  <a:pt x="1957679" y="192874"/>
                </a:cubicBezTo>
                <a:cubicBezTo>
                  <a:pt x="1942043" y="201647"/>
                  <a:pt x="1924224" y="206114"/>
                  <a:pt x="1904220" y="206275"/>
                </a:cubicBezTo>
                <a:cubicBezTo>
                  <a:pt x="1884220" y="206156"/>
                  <a:pt x="1866425" y="201858"/>
                  <a:pt x="1850836" y="193382"/>
                </a:cubicBezTo>
                <a:cubicBezTo>
                  <a:pt x="1835246" y="184907"/>
                  <a:pt x="1822959" y="172969"/>
                  <a:pt x="1813976" y="157570"/>
                </a:cubicBezTo>
                <a:cubicBezTo>
                  <a:pt x="1804992" y="142171"/>
                  <a:pt x="1800408" y="124026"/>
                  <a:pt x="1800225" y="103137"/>
                </a:cubicBezTo>
                <a:cubicBezTo>
                  <a:pt x="1800371" y="83598"/>
                  <a:pt x="1804806" y="66089"/>
                  <a:pt x="1813531" y="50610"/>
                </a:cubicBezTo>
                <a:cubicBezTo>
                  <a:pt x="1822255" y="35132"/>
                  <a:pt x="1834394" y="22877"/>
                  <a:pt x="1849946" y="13845"/>
                </a:cubicBezTo>
                <a:cubicBezTo>
                  <a:pt x="1865499" y="4814"/>
                  <a:pt x="1883590" y="198"/>
                  <a:pt x="1904220" y="0"/>
                </a:cubicBezTo>
                <a:close/>
                <a:moveTo>
                  <a:pt x="837420" y="0"/>
                </a:moveTo>
                <a:cubicBezTo>
                  <a:pt x="857424" y="119"/>
                  <a:pt x="875243" y="4417"/>
                  <a:pt x="890879" y="12892"/>
                </a:cubicBezTo>
                <a:cubicBezTo>
                  <a:pt x="906514" y="21368"/>
                  <a:pt x="918847" y="33306"/>
                  <a:pt x="927877" y="48705"/>
                </a:cubicBezTo>
                <a:cubicBezTo>
                  <a:pt x="936907" y="64104"/>
                  <a:pt x="941515" y="82248"/>
                  <a:pt x="941701" y="103137"/>
                </a:cubicBezTo>
                <a:cubicBezTo>
                  <a:pt x="941515" y="123307"/>
                  <a:pt x="936907" y="141112"/>
                  <a:pt x="927877" y="156554"/>
                </a:cubicBezTo>
                <a:cubicBezTo>
                  <a:pt x="918847" y="171995"/>
                  <a:pt x="906514" y="184102"/>
                  <a:pt x="890879" y="192874"/>
                </a:cubicBezTo>
                <a:cubicBezTo>
                  <a:pt x="875243" y="201647"/>
                  <a:pt x="857424" y="206114"/>
                  <a:pt x="837420" y="206275"/>
                </a:cubicBezTo>
                <a:cubicBezTo>
                  <a:pt x="817420" y="206156"/>
                  <a:pt x="799625" y="201858"/>
                  <a:pt x="784036" y="193382"/>
                </a:cubicBezTo>
                <a:cubicBezTo>
                  <a:pt x="768446" y="184907"/>
                  <a:pt x="756159" y="172969"/>
                  <a:pt x="747175" y="157570"/>
                </a:cubicBezTo>
                <a:cubicBezTo>
                  <a:pt x="738192" y="142171"/>
                  <a:pt x="733608" y="124026"/>
                  <a:pt x="733425" y="103137"/>
                </a:cubicBezTo>
                <a:cubicBezTo>
                  <a:pt x="733571" y="83598"/>
                  <a:pt x="738006" y="66089"/>
                  <a:pt x="746731" y="50610"/>
                </a:cubicBezTo>
                <a:cubicBezTo>
                  <a:pt x="755455" y="35132"/>
                  <a:pt x="767594" y="22877"/>
                  <a:pt x="783146" y="13845"/>
                </a:cubicBezTo>
                <a:cubicBezTo>
                  <a:pt x="798699" y="4814"/>
                  <a:pt x="816790" y="198"/>
                  <a:pt x="837420" y="0"/>
                </a:cubicBezTo>
                <a:close/>
                <a:moveTo>
                  <a:pt x="476422" y="0"/>
                </a:moveTo>
                <a:cubicBezTo>
                  <a:pt x="488812" y="71"/>
                  <a:pt x="499911" y="1998"/>
                  <a:pt x="509718" y="5780"/>
                </a:cubicBezTo>
                <a:cubicBezTo>
                  <a:pt x="519525" y="9562"/>
                  <a:pt x="527474" y="14771"/>
                  <a:pt x="533563" y="21408"/>
                </a:cubicBezTo>
                <a:lnTo>
                  <a:pt x="514722" y="47687"/>
                </a:lnTo>
                <a:cubicBezTo>
                  <a:pt x="509999" y="42941"/>
                  <a:pt x="504881" y="39285"/>
                  <a:pt x="499367" y="36719"/>
                </a:cubicBezTo>
                <a:cubicBezTo>
                  <a:pt x="493852" y="34153"/>
                  <a:pt x="487157" y="32855"/>
                  <a:pt x="479281" y="32825"/>
                </a:cubicBezTo>
                <a:cubicBezTo>
                  <a:pt x="470483" y="32920"/>
                  <a:pt x="463632" y="34945"/>
                  <a:pt x="458729" y="38899"/>
                </a:cubicBezTo>
                <a:cubicBezTo>
                  <a:pt x="453827" y="42852"/>
                  <a:pt x="451337" y="48164"/>
                  <a:pt x="451259" y="54833"/>
                </a:cubicBezTo>
                <a:cubicBezTo>
                  <a:pt x="451731" y="64844"/>
                  <a:pt x="456449" y="72493"/>
                  <a:pt x="465413" y="77779"/>
                </a:cubicBezTo>
                <a:cubicBezTo>
                  <a:pt x="474377" y="83065"/>
                  <a:pt x="484756" y="88088"/>
                  <a:pt x="496551" y="92847"/>
                </a:cubicBezTo>
                <a:cubicBezTo>
                  <a:pt x="508345" y="97607"/>
                  <a:pt x="518724" y="104202"/>
                  <a:pt x="527688" y="112632"/>
                </a:cubicBezTo>
                <a:cubicBezTo>
                  <a:pt x="536652" y="121062"/>
                  <a:pt x="541370" y="133427"/>
                  <a:pt x="541842" y="149726"/>
                </a:cubicBezTo>
                <a:cubicBezTo>
                  <a:pt x="541397" y="166832"/>
                  <a:pt x="534936" y="180471"/>
                  <a:pt x="522459" y="190644"/>
                </a:cubicBezTo>
                <a:cubicBezTo>
                  <a:pt x="509982" y="200816"/>
                  <a:pt x="494160" y="206026"/>
                  <a:pt x="474992" y="206275"/>
                </a:cubicBezTo>
                <a:cubicBezTo>
                  <a:pt x="466264" y="206263"/>
                  <a:pt x="457518" y="205051"/>
                  <a:pt x="448754" y="202639"/>
                </a:cubicBezTo>
                <a:cubicBezTo>
                  <a:pt x="439990" y="200227"/>
                  <a:pt x="432117" y="196688"/>
                  <a:pt x="425133" y="192025"/>
                </a:cubicBezTo>
                <a:cubicBezTo>
                  <a:pt x="418149" y="187361"/>
                  <a:pt x="412964" y="181645"/>
                  <a:pt x="409575" y="174877"/>
                </a:cubicBezTo>
                <a:lnTo>
                  <a:pt x="429563" y="150870"/>
                </a:lnTo>
                <a:cubicBezTo>
                  <a:pt x="435635" y="158438"/>
                  <a:pt x="442835" y="164095"/>
                  <a:pt x="451162" y="167841"/>
                </a:cubicBezTo>
                <a:cubicBezTo>
                  <a:pt x="459490" y="171586"/>
                  <a:pt x="467624" y="173456"/>
                  <a:pt x="475564" y="173450"/>
                </a:cubicBezTo>
                <a:cubicBezTo>
                  <a:pt x="484035" y="173420"/>
                  <a:pt x="490969" y="171407"/>
                  <a:pt x="496366" y="167412"/>
                </a:cubicBezTo>
                <a:cubicBezTo>
                  <a:pt x="501763" y="163416"/>
                  <a:pt x="504551" y="157616"/>
                  <a:pt x="504730" y="150012"/>
                </a:cubicBezTo>
                <a:cubicBezTo>
                  <a:pt x="504258" y="140474"/>
                  <a:pt x="499540" y="133040"/>
                  <a:pt x="490576" y="127709"/>
                </a:cubicBezTo>
                <a:cubicBezTo>
                  <a:pt x="481613" y="122378"/>
                  <a:pt x="471233" y="117212"/>
                  <a:pt x="459439" y="112212"/>
                </a:cubicBezTo>
                <a:cubicBezTo>
                  <a:pt x="447644" y="107212"/>
                  <a:pt x="437265" y="100438"/>
                  <a:pt x="428301" y="91892"/>
                </a:cubicBezTo>
                <a:cubicBezTo>
                  <a:pt x="419337" y="83345"/>
                  <a:pt x="414619" y="71088"/>
                  <a:pt x="414147" y="55119"/>
                </a:cubicBezTo>
                <a:cubicBezTo>
                  <a:pt x="414313" y="39697"/>
                  <a:pt x="419834" y="26760"/>
                  <a:pt x="430710" y="16309"/>
                </a:cubicBezTo>
                <a:cubicBezTo>
                  <a:pt x="441586" y="5858"/>
                  <a:pt x="456823" y="421"/>
                  <a:pt x="476422" y="0"/>
                </a:cubicBezTo>
                <a:close/>
                <a:moveTo>
                  <a:pt x="102263" y="0"/>
                </a:moveTo>
                <a:cubicBezTo>
                  <a:pt x="115354" y="95"/>
                  <a:pt x="127106" y="1974"/>
                  <a:pt x="137518" y="5637"/>
                </a:cubicBezTo>
                <a:cubicBezTo>
                  <a:pt x="147930" y="9300"/>
                  <a:pt x="156466" y="14176"/>
                  <a:pt x="163128" y="20266"/>
                </a:cubicBezTo>
                <a:lnTo>
                  <a:pt x="147412" y="46258"/>
                </a:lnTo>
                <a:cubicBezTo>
                  <a:pt x="141530" y="42197"/>
                  <a:pt x="135005" y="38958"/>
                  <a:pt x="127838" y="36540"/>
                </a:cubicBezTo>
                <a:cubicBezTo>
                  <a:pt x="120670" y="34123"/>
                  <a:pt x="112145" y="32885"/>
                  <a:pt x="102263" y="32825"/>
                </a:cubicBezTo>
                <a:cubicBezTo>
                  <a:pt x="83296" y="33039"/>
                  <a:pt x="67795" y="39328"/>
                  <a:pt x="55757" y="51689"/>
                </a:cubicBezTo>
                <a:cubicBezTo>
                  <a:pt x="43720" y="64051"/>
                  <a:pt x="37505" y="81200"/>
                  <a:pt x="37112" y="103137"/>
                </a:cubicBezTo>
                <a:cubicBezTo>
                  <a:pt x="37440" y="124324"/>
                  <a:pt x="43857" y="141259"/>
                  <a:pt x="56364" y="153942"/>
                </a:cubicBezTo>
                <a:cubicBezTo>
                  <a:pt x="68872" y="166626"/>
                  <a:pt x="85505" y="173128"/>
                  <a:pt x="106264" y="173450"/>
                </a:cubicBezTo>
                <a:cubicBezTo>
                  <a:pt x="114759" y="173444"/>
                  <a:pt x="123057" y="172098"/>
                  <a:pt x="131160" y="169413"/>
                </a:cubicBezTo>
                <a:cubicBezTo>
                  <a:pt x="139262" y="166727"/>
                  <a:pt x="146775" y="162737"/>
                  <a:pt x="153698" y="157444"/>
                </a:cubicBezTo>
                <a:lnTo>
                  <a:pt x="167128" y="183726"/>
                </a:lnTo>
                <a:cubicBezTo>
                  <a:pt x="160586" y="190535"/>
                  <a:pt x="151597" y="195970"/>
                  <a:pt x="140161" y="200031"/>
                </a:cubicBezTo>
                <a:cubicBezTo>
                  <a:pt x="128725" y="204093"/>
                  <a:pt x="116378" y="206174"/>
                  <a:pt x="103120" y="206275"/>
                </a:cubicBezTo>
                <a:cubicBezTo>
                  <a:pt x="72070" y="205872"/>
                  <a:pt x="47240" y="196471"/>
                  <a:pt x="28629" y="178072"/>
                </a:cubicBezTo>
                <a:cubicBezTo>
                  <a:pt x="10018" y="159673"/>
                  <a:pt x="475" y="134695"/>
                  <a:pt x="0" y="103137"/>
                </a:cubicBezTo>
                <a:cubicBezTo>
                  <a:pt x="40" y="83778"/>
                  <a:pt x="3989" y="66353"/>
                  <a:pt x="11845" y="50864"/>
                </a:cubicBezTo>
                <a:cubicBezTo>
                  <a:pt x="19701" y="35375"/>
                  <a:pt x="31224" y="23078"/>
                  <a:pt x="46414" y="13972"/>
                </a:cubicBezTo>
                <a:cubicBezTo>
                  <a:pt x="61604" y="4867"/>
                  <a:pt x="80221" y="209"/>
                  <a:pt x="102263" y="0"/>
                </a:cubicBez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uk-UA"/>
          </a:p>
        </p:txBody>
      </p:sp>
      <p:pic>
        <p:nvPicPr>
          <p:cNvPr id="116" name="Рисунок 115">
            <a:extLst>
              <a:ext uri="{FF2B5EF4-FFF2-40B4-BE49-F238E27FC236}">
                <a16:creationId xmlns:a16="http://schemas.microsoft.com/office/drawing/2014/main" id="{1206CE94-D4BF-8ACF-ACA4-8753E9051C10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3101" t="2626" r="9335" b="11021"/>
          <a:stretch/>
        </p:blipFill>
        <p:spPr>
          <a:xfrm>
            <a:off x="5030215" y="870100"/>
            <a:ext cx="4283597" cy="3006888"/>
          </a:xfrm>
          <a:prstGeom prst="rect">
            <a:avLst/>
          </a:prstGeom>
          <a:ln w="22225">
            <a:solidFill>
              <a:srgbClr val="00A1DF"/>
            </a:solidFill>
          </a:ln>
        </p:spPr>
      </p:pic>
      <p:grpSp>
        <p:nvGrpSpPr>
          <p:cNvPr id="443" name="Групувати 442">
            <a:extLst>
              <a:ext uri="{FF2B5EF4-FFF2-40B4-BE49-F238E27FC236}">
                <a16:creationId xmlns:a16="http://schemas.microsoft.com/office/drawing/2014/main" id="{1797DF56-1ABF-8CEA-D4DE-A1EDABB6CD69}"/>
              </a:ext>
            </a:extLst>
          </p:cNvPr>
          <p:cNvGrpSpPr/>
          <p:nvPr/>
        </p:nvGrpSpPr>
        <p:grpSpPr>
          <a:xfrm>
            <a:off x="9566742" y="1655439"/>
            <a:ext cx="2431386" cy="3829352"/>
            <a:chOff x="9139027" y="2033073"/>
            <a:chExt cx="2431386" cy="3829352"/>
          </a:xfrm>
        </p:grpSpPr>
        <p:grpSp>
          <p:nvGrpSpPr>
            <p:cNvPr id="37" name="Групувати 36">
              <a:extLst>
                <a:ext uri="{FF2B5EF4-FFF2-40B4-BE49-F238E27FC236}">
                  <a16:creationId xmlns:a16="http://schemas.microsoft.com/office/drawing/2014/main" id="{608197C7-507B-0CFD-75F6-6702D2461531}"/>
                </a:ext>
              </a:extLst>
            </p:cNvPr>
            <p:cNvGrpSpPr/>
            <p:nvPr/>
          </p:nvGrpSpPr>
          <p:grpSpPr>
            <a:xfrm>
              <a:off x="9255173" y="4195653"/>
              <a:ext cx="2077729" cy="653287"/>
              <a:chOff x="405177" y="2172689"/>
              <a:chExt cx="2611671" cy="821170"/>
            </a:xfrm>
          </p:grpSpPr>
          <p:sp>
            <p:nvSpPr>
              <p:cNvPr id="38" name="object 20">
                <a:extLst>
                  <a:ext uri="{FF2B5EF4-FFF2-40B4-BE49-F238E27FC236}">
                    <a16:creationId xmlns:a16="http://schemas.microsoft.com/office/drawing/2014/main" id="{42D34A3D-D36D-8033-10C8-C1E29B005FB6}"/>
                  </a:ext>
                </a:extLst>
              </p:cNvPr>
              <p:cNvSpPr/>
              <p:nvPr/>
            </p:nvSpPr>
            <p:spPr>
              <a:xfrm>
                <a:off x="405177" y="2172689"/>
                <a:ext cx="1059764" cy="82117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3819" b="1" spc="-1" dirty="0">
                    <a:solidFill>
                      <a:schemeClr val="tx1">
                        <a:lumMod val="85000"/>
                        <a:lumOff val="15000"/>
                        <a:alpha val="73000"/>
                      </a:schemeClr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32</a:t>
                </a:r>
                <a:endParaRPr lang="ru-RU" sz="2744" spc="-1" dirty="0">
                  <a:solidFill>
                    <a:schemeClr val="tx1">
                      <a:lumMod val="85000"/>
                      <a:lumOff val="15000"/>
                      <a:alpha val="73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object 20">
                <a:extLst>
                  <a:ext uri="{FF2B5EF4-FFF2-40B4-BE49-F238E27FC236}">
                    <a16:creationId xmlns:a16="http://schemas.microsoft.com/office/drawing/2014/main" id="{DEEC645E-14BE-A0F6-F688-8C4059818862}"/>
                  </a:ext>
                </a:extLst>
              </p:cNvPr>
              <p:cNvSpPr/>
              <p:nvPr/>
            </p:nvSpPr>
            <p:spPr>
              <a:xfrm>
                <a:off x="1251278" y="2494528"/>
                <a:ext cx="1765570" cy="391906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64927" tIns="32464" rIns="64927" bIns="32464" anchor="t">
                <a:spAutoFit/>
              </a:bodyPr>
              <a:lstStyle/>
              <a:p>
                <a:r>
                  <a:rPr lang="en-US" sz="1600" b="1" spc="-1" dirty="0">
                    <a:solidFill>
                      <a:srgbClr val="47A3E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UNTRIES</a:t>
                </a:r>
                <a:endParaRPr lang="ru-RU" sz="1600" b="1" spc="-1" dirty="0">
                  <a:solidFill>
                    <a:srgbClr val="47A3E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32" name="Групувати 431">
              <a:extLst>
                <a:ext uri="{FF2B5EF4-FFF2-40B4-BE49-F238E27FC236}">
                  <a16:creationId xmlns:a16="http://schemas.microsoft.com/office/drawing/2014/main" id="{2EC77D15-C4E4-2B67-3630-CD49972F4656}"/>
                </a:ext>
              </a:extLst>
            </p:cNvPr>
            <p:cNvGrpSpPr/>
            <p:nvPr/>
          </p:nvGrpSpPr>
          <p:grpSpPr>
            <a:xfrm>
              <a:off x="9283507" y="5209139"/>
              <a:ext cx="2286906" cy="653286"/>
              <a:chOff x="9712943" y="5698932"/>
              <a:chExt cx="2286906" cy="653286"/>
            </a:xfrm>
          </p:grpSpPr>
          <p:sp>
            <p:nvSpPr>
              <p:cNvPr id="49" name="object 28">
                <a:extLst>
                  <a:ext uri="{FF2B5EF4-FFF2-40B4-BE49-F238E27FC236}">
                    <a16:creationId xmlns:a16="http://schemas.microsoft.com/office/drawing/2014/main" id="{DEE269AF-28EC-BAFF-1BA4-E8514413232F}"/>
                  </a:ext>
                </a:extLst>
              </p:cNvPr>
              <p:cNvSpPr/>
              <p:nvPr/>
            </p:nvSpPr>
            <p:spPr>
              <a:xfrm>
                <a:off x="9712943" y="5698932"/>
                <a:ext cx="1831460" cy="653286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en-US" sz="3819" b="1" spc="-1" dirty="0">
                    <a:solidFill>
                      <a:srgbClr val="5D5C5C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3.3</a:t>
                </a:r>
                <a:endParaRPr lang="ru-RU" sz="2744" spc="-1" dirty="0">
                  <a:solidFill>
                    <a:srgbClr val="5D5C5C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object 8">
                <a:extLst>
                  <a:ext uri="{FF2B5EF4-FFF2-40B4-BE49-F238E27FC236}">
                    <a16:creationId xmlns:a16="http://schemas.microsoft.com/office/drawing/2014/main" id="{BC00BB61-241B-B805-490F-F66E4835BB44}"/>
                  </a:ext>
                </a:extLst>
              </p:cNvPr>
              <p:cNvSpPr/>
              <p:nvPr/>
            </p:nvSpPr>
            <p:spPr>
              <a:xfrm rot="16200000">
                <a:off x="10322617" y="5924936"/>
                <a:ext cx="495828" cy="250228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en-US" sz="1200" spc="-1" dirty="0">
                    <a:solidFill>
                      <a:srgbClr val="5D5C5C"/>
                    </a:solidFill>
                    <a:latin typeface="Arial Black"/>
                    <a:ea typeface="DejaVu Sans"/>
                  </a:rPr>
                  <a:t>bcm</a:t>
                </a:r>
                <a:endParaRPr lang="ru-RU" sz="1200" spc="-1" dirty="0">
                  <a:solidFill>
                    <a:srgbClr val="5D5C5C"/>
                  </a:solidFill>
                  <a:latin typeface="Arial"/>
                </a:endParaRPr>
              </a:p>
            </p:txBody>
          </p:sp>
          <p:sp>
            <p:nvSpPr>
              <p:cNvPr id="51" name="object 59">
                <a:extLst>
                  <a:ext uri="{FF2B5EF4-FFF2-40B4-BE49-F238E27FC236}">
                    <a16:creationId xmlns:a16="http://schemas.microsoft.com/office/drawing/2014/main" id="{44BF3F9C-B49B-CF15-3312-64FE22BD8037}"/>
                  </a:ext>
                </a:extLst>
              </p:cNvPr>
              <p:cNvSpPr/>
              <p:nvPr/>
            </p:nvSpPr>
            <p:spPr>
              <a:xfrm>
                <a:off x="10777884" y="5850503"/>
                <a:ext cx="1221965" cy="351044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0" tIns="8051" rIns="0" bIns="0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en-US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jected in CWR</a:t>
                </a:r>
                <a:endParaRPr lang="ru-RU" sz="1114" spc="-1" dirty="0">
                  <a:solidFill>
                    <a:srgbClr val="7ABDE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lnSpc>
                    <a:spcPct val="100000"/>
                  </a:lnSpc>
                </a:pPr>
                <a:r>
                  <a:rPr lang="en-US" sz="1114" b="1" spc="-1" dirty="0">
                    <a:solidFill>
                      <a:srgbClr val="47A3E1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in 2023</a:t>
                </a:r>
                <a:endParaRPr lang="ru-RU" sz="1114" spc="-1" dirty="0">
                  <a:solidFill>
                    <a:srgbClr val="47A3E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31" name="Групувати 430">
              <a:extLst>
                <a:ext uri="{FF2B5EF4-FFF2-40B4-BE49-F238E27FC236}">
                  <a16:creationId xmlns:a16="http://schemas.microsoft.com/office/drawing/2014/main" id="{812439D7-4C37-825F-A087-CD9502533AE4}"/>
                </a:ext>
              </a:extLst>
            </p:cNvPr>
            <p:cNvGrpSpPr/>
            <p:nvPr/>
          </p:nvGrpSpPr>
          <p:grpSpPr>
            <a:xfrm>
              <a:off x="9139027" y="2033073"/>
              <a:ext cx="2323981" cy="1196714"/>
              <a:chOff x="9576298" y="1781819"/>
              <a:chExt cx="2323981" cy="1196714"/>
            </a:xfrm>
          </p:grpSpPr>
          <p:grpSp>
            <p:nvGrpSpPr>
              <p:cNvPr id="76" name="Групувати 75">
                <a:extLst>
                  <a:ext uri="{FF2B5EF4-FFF2-40B4-BE49-F238E27FC236}">
                    <a16:creationId xmlns:a16="http://schemas.microsoft.com/office/drawing/2014/main" id="{41EC9C83-36B3-8AC1-2AB2-23316C8B7681}"/>
                  </a:ext>
                </a:extLst>
              </p:cNvPr>
              <p:cNvGrpSpPr/>
              <p:nvPr/>
            </p:nvGrpSpPr>
            <p:grpSpPr>
              <a:xfrm>
                <a:off x="9576298" y="1781819"/>
                <a:ext cx="2323981" cy="144393"/>
                <a:chOff x="9507472" y="1133860"/>
                <a:chExt cx="2323981" cy="144393"/>
              </a:xfrm>
            </p:grpSpPr>
            <p:sp>
              <p:nvSpPr>
                <p:cNvPr id="8" name="Полілінія: фігура 7">
                  <a:extLst>
                    <a:ext uri="{FF2B5EF4-FFF2-40B4-BE49-F238E27FC236}">
                      <a16:creationId xmlns:a16="http://schemas.microsoft.com/office/drawing/2014/main" id="{C280AC29-3C0E-CDAF-9C0E-4A3C76F3950D}"/>
                    </a:ext>
                  </a:extLst>
                </p:cNvPr>
                <p:cNvSpPr/>
                <p:nvPr/>
              </p:nvSpPr>
              <p:spPr>
                <a:xfrm>
                  <a:off x="9507472" y="1133860"/>
                  <a:ext cx="116990" cy="144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990" h="144393">
                      <a:moveTo>
                        <a:pt x="71584" y="0"/>
                      </a:moveTo>
                      <a:cubicBezTo>
                        <a:pt x="80748" y="66"/>
                        <a:pt x="88974" y="1382"/>
                        <a:pt x="96262" y="3946"/>
                      </a:cubicBezTo>
                      <a:cubicBezTo>
                        <a:pt x="103551" y="6510"/>
                        <a:pt x="109526" y="9924"/>
                        <a:pt x="114189" y="14186"/>
                      </a:cubicBezTo>
                      <a:lnTo>
                        <a:pt x="103188" y="32381"/>
                      </a:lnTo>
                      <a:cubicBezTo>
                        <a:pt x="99071" y="29538"/>
                        <a:pt x="94504" y="27271"/>
                        <a:pt x="89486" y="25578"/>
                      </a:cubicBezTo>
                      <a:cubicBezTo>
                        <a:pt x="84469" y="23886"/>
                        <a:pt x="78502" y="23019"/>
                        <a:pt x="71584" y="22978"/>
                      </a:cubicBezTo>
                      <a:cubicBezTo>
                        <a:pt x="58307" y="23128"/>
                        <a:pt x="47456" y="27529"/>
                        <a:pt x="39030" y="36182"/>
                      </a:cubicBezTo>
                      <a:cubicBezTo>
                        <a:pt x="30604" y="44836"/>
                        <a:pt x="26253" y="56840"/>
                        <a:pt x="25978" y="72196"/>
                      </a:cubicBezTo>
                      <a:cubicBezTo>
                        <a:pt x="26208" y="87027"/>
                        <a:pt x="30700" y="98881"/>
                        <a:pt x="39455" y="107760"/>
                      </a:cubicBezTo>
                      <a:cubicBezTo>
                        <a:pt x="48210" y="116638"/>
                        <a:pt x="59853" y="121190"/>
                        <a:pt x="74384" y="121415"/>
                      </a:cubicBezTo>
                      <a:cubicBezTo>
                        <a:pt x="80331" y="121411"/>
                        <a:pt x="86140" y="120469"/>
                        <a:pt x="91812" y="118589"/>
                      </a:cubicBezTo>
                      <a:cubicBezTo>
                        <a:pt x="97483" y="116709"/>
                        <a:pt x="102742" y="113916"/>
                        <a:pt x="107589" y="110211"/>
                      </a:cubicBezTo>
                      <a:lnTo>
                        <a:pt x="116990" y="128608"/>
                      </a:lnTo>
                      <a:cubicBezTo>
                        <a:pt x="112410" y="133374"/>
                        <a:pt x="106118" y="137179"/>
                        <a:pt x="98112" y="140022"/>
                      </a:cubicBezTo>
                      <a:cubicBezTo>
                        <a:pt x="90107" y="142865"/>
                        <a:pt x="81464" y="144322"/>
                        <a:pt x="72184" y="144393"/>
                      </a:cubicBezTo>
                      <a:cubicBezTo>
                        <a:pt x="50449" y="144111"/>
                        <a:pt x="33068" y="137530"/>
                        <a:pt x="20040" y="124651"/>
                      </a:cubicBezTo>
                      <a:cubicBezTo>
                        <a:pt x="7012" y="111771"/>
                        <a:pt x="332" y="94287"/>
                        <a:pt x="0" y="72196"/>
                      </a:cubicBezTo>
                      <a:cubicBezTo>
                        <a:pt x="28" y="58644"/>
                        <a:pt x="2792" y="46447"/>
                        <a:pt x="8291" y="35605"/>
                      </a:cubicBezTo>
                      <a:cubicBezTo>
                        <a:pt x="13790" y="24763"/>
                        <a:pt x="21857" y="16155"/>
                        <a:pt x="32490" y="9781"/>
                      </a:cubicBezTo>
                      <a:cubicBezTo>
                        <a:pt x="43123" y="3407"/>
                        <a:pt x="56154" y="146"/>
                        <a:pt x="71584" y="0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9" name="Полілінія: фігура 8">
                  <a:extLst>
                    <a:ext uri="{FF2B5EF4-FFF2-40B4-BE49-F238E27FC236}">
                      <a16:creationId xmlns:a16="http://schemas.microsoft.com/office/drawing/2014/main" id="{94661445-7E81-3A48-733A-D8F0A6E959EB}"/>
                    </a:ext>
                  </a:extLst>
                </p:cNvPr>
                <p:cNvSpPr/>
                <p:nvPr/>
              </p:nvSpPr>
              <p:spPr>
                <a:xfrm>
                  <a:off x="9793223" y="1133860"/>
                  <a:ext cx="92587" cy="144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587" h="144393">
                      <a:moveTo>
                        <a:pt x="46793" y="0"/>
                      </a:moveTo>
                      <a:cubicBezTo>
                        <a:pt x="55466" y="50"/>
                        <a:pt x="63235" y="1398"/>
                        <a:pt x="70100" y="4046"/>
                      </a:cubicBezTo>
                      <a:cubicBezTo>
                        <a:pt x="76965" y="6693"/>
                        <a:pt x="82529" y="10340"/>
                        <a:pt x="86792" y="14985"/>
                      </a:cubicBezTo>
                      <a:lnTo>
                        <a:pt x="73603" y="33381"/>
                      </a:lnTo>
                      <a:cubicBezTo>
                        <a:pt x="70297" y="30059"/>
                        <a:pt x="66714" y="27500"/>
                        <a:pt x="62854" y="25703"/>
                      </a:cubicBezTo>
                      <a:cubicBezTo>
                        <a:pt x="58994" y="23907"/>
                        <a:pt x="54307" y="22998"/>
                        <a:pt x="48794" y="22978"/>
                      </a:cubicBezTo>
                      <a:cubicBezTo>
                        <a:pt x="42635" y="23044"/>
                        <a:pt x="37840" y="24461"/>
                        <a:pt x="34408" y="27229"/>
                      </a:cubicBezTo>
                      <a:cubicBezTo>
                        <a:pt x="30976" y="29997"/>
                        <a:pt x="29233" y="33715"/>
                        <a:pt x="29179" y="38383"/>
                      </a:cubicBezTo>
                      <a:cubicBezTo>
                        <a:pt x="29509" y="45391"/>
                        <a:pt x="32812" y="50745"/>
                        <a:pt x="39086" y="54445"/>
                      </a:cubicBezTo>
                      <a:cubicBezTo>
                        <a:pt x="45361" y="58146"/>
                        <a:pt x="52626" y="61662"/>
                        <a:pt x="60883" y="64993"/>
                      </a:cubicBezTo>
                      <a:cubicBezTo>
                        <a:pt x="69139" y="68325"/>
                        <a:pt x="76404" y="72941"/>
                        <a:pt x="82679" y="78842"/>
                      </a:cubicBezTo>
                      <a:cubicBezTo>
                        <a:pt x="88954" y="84744"/>
                        <a:pt x="92256" y="93399"/>
                        <a:pt x="92587" y="104809"/>
                      </a:cubicBezTo>
                      <a:cubicBezTo>
                        <a:pt x="92275" y="116783"/>
                        <a:pt x="87753" y="126330"/>
                        <a:pt x="79019" y="133451"/>
                      </a:cubicBezTo>
                      <a:cubicBezTo>
                        <a:pt x="70285" y="140571"/>
                        <a:pt x="59210" y="144218"/>
                        <a:pt x="45792" y="144393"/>
                      </a:cubicBezTo>
                      <a:cubicBezTo>
                        <a:pt x="39682" y="144384"/>
                        <a:pt x="33560" y="143536"/>
                        <a:pt x="27425" y="141847"/>
                      </a:cubicBezTo>
                      <a:cubicBezTo>
                        <a:pt x="21291" y="140159"/>
                        <a:pt x="15779" y="137682"/>
                        <a:pt x="10890" y="134417"/>
                      </a:cubicBezTo>
                      <a:cubicBezTo>
                        <a:pt x="6002" y="131152"/>
                        <a:pt x="2372" y="127151"/>
                        <a:pt x="0" y="122414"/>
                      </a:cubicBezTo>
                      <a:lnTo>
                        <a:pt x="13992" y="105609"/>
                      </a:lnTo>
                      <a:cubicBezTo>
                        <a:pt x="18242" y="110907"/>
                        <a:pt x="23282" y="114867"/>
                        <a:pt x="29111" y="117488"/>
                      </a:cubicBezTo>
                      <a:cubicBezTo>
                        <a:pt x="34940" y="120110"/>
                        <a:pt x="40634" y="121419"/>
                        <a:pt x="46192" y="121415"/>
                      </a:cubicBezTo>
                      <a:cubicBezTo>
                        <a:pt x="52122" y="121394"/>
                        <a:pt x="56976" y="119985"/>
                        <a:pt x="60754" y="117188"/>
                      </a:cubicBezTo>
                      <a:cubicBezTo>
                        <a:pt x="64532" y="114391"/>
                        <a:pt x="66483" y="110332"/>
                        <a:pt x="66608" y="105009"/>
                      </a:cubicBezTo>
                      <a:cubicBezTo>
                        <a:pt x="66278" y="98332"/>
                        <a:pt x="62976" y="93128"/>
                        <a:pt x="56701" y="89396"/>
                      </a:cubicBezTo>
                      <a:cubicBezTo>
                        <a:pt x="50426" y="85665"/>
                        <a:pt x="43161" y="82049"/>
                        <a:pt x="34904" y="78548"/>
                      </a:cubicBezTo>
                      <a:cubicBezTo>
                        <a:pt x="26648" y="75048"/>
                        <a:pt x="19383" y="70307"/>
                        <a:pt x="13108" y="64324"/>
                      </a:cubicBezTo>
                      <a:cubicBezTo>
                        <a:pt x="6833" y="58342"/>
                        <a:pt x="3531" y="49761"/>
                        <a:pt x="3201" y="38583"/>
                      </a:cubicBezTo>
                      <a:cubicBezTo>
                        <a:pt x="3317" y="27788"/>
                        <a:pt x="7181" y="18732"/>
                        <a:pt x="14794" y="11416"/>
                      </a:cubicBezTo>
                      <a:cubicBezTo>
                        <a:pt x="22408" y="4100"/>
                        <a:pt x="33074" y="295"/>
                        <a:pt x="46793" y="0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0" name="Полілінія: фігура 9">
                  <a:extLst>
                    <a:ext uri="{FF2B5EF4-FFF2-40B4-BE49-F238E27FC236}">
                      <a16:creationId xmlns:a16="http://schemas.microsoft.com/office/drawing/2014/main" id="{A821D2B5-17FC-2D53-B3F8-BDD2A868A2B0}"/>
                    </a:ext>
                  </a:extLst>
                </p:cNvPr>
                <p:cNvSpPr/>
                <p:nvPr/>
              </p:nvSpPr>
              <p:spPr>
                <a:xfrm>
                  <a:off x="10021823" y="1133860"/>
                  <a:ext cx="145793" cy="144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93" h="144393">
                      <a:moveTo>
                        <a:pt x="72796" y="0"/>
                      </a:moveTo>
                      <a:cubicBezTo>
                        <a:pt x="86799" y="83"/>
                        <a:pt x="99273" y="3092"/>
                        <a:pt x="110218" y="9025"/>
                      </a:cubicBezTo>
                      <a:cubicBezTo>
                        <a:pt x="121162" y="14958"/>
                        <a:pt x="129795" y="23314"/>
                        <a:pt x="136116" y="34093"/>
                      </a:cubicBezTo>
                      <a:cubicBezTo>
                        <a:pt x="142437" y="44873"/>
                        <a:pt x="145663" y="57574"/>
                        <a:pt x="145793" y="72196"/>
                      </a:cubicBezTo>
                      <a:cubicBezTo>
                        <a:pt x="145663" y="86315"/>
                        <a:pt x="142437" y="98779"/>
                        <a:pt x="136116" y="109588"/>
                      </a:cubicBezTo>
                      <a:cubicBezTo>
                        <a:pt x="129795" y="120397"/>
                        <a:pt x="121162" y="128871"/>
                        <a:pt x="110218" y="135012"/>
                      </a:cubicBezTo>
                      <a:cubicBezTo>
                        <a:pt x="99273" y="141153"/>
                        <a:pt x="86799" y="144280"/>
                        <a:pt x="72796" y="144393"/>
                      </a:cubicBezTo>
                      <a:cubicBezTo>
                        <a:pt x="58796" y="144309"/>
                        <a:pt x="46340" y="141301"/>
                        <a:pt x="35427" y="135368"/>
                      </a:cubicBezTo>
                      <a:cubicBezTo>
                        <a:pt x="24515" y="129435"/>
                        <a:pt x="15914" y="121078"/>
                        <a:pt x="9625" y="110299"/>
                      </a:cubicBezTo>
                      <a:cubicBezTo>
                        <a:pt x="3337" y="99520"/>
                        <a:pt x="128" y="86819"/>
                        <a:pt x="0" y="72196"/>
                      </a:cubicBezTo>
                      <a:cubicBezTo>
                        <a:pt x="102" y="58518"/>
                        <a:pt x="3207" y="46262"/>
                        <a:pt x="9314" y="35427"/>
                      </a:cubicBezTo>
                      <a:cubicBezTo>
                        <a:pt x="15421" y="24592"/>
                        <a:pt x="23918" y="16014"/>
                        <a:pt x="34805" y="9692"/>
                      </a:cubicBezTo>
                      <a:cubicBezTo>
                        <a:pt x="45692" y="3370"/>
                        <a:pt x="58355" y="139"/>
                        <a:pt x="72796" y="0"/>
                      </a:cubicBezTo>
                      <a:close/>
                      <a:moveTo>
                        <a:pt x="72796" y="22978"/>
                      </a:moveTo>
                      <a:cubicBezTo>
                        <a:pt x="59116" y="23215"/>
                        <a:pt x="47962" y="27792"/>
                        <a:pt x="39334" y="36708"/>
                      </a:cubicBezTo>
                      <a:cubicBezTo>
                        <a:pt x="30705" y="45623"/>
                        <a:pt x="26254" y="57453"/>
                        <a:pt x="25978" y="72196"/>
                      </a:cubicBezTo>
                      <a:cubicBezTo>
                        <a:pt x="26291" y="86502"/>
                        <a:pt x="30818" y="98206"/>
                        <a:pt x="39559" y="107310"/>
                      </a:cubicBezTo>
                      <a:cubicBezTo>
                        <a:pt x="48300" y="116413"/>
                        <a:pt x="59379" y="121115"/>
                        <a:pt x="72796" y="121415"/>
                      </a:cubicBezTo>
                      <a:cubicBezTo>
                        <a:pt x="87623" y="121090"/>
                        <a:pt x="99136" y="116338"/>
                        <a:pt x="107335" y="107159"/>
                      </a:cubicBezTo>
                      <a:cubicBezTo>
                        <a:pt x="115534" y="97981"/>
                        <a:pt x="119694" y="86326"/>
                        <a:pt x="119815" y="72196"/>
                      </a:cubicBezTo>
                      <a:cubicBezTo>
                        <a:pt x="119507" y="57453"/>
                        <a:pt x="114971" y="45623"/>
                        <a:pt x="106210" y="36708"/>
                      </a:cubicBezTo>
                      <a:cubicBezTo>
                        <a:pt x="97448" y="27792"/>
                        <a:pt x="86310" y="23215"/>
                        <a:pt x="72796" y="22978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1" name="Полілінія: фігура 10">
                  <a:extLst>
                    <a:ext uri="{FF2B5EF4-FFF2-40B4-BE49-F238E27FC236}">
                      <a16:creationId xmlns:a16="http://schemas.microsoft.com/office/drawing/2014/main" id="{66ED5B97-5146-D768-8ACF-6B0A926CD514}"/>
                    </a:ext>
                  </a:extLst>
                </p:cNvPr>
                <p:cNvSpPr/>
                <p:nvPr/>
              </p:nvSpPr>
              <p:spPr>
                <a:xfrm>
                  <a:off x="10783823" y="1133860"/>
                  <a:ext cx="145793" cy="144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93" h="144393">
                      <a:moveTo>
                        <a:pt x="72796" y="0"/>
                      </a:moveTo>
                      <a:cubicBezTo>
                        <a:pt x="86799" y="83"/>
                        <a:pt x="99272" y="3092"/>
                        <a:pt x="110218" y="9025"/>
                      </a:cubicBezTo>
                      <a:cubicBezTo>
                        <a:pt x="121162" y="14958"/>
                        <a:pt x="129795" y="23314"/>
                        <a:pt x="136116" y="34093"/>
                      </a:cubicBezTo>
                      <a:cubicBezTo>
                        <a:pt x="142437" y="44873"/>
                        <a:pt x="145663" y="57574"/>
                        <a:pt x="145793" y="72196"/>
                      </a:cubicBezTo>
                      <a:cubicBezTo>
                        <a:pt x="145663" y="86315"/>
                        <a:pt x="142437" y="98779"/>
                        <a:pt x="136116" y="109588"/>
                      </a:cubicBezTo>
                      <a:cubicBezTo>
                        <a:pt x="129795" y="120397"/>
                        <a:pt x="121162" y="128871"/>
                        <a:pt x="110218" y="135012"/>
                      </a:cubicBezTo>
                      <a:cubicBezTo>
                        <a:pt x="99273" y="141153"/>
                        <a:pt x="86799" y="144280"/>
                        <a:pt x="72796" y="144393"/>
                      </a:cubicBezTo>
                      <a:cubicBezTo>
                        <a:pt x="58796" y="144309"/>
                        <a:pt x="46340" y="141301"/>
                        <a:pt x="35427" y="135368"/>
                      </a:cubicBezTo>
                      <a:cubicBezTo>
                        <a:pt x="24515" y="129435"/>
                        <a:pt x="15914" y="121078"/>
                        <a:pt x="9625" y="110299"/>
                      </a:cubicBezTo>
                      <a:cubicBezTo>
                        <a:pt x="3336" y="99520"/>
                        <a:pt x="128" y="86819"/>
                        <a:pt x="0" y="72196"/>
                      </a:cubicBezTo>
                      <a:cubicBezTo>
                        <a:pt x="102" y="58518"/>
                        <a:pt x="3207" y="46262"/>
                        <a:pt x="9314" y="35427"/>
                      </a:cubicBezTo>
                      <a:cubicBezTo>
                        <a:pt x="15421" y="24592"/>
                        <a:pt x="23918" y="16014"/>
                        <a:pt x="34805" y="9692"/>
                      </a:cubicBezTo>
                      <a:cubicBezTo>
                        <a:pt x="45692" y="3370"/>
                        <a:pt x="58355" y="139"/>
                        <a:pt x="72796" y="0"/>
                      </a:cubicBezTo>
                      <a:close/>
                      <a:moveTo>
                        <a:pt x="72796" y="22978"/>
                      </a:moveTo>
                      <a:cubicBezTo>
                        <a:pt x="59116" y="23215"/>
                        <a:pt x="47962" y="27792"/>
                        <a:pt x="39334" y="36708"/>
                      </a:cubicBezTo>
                      <a:cubicBezTo>
                        <a:pt x="30705" y="45623"/>
                        <a:pt x="26254" y="57453"/>
                        <a:pt x="25978" y="72196"/>
                      </a:cubicBezTo>
                      <a:cubicBezTo>
                        <a:pt x="26291" y="86502"/>
                        <a:pt x="30818" y="98206"/>
                        <a:pt x="39559" y="107310"/>
                      </a:cubicBezTo>
                      <a:cubicBezTo>
                        <a:pt x="48300" y="116413"/>
                        <a:pt x="59379" y="121115"/>
                        <a:pt x="72796" y="121415"/>
                      </a:cubicBezTo>
                      <a:cubicBezTo>
                        <a:pt x="87623" y="121090"/>
                        <a:pt x="99136" y="116338"/>
                        <a:pt x="107335" y="107159"/>
                      </a:cubicBezTo>
                      <a:cubicBezTo>
                        <a:pt x="115534" y="97981"/>
                        <a:pt x="119694" y="86326"/>
                        <a:pt x="119815" y="72196"/>
                      </a:cubicBezTo>
                      <a:cubicBezTo>
                        <a:pt x="119507" y="57453"/>
                        <a:pt x="114972" y="45623"/>
                        <a:pt x="106210" y="36708"/>
                      </a:cubicBezTo>
                      <a:cubicBezTo>
                        <a:pt x="97448" y="27792"/>
                        <a:pt x="86310" y="23215"/>
                        <a:pt x="72796" y="22978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2" name="Полілінія: фігура 11">
                  <a:extLst>
                    <a:ext uri="{FF2B5EF4-FFF2-40B4-BE49-F238E27FC236}">
                      <a16:creationId xmlns:a16="http://schemas.microsoft.com/office/drawing/2014/main" id="{4B44FFA9-F7C7-9E7C-1F74-E73A6970D049}"/>
                    </a:ext>
                  </a:extLst>
                </p:cNvPr>
                <p:cNvSpPr/>
                <p:nvPr/>
              </p:nvSpPr>
              <p:spPr>
                <a:xfrm>
                  <a:off x="11298172" y="1133860"/>
                  <a:ext cx="145794" cy="144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94" h="144393">
                      <a:moveTo>
                        <a:pt x="72796" y="0"/>
                      </a:moveTo>
                      <a:cubicBezTo>
                        <a:pt x="86799" y="83"/>
                        <a:pt x="99273" y="3092"/>
                        <a:pt x="110218" y="9025"/>
                      </a:cubicBezTo>
                      <a:cubicBezTo>
                        <a:pt x="121162" y="14958"/>
                        <a:pt x="129795" y="23314"/>
                        <a:pt x="136116" y="34093"/>
                      </a:cubicBezTo>
                      <a:cubicBezTo>
                        <a:pt x="142437" y="44873"/>
                        <a:pt x="145663" y="57574"/>
                        <a:pt x="145794" y="72196"/>
                      </a:cubicBezTo>
                      <a:cubicBezTo>
                        <a:pt x="145663" y="86315"/>
                        <a:pt x="142437" y="98779"/>
                        <a:pt x="136116" y="109588"/>
                      </a:cubicBezTo>
                      <a:cubicBezTo>
                        <a:pt x="129795" y="120397"/>
                        <a:pt x="121162" y="128871"/>
                        <a:pt x="110218" y="135012"/>
                      </a:cubicBezTo>
                      <a:cubicBezTo>
                        <a:pt x="99273" y="141153"/>
                        <a:pt x="86799" y="144280"/>
                        <a:pt x="72796" y="144393"/>
                      </a:cubicBezTo>
                      <a:cubicBezTo>
                        <a:pt x="58796" y="144309"/>
                        <a:pt x="46340" y="141301"/>
                        <a:pt x="35427" y="135368"/>
                      </a:cubicBezTo>
                      <a:cubicBezTo>
                        <a:pt x="24515" y="129435"/>
                        <a:pt x="15914" y="121078"/>
                        <a:pt x="9625" y="110299"/>
                      </a:cubicBezTo>
                      <a:cubicBezTo>
                        <a:pt x="3336" y="99520"/>
                        <a:pt x="128" y="86819"/>
                        <a:pt x="0" y="72196"/>
                      </a:cubicBezTo>
                      <a:cubicBezTo>
                        <a:pt x="102" y="58518"/>
                        <a:pt x="3207" y="46262"/>
                        <a:pt x="9314" y="35427"/>
                      </a:cubicBezTo>
                      <a:cubicBezTo>
                        <a:pt x="15421" y="24592"/>
                        <a:pt x="23918" y="16014"/>
                        <a:pt x="34805" y="9692"/>
                      </a:cubicBezTo>
                      <a:cubicBezTo>
                        <a:pt x="45692" y="3370"/>
                        <a:pt x="58356" y="139"/>
                        <a:pt x="72796" y="0"/>
                      </a:cubicBezTo>
                      <a:close/>
                      <a:moveTo>
                        <a:pt x="72796" y="22978"/>
                      </a:moveTo>
                      <a:cubicBezTo>
                        <a:pt x="59116" y="23215"/>
                        <a:pt x="47962" y="27792"/>
                        <a:pt x="39334" y="36708"/>
                      </a:cubicBezTo>
                      <a:cubicBezTo>
                        <a:pt x="30705" y="45623"/>
                        <a:pt x="26254" y="57453"/>
                        <a:pt x="25978" y="72196"/>
                      </a:cubicBezTo>
                      <a:cubicBezTo>
                        <a:pt x="26291" y="86502"/>
                        <a:pt x="30818" y="98206"/>
                        <a:pt x="39559" y="107310"/>
                      </a:cubicBezTo>
                      <a:cubicBezTo>
                        <a:pt x="48300" y="116413"/>
                        <a:pt x="59379" y="121115"/>
                        <a:pt x="72796" y="121415"/>
                      </a:cubicBezTo>
                      <a:cubicBezTo>
                        <a:pt x="87623" y="121090"/>
                        <a:pt x="99136" y="116338"/>
                        <a:pt x="107335" y="107159"/>
                      </a:cubicBezTo>
                      <a:cubicBezTo>
                        <a:pt x="115534" y="97981"/>
                        <a:pt x="119694" y="86326"/>
                        <a:pt x="119815" y="72196"/>
                      </a:cubicBezTo>
                      <a:cubicBezTo>
                        <a:pt x="119507" y="57453"/>
                        <a:pt x="114972" y="45623"/>
                        <a:pt x="106210" y="36708"/>
                      </a:cubicBezTo>
                      <a:cubicBezTo>
                        <a:pt x="97448" y="27792"/>
                        <a:pt x="86310" y="23215"/>
                        <a:pt x="72796" y="22978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3" name="Полілінія: фігура 12">
                  <a:extLst>
                    <a:ext uri="{FF2B5EF4-FFF2-40B4-BE49-F238E27FC236}">
                      <a16:creationId xmlns:a16="http://schemas.microsoft.com/office/drawing/2014/main" id="{7D9B3171-32E4-C06D-54C8-A4B84B4632EF}"/>
                    </a:ext>
                  </a:extLst>
                </p:cNvPr>
                <p:cNvSpPr/>
                <p:nvPr/>
              </p:nvSpPr>
              <p:spPr>
                <a:xfrm>
                  <a:off x="11631548" y="1133860"/>
                  <a:ext cx="145793" cy="144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93" h="144393">
                      <a:moveTo>
                        <a:pt x="72797" y="0"/>
                      </a:moveTo>
                      <a:cubicBezTo>
                        <a:pt x="86799" y="83"/>
                        <a:pt x="99273" y="3092"/>
                        <a:pt x="110217" y="9025"/>
                      </a:cubicBezTo>
                      <a:cubicBezTo>
                        <a:pt x="121162" y="14958"/>
                        <a:pt x="129795" y="23314"/>
                        <a:pt x="136116" y="34093"/>
                      </a:cubicBezTo>
                      <a:cubicBezTo>
                        <a:pt x="142437" y="44873"/>
                        <a:pt x="145663" y="57574"/>
                        <a:pt x="145793" y="72196"/>
                      </a:cubicBezTo>
                      <a:cubicBezTo>
                        <a:pt x="145663" y="86315"/>
                        <a:pt x="142437" y="98779"/>
                        <a:pt x="136116" y="109588"/>
                      </a:cubicBezTo>
                      <a:cubicBezTo>
                        <a:pt x="129795" y="120397"/>
                        <a:pt x="121162" y="128871"/>
                        <a:pt x="110217" y="135012"/>
                      </a:cubicBezTo>
                      <a:cubicBezTo>
                        <a:pt x="99273" y="141153"/>
                        <a:pt x="86799" y="144280"/>
                        <a:pt x="72797" y="144393"/>
                      </a:cubicBezTo>
                      <a:cubicBezTo>
                        <a:pt x="58797" y="144309"/>
                        <a:pt x="46340" y="141301"/>
                        <a:pt x="35427" y="135368"/>
                      </a:cubicBezTo>
                      <a:cubicBezTo>
                        <a:pt x="24515" y="129435"/>
                        <a:pt x="15914" y="121078"/>
                        <a:pt x="9625" y="110299"/>
                      </a:cubicBezTo>
                      <a:cubicBezTo>
                        <a:pt x="3337" y="99520"/>
                        <a:pt x="128" y="86819"/>
                        <a:pt x="0" y="72196"/>
                      </a:cubicBezTo>
                      <a:cubicBezTo>
                        <a:pt x="103" y="58518"/>
                        <a:pt x="3207" y="46262"/>
                        <a:pt x="9314" y="35427"/>
                      </a:cubicBezTo>
                      <a:cubicBezTo>
                        <a:pt x="15421" y="24592"/>
                        <a:pt x="23918" y="16014"/>
                        <a:pt x="34805" y="9692"/>
                      </a:cubicBezTo>
                      <a:cubicBezTo>
                        <a:pt x="45692" y="3370"/>
                        <a:pt x="58355" y="139"/>
                        <a:pt x="72797" y="0"/>
                      </a:cubicBezTo>
                      <a:close/>
                      <a:moveTo>
                        <a:pt x="72797" y="22978"/>
                      </a:moveTo>
                      <a:cubicBezTo>
                        <a:pt x="59116" y="23215"/>
                        <a:pt x="47962" y="27792"/>
                        <a:pt x="39333" y="36708"/>
                      </a:cubicBezTo>
                      <a:cubicBezTo>
                        <a:pt x="30705" y="45623"/>
                        <a:pt x="26253" y="57453"/>
                        <a:pt x="25979" y="72196"/>
                      </a:cubicBezTo>
                      <a:cubicBezTo>
                        <a:pt x="26291" y="86502"/>
                        <a:pt x="30818" y="98206"/>
                        <a:pt x="39559" y="107310"/>
                      </a:cubicBezTo>
                      <a:cubicBezTo>
                        <a:pt x="48299" y="116413"/>
                        <a:pt x="59379" y="121115"/>
                        <a:pt x="72797" y="121415"/>
                      </a:cubicBezTo>
                      <a:cubicBezTo>
                        <a:pt x="87623" y="121090"/>
                        <a:pt x="99136" y="116338"/>
                        <a:pt x="107335" y="107159"/>
                      </a:cubicBezTo>
                      <a:cubicBezTo>
                        <a:pt x="115534" y="97981"/>
                        <a:pt x="119694" y="86326"/>
                        <a:pt x="119815" y="72196"/>
                      </a:cubicBezTo>
                      <a:cubicBezTo>
                        <a:pt x="119507" y="57453"/>
                        <a:pt x="114971" y="45623"/>
                        <a:pt x="106209" y="36708"/>
                      </a:cubicBezTo>
                      <a:cubicBezTo>
                        <a:pt x="97448" y="27792"/>
                        <a:pt x="86310" y="23215"/>
                        <a:pt x="72797" y="22978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4" name="Полілінія: фігура 13">
                  <a:extLst>
                    <a:ext uri="{FF2B5EF4-FFF2-40B4-BE49-F238E27FC236}">
                      <a16:creationId xmlns:a16="http://schemas.microsoft.com/office/drawing/2014/main" id="{916F18FD-A7F4-C2DF-5171-76AB5A0B4C13}"/>
                    </a:ext>
                  </a:extLst>
                </p:cNvPr>
                <p:cNvSpPr/>
                <p:nvPr/>
              </p:nvSpPr>
              <p:spPr>
                <a:xfrm>
                  <a:off x="10489424" y="1135860"/>
                  <a:ext cx="110188" cy="140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188" h="140393">
                      <a:moveTo>
                        <a:pt x="42590" y="0"/>
                      </a:moveTo>
                      <a:cubicBezTo>
                        <a:pt x="61422" y="287"/>
                        <a:pt x="74664" y="4459"/>
                        <a:pt x="82316" y="12517"/>
                      </a:cubicBezTo>
                      <a:cubicBezTo>
                        <a:pt x="89967" y="20575"/>
                        <a:pt x="93658" y="30801"/>
                        <a:pt x="93386" y="43192"/>
                      </a:cubicBezTo>
                      <a:cubicBezTo>
                        <a:pt x="93268" y="51172"/>
                        <a:pt x="91795" y="57890"/>
                        <a:pt x="88968" y="63347"/>
                      </a:cubicBezTo>
                      <a:cubicBezTo>
                        <a:pt x="86140" y="68804"/>
                        <a:pt x="82669" y="73148"/>
                        <a:pt x="78554" y="76381"/>
                      </a:cubicBezTo>
                      <a:cubicBezTo>
                        <a:pt x="74438" y="79614"/>
                        <a:pt x="70390" y="81883"/>
                        <a:pt x="66407" y="83191"/>
                      </a:cubicBezTo>
                      <a:lnTo>
                        <a:pt x="110188" y="140393"/>
                      </a:lnTo>
                      <a:lnTo>
                        <a:pt x="80397" y="140393"/>
                      </a:lnTo>
                      <a:lnTo>
                        <a:pt x="41790" y="87986"/>
                      </a:lnTo>
                      <a:lnTo>
                        <a:pt x="24578" y="87986"/>
                      </a:lnTo>
                      <a:lnTo>
                        <a:pt x="24578" y="140393"/>
                      </a:lnTo>
                      <a:lnTo>
                        <a:pt x="0" y="140393"/>
                      </a:lnTo>
                      <a:lnTo>
                        <a:pt x="0" y="400"/>
                      </a:lnTo>
                      <a:cubicBezTo>
                        <a:pt x="2904" y="395"/>
                        <a:pt x="7443" y="360"/>
                        <a:pt x="13616" y="296"/>
                      </a:cubicBezTo>
                      <a:cubicBezTo>
                        <a:pt x="19788" y="232"/>
                        <a:pt x="25750" y="168"/>
                        <a:pt x="31501" y="104"/>
                      </a:cubicBezTo>
                      <a:cubicBezTo>
                        <a:pt x="37252" y="39"/>
                        <a:pt x="40949" y="5"/>
                        <a:pt x="42590" y="0"/>
                      </a:cubicBezTo>
                      <a:close/>
                      <a:moveTo>
                        <a:pt x="41389" y="22978"/>
                      </a:moveTo>
                      <a:cubicBezTo>
                        <a:pt x="39088" y="22982"/>
                        <a:pt x="36536" y="23024"/>
                        <a:pt x="33734" y="23103"/>
                      </a:cubicBezTo>
                      <a:cubicBezTo>
                        <a:pt x="30932" y="23182"/>
                        <a:pt x="27880" y="23274"/>
                        <a:pt x="24578" y="23378"/>
                      </a:cubicBezTo>
                      <a:lnTo>
                        <a:pt x="24578" y="65008"/>
                      </a:lnTo>
                      <a:lnTo>
                        <a:pt x="40589" y="65008"/>
                      </a:lnTo>
                      <a:cubicBezTo>
                        <a:pt x="47923" y="65008"/>
                        <a:pt x="54169" y="63207"/>
                        <a:pt x="59327" y="59604"/>
                      </a:cubicBezTo>
                      <a:cubicBezTo>
                        <a:pt x="64485" y="56002"/>
                        <a:pt x="67178" y="50598"/>
                        <a:pt x="67408" y="43393"/>
                      </a:cubicBezTo>
                      <a:cubicBezTo>
                        <a:pt x="67575" y="37726"/>
                        <a:pt x="65740" y="32948"/>
                        <a:pt x="61904" y="29057"/>
                      </a:cubicBezTo>
                      <a:cubicBezTo>
                        <a:pt x="58068" y="25167"/>
                        <a:pt x="51230" y="23141"/>
                        <a:pt x="41389" y="22978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5" name="Полілінія: фігура 14">
                  <a:extLst>
                    <a:ext uri="{FF2B5EF4-FFF2-40B4-BE49-F238E27FC236}">
                      <a16:creationId xmlns:a16="http://schemas.microsoft.com/office/drawing/2014/main" id="{17A8876D-7264-9997-46FB-7207D551EFE8}"/>
                    </a:ext>
                  </a:extLst>
                </p:cNvPr>
                <p:cNvSpPr/>
                <p:nvPr/>
              </p:nvSpPr>
              <p:spPr>
                <a:xfrm>
                  <a:off x="10670398" y="1135860"/>
                  <a:ext cx="93990" cy="140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990" h="140393">
                      <a:moveTo>
                        <a:pt x="39789" y="0"/>
                      </a:moveTo>
                      <a:cubicBezTo>
                        <a:pt x="53432" y="129"/>
                        <a:pt x="64220" y="2313"/>
                        <a:pt x="72156" y="6551"/>
                      </a:cubicBezTo>
                      <a:cubicBezTo>
                        <a:pt x="80091" y="10788"/>
                        <a:pt x="85737" y="16305"/>
                        <a:pt x="89094" y="23100"/>
                      </a:cubicBezTo>
                      <a:cubicBezTo>
                        <a:pt x="92450" y="29895"/>
                        <a:pt x="94081" y="37192"/>
                        <a:pt x="93987" y="44993"/>
                      </a:cubicBezTo>
                      <a:cubicBezTo>
                        <a:pt x="93974" y="53050"/>
                        <a:pt x="92024" y="60501"/>
                        <a:pt x="88139" y="67346"/>
                      </a:cubicBezTo>
                      <a:cubicBezTo>
                        <a:pt x="84253" y="74190"/>
                        <a:pt x="78511" y="79711"/>
                        <a:pt x="70914" y="83910"/>
                      </a:cubicBezTo>
                      <a:cubicBezTo>
                        <a:pt x="63316" y="88108"/>
                        <a:pt x="53942" y="90267"/>
                        <a:pt x="42791" y="90386"/>
                      </a:cubicBezTo>
                      <a:cubicBezTo>
                        <a:pt x="40569" y="90399"/>
                        <a:pt x="37758" y="90374"/>
                        <a:pt x="34360" y="90311"/>
                      </a:cubicBezTo>
                      <a:cubicBezTo>
                        <a:pt x="30962" y="90249"/>
                        <a:pt x="27702" y="90074"/>
                        <a:pt x="24578" y="89787"/>
                      </a:cubicBezTo>
                      <a:lnTo>
                        <a:pt x="24578" y="140393"/>
                      </a:lnTo>
                      <a:lnTo>
                        <a:pt x="0" y="140393"/>
                      </a:lnTo>
                      <a:lnTo>
                        <a:pt x="0" y="400"/>
                      </a:lnTo>
                      <a:cubicBezTo>
                        <a:pt x="2763" y="395"/>
                        <a:pt x="6630" y="360"/>
                        <a:pt x="11600" y="296"/>
                      </a:cubicBezTo>
                      <a:cubicBezTo>
                        <a:pt x="16571" y="232"/>
                        <a:pt x="21653" y="168"/>
                        <a:pt x="26847" y="104"/>
                      </a:cubicBezTo>
                      <a:cubicBezTo>
                        <a:pt x="32041" y="39"/>
                        <a:pt x="36355" y="5"/>
                        <a:pt x="39789" y="0"/>
                      </a:cubicBezTo>
                      <a:close/>
                      <a:moveTo>
                        <a:pt x="42191" y="22978"/>
                      </a:moveTo>
                      <a:cubicBezTo>
                        <a:pt x="39681" y="22982"/>
                        <a:pt x="36946" y="23024"/>
                        <a:pt x="33985" y="23103"/>
                      </a:cubicBezTo>
                      <a:cubicBezTo>
                        <a:pt x="31025" y="23182"/>
                        <a:pt x="27889" y="23274"/>
                        <a:pt x="24578" y="23378"/>
                      </a:cubicBezTo>
                      <a:lnTo>
                        <a:pt x="24578" y="66408"/>
                      </a:lnTo>
                      <a:cubicBezTo>
                        <a:pt x="27493" y="66712"/>
                        <a:pt x="30420" y="66954"/>
                        <a:pt x="33360" y="67133"/>
                      </a:cubicBezTo>
                      <a:cubicBezTo>
                        <a:pt x="36299" y="67313"/>
                        <a:pt x="39176" y="67404"/>
                        <a:pt x="41991" y="67408"/>
                      </a:cubicBezTo>
                      <a:cubicBezTo>
                        <a:pt x="49467" y="67442"/>
                        <a:pt x="55630" y="65624"/>
                        <a:pt x="60479" y="61955"/>
                      </a:cubicBezTo>
                      <a:cubicBezTo>
                        <a:pt x="65328" y="58285"/>
                        <a:pt x="67838" y="52565"/>
                        <a:pt x="68009" y="44793"/>
                      </a:cubicBezTo>
                      <a:cubicBezTo>
                        <a:pt x="67984" y="37492"/>
                        <a:pt x="65782" y="32030"/>
                        <a:pt x="61404" y="28407"/>
                      </a:cubicBezTo>
                      <a:cubicBezTo>
                        <a:pt x="57026" y="24783"/>
                        <a:pt x="50622" y="22974"/>
                        <a:pt x="42191" y="22978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6" name="Полілінія: фігура 15">
                  <a:extLst>
                    <a:ext uri="{FF2B5EF4-FFF2-40B4-BE49-F238E27FC236}">
                      <a16:creationId xmlns:a16="http://schemas.microsoft.com/office/drawing/2014/main" id="{2580CA55-6990-31E9-3EFB-DDFB2AAF00BE}"/>
                    </a:ext>
                  </a:extLst>
                </p:cNvPr>
                <p:cNvSpPr/>
                <p:nvPr/>
              </p:nvSpPr>
              <p:spPr>
                <a:xfrm>
                  <a:off x="10956149" y="1135860"/>
                  <a:ext cx="110189" cy="140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189" h="140393">
                      <a:moveTo>
                        <a:pt x="42591" y="0"/>
                      </a:moveTo>
                      <a:cubicBezTo>
                        <a:pt x="61423" y="287"/>
                        <a:pt x="74665" y="4459"/>
                        <a:pt x="82316" y="12517"/>
                      </a:cubicBezTo>
                      <a:cubicBezTo>
                        <a:pt x="89968" y="20575"/>
                        <a:pt x="93659" y="30801"/>
                        <a:pt x="93387" y="43192"/>
                      </a:cubicBezTo>
                      <a:cubicBezTo>
                        <a:pt x="93269" y="51172"/>
                        <a:pt x="91796" y="57890"/>
                        <a:pt x="88969" y="63347"/>
                      </a:cubicBezTo>
                      <a:cubicBezTo>
                        <a:pt x="86141" y="68804"/>
                        <a:pt x="82670" y="73148"/>
                        <a:pt x="78555" y="76381"/>
                      </a:cubicBezTo>
                      <a:cubicBezTo>
                        <a:pt x="74439" y="79614"/>
                        <a:pt x="70390" y="81883"/>
                        <a:pt x="66408" y="83191"/>
                      </a:cubicBezTo>
                      <a:lnTo>
                        <a:pt x="110189" y="140393"/>
                      </a:lnTo>
                      <a:lnTo>
                        <a:pt x="80398" y="140393"/>
                      </a:lnTo>
                      <a:lnTo>
                        <a:pt x="41791" y="87986"/>
                      </a:lnTo>
                      <a:lnTo>
                        <a:pt x="24578" y="87986"/>
                      </a:lnTo>
                      <a:lnTo>
                        <a:pt x="24578" y="140393"/>
                      </a:lnTo>
                      <a:lnTo>
                        <a:pt x="0" y="140393"/>
                      </a:lnTo>
                      <a:lnTo>
                        <a:pt x="0" y="400"/>
                      </a:lnTo>
                      <a:cubicBezTo>
                        <a:pt x="2906" y="395"/>
                        <a:pt x="7444" y="360"/>
                        <a:pt x="13617" y="296"/>
                      </a:cubicBezTo>
                      <a:cubicBezTo>
                        <a:pt x="19789" y="232"/>
                        <a:pt x="25751" y="168"/>
                        <a:pt x="31502" y="104"/>
                      </a:cubicBezTo>
                      <a:cubicBezTo>
                        <a:pt x="37253" y="39"/>
                        <a:pt x="40950" y="5"/>
                        <a:pt x="42591" y="0"/>
                      </a:cubicBezTo>
                      <a:close/>
                      <a:moveTo>
                        <a:pt x="41390" y="22978"/>
                      </a:moveTo>
                      <a:cubicBezTo>
                        <a:pt x="39089" y="22982"/>
                        <a:pt x="36537" y="23024"/>
                        <a:pt x="33735" y="23103"/>
                      </a:cubicBezTo>
                      <a:cubicBezTo>
                        <a:pt x="30933" y="23182"/>
                        <a:pt x="27881" y="23274"/>
                        <a:pt x="24578" y="23378"/>
                      </a:cubicBezTo>
                      <a:lnTo>
                        <a:pt x="24578" y="65008"/>
                      </a:lnTo>
                      <a:lnTo>
                        <a:pt x="40590" y="65008"/>
                      </a:lnTo>
                      <a:cubicBezTo>
                        <a:pt x="47924" y="65008"/>
                        <a:pt x="54170" y="63207"/>
                        <a:pt x="59328" y="59604"/>
                      </a:cubicBezTo>
                      <a:cubicBezTo>
                        <a:pt x="64486" y="56002"/>
                        <a:pt x="67180" y="50598"/>
                        <a:pt x="67409" y="43393"/>
                      </a:cubicBezTo>
                      <a:cubicBezTo>
                        <a:pt x="67576" y="37726"/>
                        <a:pt x="65741" y="32948"/>
                        <a:pt x="61905" y="29057"/>
                      </a:cubicBezTo>
                      <a:cubicBezTo>
                        <a:pt x="58069" y="25167"/>
                        <a:pt x="51231" y="23141"/>
                        <a:pt x="41390" y="22978"/>
                      </a:cubicBez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7" name="Полілінія: фігура 16">
                  <a:extLst>
                    <a:ext uri="{FF2B5EF4-FFF2-40B4-BE49-F238E27FC236}">
                      <a16:creationId xmlns:a16="http://schemas.microsoft.com/office/drawing/2014/main" id="{74DE53AB-4D7A-3B15-31EB-E6164979B75F}"/>
                    </a:ext>
                  </a:extLst>
                </p:cNvPr>
                <p:cNvSpPr/>
                <p:nvPr/>
              </p:nvSpPr>
              <p:spPr>
                <a:xfrm>
                  <a:off x="9649223" y="1135060"/>
                  <a:ext cx="115190" cy="1419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190" h="141993">
                      <a:moveTo>
                        <a:pt x="0" y="0"/>
                      </a:moveTo>
                      <a:lnTo>
                        <a:pt x="24578" y="0"/>
                      </a:lnTo>
                      <a:lnTo>
                        <a:pt x="24578" y="75283"/>
                      </a:lnTo>
                      <a:cubicBezTo>
                        <a:pt x="24524" y="88550"/>
                        <a:pt x="27334" y="99108"/>
                        <a:pt x="33008" y="106959"/>
                      </a:cubicBezTo>
                      <a:cubicBezTo>
                        <a:pt x="38681" y="114809"/>
                        <a:pt x="47544" y="118828"/>
                        <a:pt x="59596" y="119015"/>
                      </a:cubicBezTo>
                      <a:cubicBezTo>
                        <a:pt x="70176" y="118957"/>
                        <a:pt x="78030" y="115329"/>
                        <a:pt x="83158" y="108132"/>
                      </a:cubicBezTo>
                      <a:cubicBezTo>
                        <a:pt x="88285" y="100935"/>
                        <a:pt x="90837" y="90518"/>
                        <a:pt x="90812" y="76881"/>
                      </a:cubicBezTo>
                      <a:lnTo>
                        <a:pt x="90812" y="0"/>
                      </a:lnTo>
                      <a:lnTo>
                        <a:pt x="115190" y="0"/>
                      </a:lnTo>
                      <a:lnTo>
                        <a:pt x="115190" y="81873"/>
                      </a:lnTo>
                      <a:cubicBezTo>
                        <a:pt x="115048" y="96069"/>
                        <a:pt x="112422" y="107596"/>
                        <a:pt x="107313" y="116454"/>
                      </a:cubicBezTo>
                      <a:cubicBezTo>
                        <a:pt x="102204" y="125311"/>
                        <a:pt x="95460" y="131794"/>
                        <a:pt x="87082" y="135903"/>
                      </a:cubicBezTo>
                      <a:cubicBezTo>
                        <a:pt x="78705" y="140012"/>
                        <a:pt x="69543" y="142042"/>
                        <a:pt x="59596" y="141993"/>
                      </a:cubicBezTo>
                      <a:cubicBezTo>
                        <a:pt x="41880" y="141988"/>
                        <a:pt x="27595" y="136852"/>
                        <a:pt x="16741" y="126586"/>
                      </a:cubicBezTo>
                      <a:cubicBezTo>
                        <a:pt x="5888" y="116319"/>
                        <a:pt x="307" y="100948"/>
                        <a:pt x="0" y="8047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8" name="Полілінія: фігура 17">
                  <a:extLst>
                    <a:ext uri="{FF2B5EF4-FFF2-40B4-BE49-F238E27FC236}">
                      <a16:creationId xmlns:a16="http://schemas.microsoft.com/office/drawing/2014/main" id="{DF21F1C8-6EDF-F3E5-85B2-9DEDD8B52BB3}"/>
                    </a:ext>
                  </a:extLst>
                </p:cNvPr>
                <p:cNvSpPr/>
                <p:nvPr/>
              </p:nvSpPr>
              <p:spPr>
                <a:xfrm>
                  <a:off x="9900521" y="1136160"/>
                  <a:ext cx="115390" cy="139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390" h="139793">
                      <a:moveTo>
                        <a:pt x="0" y="0"/>
                      </a:moveTo>
                      <a:lnTo>
                        <a:pt x="115390" y="0"/>
                      </a:lnTo>
                      <a:lnTo>
                        <a:pt x="115390" y="22978"/>
                      </a:lnTo>
                      <a:lnTo>
                        <a:pt x="69984" y="22978"/>
                      </a:lnTo>
                      <a:lnTo>
                        <a:pt x="69984" y="139793"/>
                      </a:lnTo>
                      <a:lnTo>
                        <a:pt x="45406" y="139793"/>
                      </a:lnTo>
                      <a:lnTo>
                        <a:pt x="45406" y="22978"/>
                      </a:lnTo>
                      <a:lnTo>
                        <a:pt x="0" y="2297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19" name="Полілінія: фігура 18">
                  <a:extLst>
                    <a:ext uri="{FF2B5EF4-FFF2-40B4-BE49-F238E27FC236}">
                      <a16:creationId xmlns:a16="http://schemas.microsoft.com/office/drawing/2014/main" id="{D1BD6E83-528E-53A5-44BE-1592F32D9506}"/>
                    </a:ext>
                  </a:extLst>
                </p:cNvPr>
                <p:cNvSpPr/>
                <p:nvPr/>
              </p:nvSpPr>
              <p:spPr>
                <a:xfrm>
                  <a:off x="10194149" y="1136160"/>
                  <a:ext cx="141393" cy="139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1393" h="139793">
                      <a:moveTo>
                        <a:pt x="0" y="0"/>
                      </a:moveTo>
                      <a:lnTo>
                        <a:pt x="24779" y="0"/>
                      </a:lnTo>
                      <a:lnTo>
                        <a:pt x="72598" y="65303"/>
                      </a:lnTo>
                      <a:lnTo>
                        <a:pt x="118214" y="0"/>
                      </a:lnTo>
                      <a:lnTo>
                        <a:pt x="141393" y="0"/>
                      </a:lnTo>
                      <a:lnTo>
                        <a:pt x="141393" y="139793"/>
                      </a:lnTo>
                      <a:lnTo>
                        <a:pt x="117015" y="139793"/>
                      </a:lnTo>
                      <a:lnTo>
                        <a:pt x="117015" y="38742"/>
                      </a:lnTo>
                      <a:lnTo>
                        <a:pt x="72798" y="100850"/>
                      </a:lnTo>
                      <a:lnTo>
                        <a:pt x="69196" y="100850"/>
                      </a:lnTo>
                      <a:lnTo>
                        <a:pt x="24578" y="39341"/>
                      </a:lnTo>
                      <a:lnTo>
                        <a:pt x="24578" y="139793"/>
                      </a:lnTo>
                      <a:lnTo>
                        <a:pt x="0" y="1397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20" name="Полілінія: фігура 19">
                  <a:extLst>
                    <a:ext uri="{FF2B5EF4-FFF2-40B4-BE49-F238E27FC236}">
                      <a16:creationId xmlns:a16="http://schemas.microsoft.com/office/drawing/2014/main" id="{4663D075-E78F-9B3A-2FB2-7A7AC8089E30}"/>
                    </a:ext>
                  </a:extLst>
                </p:cNvPr>
                <p:cNvSpPr/>
                <p:nvPr/>
              </p:nvSpPr>
              <p:spPr>
                <a:xfrm>
                  <a:off x="10375123" y="1136160"/>
                  <a:ext cx="82986" cy="139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986" h="139793">
                      <a:moveTo>
                        <a:pt x="0" y="0"/>
                      </a:moveTo>
                      <a:lnTo>
                        <a:pt x="80986" y="0"/>
                      </a:lnTo>
                      <a:lnTo>
                        <a:pt x="80986" y="22978"/>
                      </a:lnTo>
                      <a:lnTo>
                        <a:pt x="24579" y="22978"/>
                      </a:lnTo>
                      <a:lnTo>
                        <a:pt x="24579" y="57607"/>
                      </a:lnTo>
                      <a:lnTo>
                        <a:pt x="74985" y="57607"/>
                      </a:lnTo>
                      <a:lnTo>
                        <a:pt x="74985" y="80585"/>
                      </a:lnTo>
                      <a:lnTo>
                        <a:pt x="24579" y="80585"/>
                      </a:lnTo>
                      <a:lnTo>
                        <a:pt x="24579" y="116815"/>
                      </a:lnTo>
                      <a:lnTo>
                        <a:pt x="82986" y="116815"/>
                      </a:lnTo>
                      <a:lnTo>
                        <a:pt x="82986" y="139793"/>
                      </a:lnTo>
                      <a:lnTo>
                        <a:pt x="0" y="1397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21" name="Полілінія: фігура 20">
                  <a:extLst>
                    <a:ext uri="{FF2B5EF4-FFF2-40B4-BE49-F238E27FC236}">
                      <a16:creationId xmlns:a16="http://schemas.microsoft.com/office/drawing/2014/main" id="{3807BC05-21EB-764A-928A-E5D2768E89F6}"/>
                    </a:ext>
                  </a:extLst>
                </p:cNvPr>
                <p:cNvSpPr/>
                <p:nvPr/>
              </p:nvSpPr>
              <p:spPr>
                <a:xfrm>
                  <a:off x="11062571" y="1136160"/>
                  <a:ext cx="115390" cy="139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5390" h="139793">
                      <a:moveTo>
                        <a:pt x="0" y="0"/>
                      </a:moveTo>
                      <a:lnTo>
                        <a:pt x="115390" y="0"/>
                      </a:lnTo>
                      <a:lnTo>
                        <a:pt x="115390" y="22978"/>
                      </a:lnTo>
                      <a:lnTo>
                        <a:pt x="69984" y="22978"/>
                      </a:lnTo>
                      <a:lnTo>
                        <a:pt x="69984" y="139793"/>
                      </a:lnTo>
                      <a:lnTo>
                        <a:pt x="45406" y="139793"/>
                      </a:lnTo>
                      <a:lnTo>
                        <a:pt x="45406" y="22978"/>
                      </a:lnTo>
                      <a:lnTo>
                        <a:pt x="0" y="2297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22" name="Полілінія: фігура 21">
                  <a:extLst>
                    <a:ext uri="{FF2B5EF4-FFF2-40B4-BE49-F238E27FC236}">
                      <a16:creationId xmlns:a16="http://schemas.microsoft.com/office/drawing/2014/main" id="{5F71500C-2268-5C05-DE59-41D9CBCBBB6A}"/>
                    </a:ext>
                  </a:extLst>
                </p:cNvPr>
                <p:cNvSpPr/>
                <p:nvPr/>
              </p:nvSpPr>
              <p:spPr>
                <a:xfrm>
                  <a:off x="11203798" y="1136160"/>
                  <a:ext cx="79986" cy="139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986" h="139793">
                      <a:moveTo>
                        <a:pt x="0" y="0"/>
                      </a:moveTo>
                      <a:lnTo>
                        <a:pt x="79986" y="0"/>
                      </a:lnTo>
                      <a:lnTo>
                        <a:pt x="79986" y="22978"/>
                      </a:lnTo>
                      <a:lnTo>
                        <a:pt x="24578" y="22978"/>
                      </a:lnTo>
                      <a:lnTo>
                        <a:pt x="24578" y="62408"/>
                      </a:lnTo>
                      <a:lnTo>
                        <a:pt x="73985" y="62408"/>
                      </a:lnTo>
                      <a:lnTo>
                        <a:pt x="73985" y="85386"/>
                      </a:lnTo>
                      <a:lnTo>
                        <a:pt x="24578" y="85386"/>
                      </a:lnTo>
                      <a:lnTo>
                        <a:pt x="24578" y="139793"/>
                      </a:lnTo>
                      <a:lnTo>
                        <a:pt x="0" y="1397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23" name="Полілінія: фігура 22">
                  <a:extLst>
                    <a:ext uri="{FF2B5EF4-FFF2-40B4-BE49-F238E27FC236}">
                      <a16:creationId xmlns:a16="http://schemas.microsoft.com/office/drawing/2014/main" id="{0797B9D7-C984-23E2-19FC-3E053F46F0C1}"/>
                    </a:ext>
                  </a:extLst>
                </p:cNvPr>
                <p:cNvSpPr/>
                <p:nvPr/>
              </p:nvSpPr>
              <p:spPr>
                <a:xfrm>
                  <a:off x="11470498" y="1136160"/>
                  <a:ext cx="87586" cy="139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586" h="139793">
                      <a:moveTo>
                        <a:pt x="0" y="0"/>
                      </a:moveTo>
                      <a:lnTo>
                        <a:pt x="24578" y="0"/>
                      </a:lnTo>
                      <a:lnTo>
                        <a:pt x="24578" y="116815"/>
                      </a:lnTo>
                      <a:lnTo>
                        <a:pt x="87586" y="116815"/>
                      </a:lnTo>
                      <a:lnTo>
                        <a:pt x="87586" y="139793"/>
                      </a:lnTo>
                      <a:lnTo>
                        <a:pt x="0" y="1397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24" name="Полілінія: фігура 23">
                  <a:extLst>
                    <a:ext uri="{FF2B5EF4-FFF2-40B4-BE49-F238E27FC236}">
                      <a16:creationId xmlns:a16="http://schemas.microsoft.com/office/drawing/2014/main" id="{F00688F8-77CC-5A46-72DC-B2664466AEBD}"/>
                    </a:ext>
                  </a:extLst>
                </p:cNvPr>
                <p:cNvSpPr/>
                <p:nvPr/>
              </p:nvSpPr>
              <p:spPr>
                <a:xfrm>
                  <a:off x="11578274" y="1136160"/>
                  <a:ext cx="24578" cy="1397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78" h="139793">
                      <a:moveTo>
                        <a:pt x="0" y="0"/>
                      </a:moveTo>
                      <a:lnTo>
                        <a:pt x="24578" y="0"/>
                      </a:lnTo>
                      <a:lnTo>
                        <a:pt x="24578" y="139793"/>
                      </a:lnTo>
                      <a:lnTo>
                        <a:pt x="0" y="1397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F2E2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grpSp>
              <p:nvGrpSpPr>
                <p:cNvPr id="25" name="Групувати 24">
                  <a:extLst>
                    <a:ext uri="{FF2B5EF4-FFF2-40B4-BE49-F238E27FC236}">
                      <a16:creationId xmlns:a16="http://schemas.microsoft.com/office/drawing/2014/main" id="{68329C76-2882-265C-5D19-C1F5C040C9E7}"/>
                    </a:ext>
                  </a:extLst>
                </p:cNvPr>
                <p:cNvGrpSpPr/>
                <p:nvPr/>
              </p:nvGrpSpPr>
              <p:grpSpPr>
                <a:xfrm>
                  <a:off x="11800874" y="1159463"/>
                  <a:ext cx="30579" cy="93187"/>
                  <a:chOff x="11826274" y="1996666"/>
                  <a:chExt cx="30579" cy="93187"/>
                </a:xfrm>
              </p:grpSpPr>
              <p:sp>
                <p:nvSpPr>
                  <p:cNvPr id="26" name="Полілінія: фігура 25">
                    <a:extLst>
                      <a:ext uri="{FF2B5EF4-FFF2-40B4-BE49-F238E27FC236}">
                        <a16:creationId xmlns:a16="http://schemas.microsoft.com/office/drawing/2014/main" id="{A73405C1-E791-138A-4D0D-D7C2F60C2E1B}"/>
                      </a:ext>
                    </a:extLst>
                  </p:cNvPr>
                  <p:cNvSpPr/>
                  <p:nvPr/>
                </p:nvSpPr>
                <p:spPr>
                  <a:xfrm>
                    <a:off x="11826274" y="1996666"/>
                    <a:ext cx="30579" cy="307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579" h="30779">
                        <a:moveTo>
                          <a:pt x="15989" y="0"/>
                        </a:moveTo>
                        <a:cubicBezTo>
                          <a:pt x="20357" y="179"/>
                          <a:pt x="23863" y="1770"/>
                          <a:pt x="26507" y="4772"/>
                        </a:cubicBezTo>
                        <a:cubicBezTo>
                          <a:pt x="29151" y="7774"/>
                          <a:pt x="30508" y="11113"/>
                          <a:pt x="30579" y="14790"/>
                        </a:cubicBezTo>
                        <a:cubicBezTo>
                          <a:pt x="30508" y="19041"/>
                          <a:pt x="29151" y="22730"/>
                          <a:pt x="26507" y="25857"/>
                        </a:cubicBezTo>
                        <a:cubicBezTo>
                          <a:pt x="23863" y="28984"/>
                          <a:pt x="20357" y="30625"/>
                          <a:pt x="15989" y="30779"/>
                        </a:cubicBezTo>
                        <a:cubicBezTo>
                          <a:pt x="10951" y="30625"/>
                          <a:pt x="7037" y="28984"/>
                          <a:pt x="4247" y="25857"/>
                        </a:cubicBezTo>
                        <a:cubicBezTo>
                          <a:pt x="1457" y="22730"/>
                          <a:pt x="41" y="19041"/>
                          <a:pt x="0" y="14790"/>
                        </a:cubicBezTo>
                        <a:cubicBezTo>
                          <a:pt x="41" y="11113"/>
                          <a:pt x="1457" y="7774"/>
                          <a:pt x="4247" y="4772"/>
                        </a:cubicBezTo>
                        <a:cubicBezTo>
                          <a:pt x="7037" y="1770"/>
                          <a:pt x="10951" y="179"/>
                          <a:pt x="15989" y="0"/>
                        </a:cubicBezTo>
                        <a:close/>
                      </a:path>
                    </a:pathLst>
                  </a:custGeom>
                  <a:solidFill>
                    <a:srgbClr val="2F2E2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/>
                  </a:p>
                </p:txBody>
              </p:sp>
              <p:sp>
                <p:nvSpPr>
                  <p:cNvPr id="27" name="Полілінія: фігура 26">
                    <a:extLst>
                      <a:ext uri="{FF2B5EF4-FFF2-40B4-BE49-F238E27FC236}">
                        <a16:creationId xmlns:a16="http://schemas.microsoft.com/office/drawing/2014/main" id="{09144B3F-5DD4-0FC9-2925-A1ABE75B2560}"/>
                      </a:ext>
                    </a:extLst>
                  </p:cNvPr>
                  <p:cNvSpPr/>
                  <p:nvPr/>
                </p:nvSpPr>
                <p:spPr>
                  <a:xfrm>
                    <a:off x="11826274" y="2059074"/>
                    <a:ext cx="30579" cy="3077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30579" h="30779">
                        <a:moveTo>
                          <a:pt x="15989" y="0"/>
                        </a:moveTo>
                        <a:cubicBezTo>
                          <a:pt x="20357" y="179"/>
                          <a:pt x="23863" y="1769"/>
                          <a:pt x="26507" y="4772"/>
                        </a:cubicBezTo>
                        <a:cubicBezTo>
                          <a:pt x="29151" y="7774"/>
                          <a:pt x="30508" y="11113"/>
                          <a:pt x="30579" y="14790"/>
                        </a:cubicBezTo>
                        <a:cubicBezTo>
                          <a:pt x="30508" y="19041"/>
                          <a:pt x="29151" y="22730"/>
                          <a:pt x="26507" y="25857"/>
                        </a:cubicBezTo>
                        <a:cubicBezTo>
                          <a:pt x="23863" y="28984"/>
                          <a:pt x="20357" y="30625"/>
                          <a:pt x="15989" y="30779"/>
                        </a:cubicBezTo>
                        <a:cubicBezTo>
                          <a:pt x="10951" y="30625"/>
                          <a:pt x="7037" y="28984"/>
                          <a:pt x="4247" y="25857"/>
                        </a:cubicBezTo>
                        <a:cubicBezTo>
                          <a:pt x="1457" y="22730"/>
                          <a:pt x="41" y="19041"/>
                          <a:pt x="0" y="14790"/>
                        </a:cubicBezTo>
                        <a:cubicBezTo>
                          <a:pt x="41" y="11113"/>
                          <a:pt x="1457" y="7774"/>
                          <a:pt x="4247" y="4772"/>
                        </a:cubicBezTo>
                        <a:cubicBezTo>
                          <a:pt x="7037" y="1769"/>
                          <a:pt x="10951" y="179"/>
                          <a:pt x="15989" y="0"/>
                        </a:cubicBezTo>
                        <a:close/>
                      </a:path>
                    </a:pathLst>
                  </a:custGeom>
                  <a:solidFill>
                    <a:srgbClr val="2F2E2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uk-UA"/>
                  </a:p>
                </p:txBody>
              </p:sp>
            </p:grpSp>
          </p:grpSp>
          <p:sp>
            <p:nvSpPr>
              <p:cNvPr id="34" name="object 28">
                <a:extLst>
                  <a:ext uri="{FF2B5EF4-FFF2-40B4-BE49-F238E27FC236}">
                    <a16:creationId xmlns:a16="http://schemas.microsoft.com/office/drawing/2014/main" id="{63482AA1-1FF8-0F52-4881-405C2D9A9339}"/>
                  </a:ext>
                </a:extLst>
              </p:cNvPr>
              <p:cNvSpPr/>
              <p:nvPr/>
            </p:nvSpPr>
            <p:spPr>
              <a:xfrm>
                <a:off x="9661655" y="2239235"/>
                <a:ext cx="1831460" cy="653286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3819" b="1" spc="-1" dirty="0">
                    <a:solidFill>
                      <a:schemeClr val="tx1">
                        <a:lumMod val="85000"/>
                        <a:lumOff val="15000"/>
                        <a:alpha val="73000"/>
                      </a:schemeClr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170</a:t>
                </a:r>
                <a:endParaRPr lang="ru-RU" sz="2744" spc="-1" dirty="0">
                  <a:solidFill>
                    <a:schemeClr val="tx1">
                      <a:lumMod val="85000"/>
                      <a:lumOff val="15000"/>
                      <a:alpha val="73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object 59">
                <a:extLst>
                  <a:ext uri="{FF2B5EF4-FFF2-40B4-BE49-F238E27FC236}">
                    <a16:creationId xmlns:a16="http://schemas.microsoft.com/office/drawing/2014/main" id="{8B511255-BF69-D2F3-6A15-3830F3EDFD2F}"/>
                  </a:ext>
                </a:extLst>
              </p:cNvPr>
              <p:cNvSpPr/>
              <p:nvPr/>
            </p:nvSpPr>
            <p:spPr>
              <a:xfrm>
                <a:off x="11082124" y="2410605"/>
                <a:ext cx="789584" cy="351044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0" tIns="8051" rIns="0" bIns="0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+</a:t>
                </a:r>
                <a:r>
                  <a:rPr lang="en-US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3</a:t>
                </a:r>
                <a:r>
                  <a:rPr lang="uk-UA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6</a:t>
                </a:r>
                <a:r>
                  <a:rPr lang="ru-RU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%</a:t>
                </a:r>
                <a:endParaRPr lang="ru-RU" sz="1114" spc="-1" dirty="0">
                  <a:solidFill>
                    <a:srgbClr val="7ABDE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lnSpc>
                    <a:spcPct val="100000"/>
                  </a:lnSpc>
                </a:pPr>
                <a:r>
                  <a:rPr lang="en-US" sz="1114" b="1" spc="-1" dirty="0">
                    <a:solidFill>
                      <a:srgbClr val="47A3E1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in 2023</a:t>
                </a:r>
                <a:endParaRPr lang="ru-RU" sz="1114" spc="-1" dirty="0">
                  <a:solidFill>
                    <a:srgbClr val="47A3E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object 28">
                <a:extLst>
                  <a:ext uri="{FF2B5EF4-FFF2-40B4-BE49-F238E27FC236}">
                    <a16:creationId xmlns:a16="http://schemas.microsoft.com/office/drawing/2014/main" id="{F831819D-FBAE-200D-3654-0329FB97E413}"/>
                  </a:ext>
                </a:extLst>
              </p:cNvPr>
              <p:cNvSpPr/>
              <p:nvPr/>
            </p:nvSpPr>
            <p:spPr>
              <a:xfrm>
                <a:off x="9829571" y="2159913"/>
                <a:ext cx="1137269" cy="2894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1400" spc="-1" dirty="0">
                    <a:solidFill>
                      <a:srgbClr val="000000"/>
                    </a:solidFill>
                    <a:latin typeface="+mj-lt"/>
                    <a:ea typeface="DejaVu Sans"/>
                  </a:rPr>
                  <a:t>non-resident</a:t>
                </a:r>
                <a:r>
                  <a:rPr lang="en-US" sz="1400" spc="-1" dirty="0">
                    <a:solidFill>
                      <a:srgbClr val="000000"/>
                    </a:solidFill>
                    <a:latin typeface="+mj-lt"/>
                    <a:ea typeface="DejaVu Sans"/>
                  </a:rPr>
                  <a:t>s</a:t>
                </a:r>
                <a:endParaRPr lang="ru-RU" sz="1400" spc="-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grpSp>
            <p:nvGrpSpPr>
              <p:cNvPr id="43" name="Групувати 42">
                <a:extLst>
                  <a:ext uri="{FF2B5EF4-FFF2-40B4-BE49-F238E27FC236}">
                    <a16:creationId xmlns:a16="http://schemas.microsoft.com/office/drawing/2014/main" id="{DEEC4B33-EAC3-0C09-9EA9-4960CBE0B546}"/>
                  </a:ext>
                </a:extLst>
              </p:cNvPr>
              <p:cNvGrpSpPr/>
              <p:nvPr/>
            </p:nvGrpSpPr>
            <p:grpSpPr>
              <a:xfrm>
                <a:off x="9699678" y="2752573"/>
                <a:ext cx="2121740" cy="207528"/>
                <a:chOff x="9675084" y="4186410"/>
                <a:chExt cx="2121740" cy="207528"/>
              </a:xfrm>
            </p:grpSpPr>
            <p:sp>
              <p:nvSpPr>
                <p:cNvPr id="44" name="Полілінія: фігура 43">
                  <a:extLst>
                    <a:ext uri="{FF2B5EF4-FFF2-40B4-BE49-F238E27FC236}">
                      <a16:creationId xmlns:a16="http://schemas.microsoft.com/office/drawing/2014/main" id="{FCC046F6-E502-09D6-0B55-F3EB2BCF879B}"/>
                    </a:ext>
                  </a:extLst>
                </p:cNvPr>
                <p:cNvSpPr/>
                <p:nvPr/>
              </p:nvSpPr>
              <p:spPr>
                <a:xfrm>
                  <a:off x="9675084" y="4186410"/>
                  <a:ext cx="2121740" cy="207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740" h="207528">
                      <a:moveTo>
                        <a:pt x="0" y="0"/>
                      </a:moveTo>
                      <a:lnTo>
                        <a:pt x="2121740" y="0"/>
                      </a:lnTo>
                      <a:lnTo>
                        <a:pt x="2121740" y="207528"/>
                      </a:lnTo>
                      <a:lnTo>
                        <a:pt x="0" y="207528"/>
                      </a:lnTo>
                      <a:lnTo>
                        <a:pt x="0" y="0"/>
                      </a:lnTo>
                      <a:close/>
                      <a:moveTo>
                        <a:pt x="819661" y="19463"/>
                      </a:moveTo>
                      <a:lnTo>
                        <a:pt x="728269" y="141781"/>
                      </a:lnTo>
                      <a:lnTo>
                        <a:pt x="740213" y="150105"/>
                      </a:lnTo>
                      <a:lnTo>
                        <a:pt x="831425" y="28329"/>
                      </a:lnTo>
                      <a:lnTo>
                        <a:pt x="819661" y="19463"/>
                      </a:lnTo>
                      <a:close/>
                      <a:moveTo>
                        <a:pt x="1161170" y="25255"/>
                      </a:moveTo>
                      <a:cubicBezTo>
                        <a:pt x="1157542" y="25296"/>
                        <a:pt x="1154491" y="26388"/>
                        <a:pt x="1152016" y="28532"/>
                      </a:cubicBezTo>
                      <a:cubicBezTo>
                        <a:pt x="1149542" y="30675"/>
                        <a:pt x="1148253" y="33621"/>
                        <a:pt x="1148152" y="37369"/>
                      </a:cubicBezTo>
                      <a:cubicBezTo>
                        <a:pt x="1148253" y="41550"/>
                        <a:pt x="1149542" y="44760"/>
                        <a:pt x="1152016" y="46997"/>
                      </a:cubicBezTo>
                      <a:cubicBezTo>
                        <a:pt x="1154491" y="49235"/>
                        <a:pt x="1157542" y="50365"/>
                        <a:pt x="1161170" y="50387"/>
                      </a:cubicBezTo>
                      <a:cubicBezTo>
                        <a:pt x="1164278" y="50365"/>
                        <a:pt x="1167012" y="49235"/>
                        <a:pt x="1169374" y="46997"/>
                      </a:cubicBezTo>
                      <a:cubicBezTo>
                        <a:pt x="1171736" y="44760"/>
                        <a:pt x="1172979" y="41550"/>
                        <a:pt x="1173104" y="37369"/>
                      </a:cubicBezTo>
                      <a:cubicBezTo>
                        <a:pt x="1172979" y="33621"/>
                        <a:pt x="1171736" y="30675"/>
                        <a:pt x="1169374" y="28532"/>
                      </a:cubicBezTo>
                      <a:cubicBezTo>
                        <a:pt x="1167012" y="26388"/>
                        <a:pt x="1164278" y="25296"/>
                        <a:pt x="1161170" y="25255"/>
                      </a:cubicBezTo>
                      <a:close/>
                      <a:moveTo>
                        <a:pt x="1078762" y="44076"/>
                      </a:moveTo>
                      <a:lnTo>
                        <a:pt x="1078762" y="117183"/>
                      </a:lnTo>
                      <a:cubicBezTo>
                        <a:pt x="1078664" y="127652"/>
                        <a:pt x="1080577" y="135710"/>
                        <a:pt x="1084502" y="141357"/>
                      </a:cubicBezTo>
                      <a:cubicBezTo>
                        <a:pt x="1088427" y="147005"/>
                        <a:pt x="1094952" y="149860"/>
                        <a:pt x="1104076" y="149924"/>
                      </a:cubicBezTo>
                      <a:cubicBezTo>
                        <a:pt x="1109366" y="149841"/>
                        <a:pt x="1114078" y="149012"/>
                        <a:pt x="1118215" y="147438"/>
                      </a:cubicBezTo>
                      <a:cubicBezTo>
                        <a:pt x="1122351" y="145864"/>
                        <a:pt x="1125661" y="144041"/>
                        <a:pt x="1128146" y="141970"/>
                      </a:cubicBezTo>
                      <a:lnTo>
                        <a:pt x="1121811" y="125874"/>
                      </a:lnTo>
                      <a:cubicBezTo>
                        <a:pt x="1120375" y="127021"/>
                        <a:pt x="1118633" y="128077"/>
                        <a:pt x="1116586" y="129043"/>
                      </a:cubicBezTo>
                      <a:cubicBezTo>
                        <a:pt x="1114538" y="130009"/>
                        <a:pt x="1112118" y="130522"/>
                        <a:pt x="1109324" y="130582"/>
                      </a:cubicBezTo>
                      <a:cubicBezTo>
                        <a:pt x="1105908" y="130525"/>
                        <a:pt x="1103420" y="129190"/>
                        <a:pt x="1101859" y="126576"/>
                      </a:cubicBezTo>
                      <a:cubicBezTo>
                        <a:pt x="1100298" y="123962"/>
                        <a:pt x="1099529" y="120408"/>
                        <a:pt x="1099551" y="115916"/>
                      </a:cubicBezTo>
                      <a:lnTo>
                        <a:pt x="1099551" y="86220"/>
                      </a:lnTo>
                      <a:lnTo>
                        <a:pt x="1125793" y="86220"/>
                      </a:lnTo>
                      <a:lnTo>
                        <a:pt x="1125793" y="66698"/>
                      </a:lnTo>
                      <a:lnTo>
                        <a:pt x="1099551" y="66698"/>
                      </a:lnTo>
                      <a:lnTo>
                        <a:pt x="1099551" y="44076"/>
                      </a:lnTo>
                      <a:lnTo>
                        <a:pt x="1078762" y="44076"/>
                      </a:lnTo>
                      <a:close/>
                      <a:moveTo>
                        <a:pt x="1318591" y="64707"/>
                      </a:moveTo>
                      <a:cubicBezTo>
                        <a:pt x="1305076" y="65004"/>
                        <a:pt x="1294550" y="69156"/>
                        <a:pt x="1287014" y="77164"/>
                      </a:cubicBezTo>
                      <a:cubicBezTo>
                        <a:pt x="1279477" y="85172"/>
                        <a:pt x="1275649" y="95256"/>
                        <a:pt x="1275529" y="107417"/>
                      </a:cubicBezTo>
                      <a:cubicBezTo>
                        <a:pt x="1275713" y="120439"/>
                        <a:pt x="1279730" y="130765"/>
                        <a:pt x="1287579" y="138398"/>
                      </a:cubicBezTo>
                      <a:cubicBezTo>
                        <a:pt x="1295428" y="146030"/>
                        <a:pt x="1306007" y="149932"/>
                        <a:pt x="1319316" y="150105"/>
                      </a:cubicBezTo>
                      <a:cubicBezTo>
                        <a:pt x="1325095" y="150112"/>
                        <a:pt x="1330691" y="149284"/>
                        <a:pt x="1336104" y="147619"/>
                      </a:cubicBezTo>
                      <a:cubicBezTo>
                        <a:pt x="1341517" y="145955"/>
                        <a:pt x="1346295" y="143410"/>
                        <a:pt x="1350438" y="139983"/>
                      </a:cubicBezTo>
                      <a:lnTo>
                        <a:pt x="1344472" y="125334"/>
                      </a:lnTo>
                      <a:cubicBezTo>
                        <a:pt x="1342080" y="127306"/>
                        <a:pt x="1338907" y="129017"/>
                        <a:pt x="1334953" y="130469"/>
                      </a:cubicBezTo>
                      <a:cubicBezTo>
                        <a:pt x="1330998" y="131920"/>
                        <a:pt x="1326510" y="132682"/>
                        <a:pt x="1321489" y="132754"/>
                      </a:cubicBezTo>
                      <a:cubicBezTo>
                        <a:pt x="1314958" y="132731"/>
                        <a:pt x="1309503" y="131102"/>
                        <a:pt x="1305124" y="127867"/>
                      </a:cubicBezTo>
                      <a:cubicBezTo>
                        <a:pt x="1300744" y="124632"/>
                        <a:pt x="1298050" y="119927"/>
                        <a:pt x="1297043" y="113751"/>
                      </a:cubicBezTo>
                      <a:lnTo>
                        <a:pt x="1355861" y="113751"/>
                      </a:lnTo>
                      <a:cubicBezTo>
                        <a:pt x="1356309" y="112254"/>
                        <a:pt x="1356633" y="110633"/>
                        <a:pt x="1356833" y="108888"/>
                      </a:cubicBezTo>
                      <a:cubicBezTo>
                        <a:pt x="1357032" y="107142"/>
                        <a:pt x="1357130" y="105023"/>
                        <a:pt x="1357127" y="102531"/>
                      </a:cubicBezTo>
                      <a:cubicBezTo>
                        <a:pt x="1356833" y="90970"/>
                        <a:pt x="1353036" y="81813"/>
                        <a:pt x="1345734" y="75061"/>
                      </a:cubicBezTo>
                      <a:cubicBezTo>
                        <a:pt x="1338432" y="68308"/>
                        <a:pt x="1329384" y="64857"/>
                        <a:pt x="1318591" y="64707"/>
                      </a:cubicBezTo>
                      <a:close/>
                      <a:moveTo>
                        <a:pt x="1150323" y="66698"/>
                      </a:moveTo>
                      <a:lnTo>
                        <a:pt x="1150323" y="148114"/>
                      </a:lnTo>
                      <a:lnTo>
                        <a:pt x="1171113" y="148114"/>
                      </a:lnTo>
                      <a:lnTo>
                        <a:pt x="1171113" y="66698"/>
                      </a:lnTo>
                      <a:lnTo>
                        <a:pt x="1150323" y="66698"/>
                      </a:lnTo>
                      <a:close/>
                      <a:moveTo>
                        <a:pt x="1182735" y="66698"/>
                      </a:moveTo>
                      <a:lnTo>
                        <a:pt x="1220197" y="148476"/>
                      </a:lnTo>
                      <a:lnTo>
                        <a:pt x="1235580" y="148476"/>
                      </a:lnTo>
                      <a:lnTo>
                        <a:pt x="1270689" y="66698"/>
                      </a:lnTo>
                      <a:lnTo>
                        <a:pt x="1248791" y="66698"/>
                      </a:lnTo>
                      <a:lnTo>
                        <a:pt x="1234675" y="101254"/>
                      </a:lnTo>
                      <a:cubicBezTo>
                        <a:pt x="1233566" y="103949"/>
                        <a:pt x="1232481" y="106972"/>
                        <a:pt x="1231417" y="110323"/>
                      </a:cubicBezTo>
                      <a:cubicBezTo>
                        <a:pt x="1230354" y="113674"/>
                        <a:pt x="1229449" y="116923"/>
                        <a:pt x="1228703" y="120071"/>
                      </a:cubicBezTo>
                      <a:cubicBezTo>
                        <a:pt x="1227949" y="116837"/>
                        <a:pt x="1227014" y="113580"/>
                        <a:pt x="1225898" y="110301"/>
                      </a:cubicBezTo>
                      <a:cubicBezTo>
                        <a:pt x="1224782" y="107021"/>
                        <a:pt x="1223666" y="104127"/>
                        <a:pt x="1222550" y="101616"/>
                      </a:cubicBezTo>
                      <a:lnTo>
                        <a:pt x="1207529" y="66698"/>
                      </a:lnTo>
                      <a:lnTo>
                        <a:pt x="1182735" y="66698"/>
                      </a:lnTo>
                      <a:close/>
                      <a:moveTo>
                        <a:pt x="938972" y="64707"/>
                      </a:moveTo>
                      <a:cubicBezTo>
                        <a:pt x="933538" y="64771"/>
                        <a:pt x="928289" y="65547"/>
                        <a:pt x="923223" y="67034"/>
                      </a:cubicBezTo>
                      <a:cubicBezTo>
                        <a:pt x="918157" y="68521"/>
                        <a:pt x="913816" y="70336"/>
                        <a:pt x="910201" y="72479"/>
                      </a:cubicBezTo>
                      <a:lnTo>
                        <a:pt x="915443" y="87676"/>
                      </a:lnTo>
                      <a:cubicBezTo>
                        <a:pt x="918354" y="86253"/>
                        <a:pt x="921482" y="84977"/>
                        <a:pt x="924826" y="83848"/>
                      </a:cubicBezTo>
                      <a:cubicBezTo>
                        <a:pt x="928170" y="82719"/>
                        <a:pt x="932161" y="82122"/>
                        <a:pt x="936798" y="82058"/>
                      </a:cubicBezTo>
                      <a:cubicBezTo>
                        <a:pt x="942775" y="82085"/>
                        <a:pt x="946896" y="83889"/>
                        <a:pt x="949160" y="87470"/>
                      </a:cubicBezTo>
                      <a:cubicBezTo>
                        <a:pt x="951424" y="91052"/>
                        <a:pt x="952375" y="96250"/>
                        <a:pt x="952013" y="103065"/>
                      </a:cubicBezTo>
                      <a:cubicBezTo>
                        <a:pt x="949952" y="101582"/>
                        <a:pt x="947281" y="100348"/>
                        <a:pt x="943998" y="99361"/>
                      </a:cubicBezTo>
                      <a:cubicBezTo>
                        <a:pt x="940715" y="98375"/>
                        <a:pt x="937228" y="97863"/>
                        <a:pt x="933538" y="97826"/>
                      </a:cubicBezTo>
                      <a:cubicBezTo>
                        <a:pt x="925097" y="97806"/>
                        <a:pt x="918095" y="99968"/>
                        <a:pt x="912530" y="104312"/>
                      </a:cubicBezTo>
                      <a:cubicBezTo>
                        <a:pt x="906966" y="108656"/>
                        <a:pt x="904080" y="115298"/>
                        <a:pt x="903873" y="124239"/>
                      </a:cubicBezTo>
                      <a:cubicBezTo>
                        <a:pt x="904009" y="132167"/>
                        <a:pt x="906405" y="138295"/>
                        <a:pt x="911061" y="142623"/>
                      </a:cubicBezTo>
                      <a:cubicBezTo>
                        <a:pt x="915716" y="146951"/>
                        <a:pt x="921820" y="149144"/>
                        <a:pt x="929372" y="149200"/>
                      </a:cubicBezTo>
                      <a:cubicBezTo>
                        <a:pt x="934938" y="149147"/>
                        <a:pt x="939791" y="148168"/>
                        <a:pt x="943930" y="146263"/>
                      </a:cubicBezTo>
                      <a:cubicBezTo>
                        <a:pt x="948069" y="144357"/>
                        <a:pt x="951245" y="141842"/>
                        <a:pt x="953459" y="138717"/>
                      </a:cubicBezTo>
                      <a:lnTo>
                        <a:pt x="953459" y="148114"/>
                      </a:lnTo>
                      <a:lnTo>
                        <a:pt x="971535" y="148114"/>
                      </a:lnTo>
                      <a:lnTo>
                        <a:pt x="971535" y="98548"/>
                      </a:lnTo>
                      <a:cubicBezTo>
                        <a:pt x="971683" y="87710"/>
                        <a:pt x="969264" y="79376"/>
                        <a:pt x="964279" y="73546"/>
                      </a:cubicBezTo>
                      <a:cubicBezTo>
                        <a:pt x="959294" y="67717"/>
                        <a:pt x="950858" y="64770"/>
                        <a:pt x="938972" y="64707"/>
                      </a:cubicBezTo>
                      <a:close/>
                      <a:moveTo>
                        <a:pt x="1031924" y="64707"/>
                      </a:moveTo>
                      <a:cubicBezTo>
                        <a:pt x="1019323" y="65004"/>
                        <a:pt x="1009200" y="69155"/>
                        <a:pt x="1001556" y="77162"/>
                      </a:cubicBezTo>
                      <a:cubicBezTo>
                        <a:pt x="993912" y="85169"/>
                        <a:pt x="989986" y="95250"/>
                        <a:pt x="989779" y="107406"/>
                      </a:cubicBezTo>
                      <a:cubicBezTo>
                        <a:pt x="989967" y="120432"/>
                        <a:pt x="994021" y="130762"/>
                        <a:pt x="1001940" y="138395"/>
                      </a:cubicBezTo>
                      <a:cubicBezTo>
                        <a:pt x="1009860" y="146029"/>
                        <a:pt x="1020518" y="149932"/>
                        <a:pt x="1033915" y="150105"/>
                      </a:cubicBezTo>
                      <a:cubicBezTo>
                        <a:pt x="1040615" y="150093"/>
                        <a:pt x="1046805" y="148896"/>
                        <a:pt x="1052487" y="146512"/>
                      </a:cubicBezTo>
                      <a:cubicBezTo>
                        <a:pt x="1058169" y="144128"/>
                        <a:pt x="1062776" y="140626"/>
                        <a:pt x="1066309" y="136005"/>
                      </a:cubicBezTo>
                      <a:lnTo>
                        <a:pt x="1056537" y="120804"/>
                      </a:lnTo>
                      <a:cubicBezTo>
                        <a:pt x="1053920" y="123754"/>
                        <a:pt x="1050874" y="126138"/>
                        <a:pt x="1047397" y="127956"/>
                      </a:cubicBezTo>
                      <a:cubicBezTo>
                        <a:pt x="1043921" y="129775"/>
                        <a:pt x="1039970" y="130710"/>
                        <a:pt x="1035543" y="130763"/>
                      </a:cubicBezTo>
                      <a:cubicBezTo>
                        <a:pt x="1029179" y="130695"/>
                        <a:pt x="1023720" y="128613"/>
                        <a:pt x="1019165" y="124516"/>
                      </a:cubicBezTo>
                      <a:cubicBezTo>
                        <a:pt x="1014611" y="120420"/>
                        <a:pt x="1012228" y="114716"/>
                        <a:pt x="1012017" y="107406"/>
                      </a:cubicBezTo>
                      <a:cubicBezTo>
                        <a:pt x="1012235" y="100182"/>
                        <a:pt x="1014558" y="94531"/>
                        <a:pt x="1018984" y="90454"/>
                      </a:cubicBezTo>
                      <a:cubicBezTo>
                        <a:pt x="1023411" y="86376"/>
                        <a:pt x="1028629" y="84301"/>
                        <a:pt x="1034639" y="84230"/>
                      </a:cubicBezTo>
                      <a:cubicBezTo>
                        <a:pt x="1038345" y="84188"/>
                        <a:pt x="1041881" y="84769"/>
                        <a:pt x="1045248" y="85972"/>
                      </a:cubicBezTo>
                      <a:cubicBezTo>
                        <a:pt x="1048615" y="87176"/>
                        <a:pt x="1051835" y="89250"/>
                        <a:pt x="1054908" y="92196"/>
                      </a:cubicBezTo>
                      <a:lnTo>
                        <a:pt x="1064680" y="75734"/>
                      </a:lnTo>
                      <a:cubicBezTo>
                        <a:pt x="1060827" y="71953"/>
                        <a:pt x="1056092" y="69166"/>
                        <a:pt x="1050474" y="67373"/>
                      </a:cubicBezTo>
                      <a:cubicBezTo>
                        <a:pt x="1044856" y="65581"/>
                        <a:pt x="1038673" y="64692"/>
                        <a:pt x="1031924" y="64707"/>
                      </a:cubicBezTo>
                      <a:close/>
                      <a:moveTo>
                        <a:pt x="819842" y="85338"/>
                      </a:moveTo>
                      <a:cubicBezTo>
                        <a:pt x="809328" y="85459"/>
                        <a:pt x="800808" y="88384"/>
                        <a:pt x="794283" y="94112"/>
                      </a:cubicBezTo>
                      <a:cubicBezTo>
                        <a:pt x="787757" y="99841"/>
                        <a:pt x="784397" y="107651"/>
                        <a:pt x="784201" y="117541"/>
                      </a:cubicBezTo>
                      <a:cubicBezTo>
                        <a:pt x="784397" y="127359"/>
                        <a:pt x="787757" y="135176"/>
                        <a:pt x="794283" y="140991"/>
                      </a:cubicBezTo>
                      <a:cubicBezTo>
                        <a:pt x="800808" y="146807"/>
                        <a:pt x="809328" y="149784"/>
                        <a:pt x="819842" y="149924"/>
                      </a:cubicBezTo>
                      <a:cubicBezTo>
                        <a:pt x="830356" y="149784"/>
                        <a:pt x="838876" y="146807"/>
                        <a:pt x="845401" y="140991"/>
                      </a:cubicBezTo>
                      <a:cubicBezTo>
                        <a:pt x="851927" y="135176"/>
                        <a:pt x="855288" y="127359"/>
                        <a:pt x="855483" y="117541"/>
                      </a:cubicBezTo>
                      <a:cubicBezTo>
                        <a:pt x="855288" y="107651"/>
                        <a:pt x="851927" y="99841"/>
                        <a:pt x="845401" y="94112"/>
                      </a:cubicBezTo>
                      <a:cubicBezTo>
                        <a:pt x="838876" y="88384"/>
                        <a:pt x="830356" y="85459"/>
                        <a:pt x="819842" y="85338"/>
                      </a:cubicBezTo>
                      <a:close/>
                      <a:moveTo>
                        <a:pt x="739851" y="19825"/>
                      </a:moveTo>
                      <a:cubicBezTo>
                        <a:pt x="729337" y="19946"/>
                        <a:pt x="720818" y="22871"/>
                        <a:pt x="714292" y="28600"/>
                      </a:cubicBezTo>
                      <a:cubicBezTo>
                        <a:pt x="707766" y="34328"/>
                        <a:pt x="704406" y="42138"/>
                        <a:pt x="704210" y="52028"/>
                      </a:cubicBezTo>
                      <a:cubicBezTo>
                        <a:pt x="704406" y="61846"/>
                        <a:pt x="707766" y="69663"/>
                        <a:pt x="714292" y="75478"/>
                      </a:cubicBezTo>
                      <a:cubicBezTo>
                        <a:pt x="720818" y="81294"/>
                        <a:pt x="729337" y="84271"/>
                        <a:pt x="739851" y="84411"/>
                      </a:cubicBezTo>
                      <a:cubicBezTo>
                        <a:pt x="750365" y="84271"/>
                        <a:pt x="758885" y="81294"/>
                        <a:pt x="765411" y="75478"/>
                      </a:cubicBezTo>
                      <a:cubicBezTo>
                        <a:pt x="771936" y="69663"/>
                        <a:pt x="775297" y="61846"/>
                        <a:pt x="775492" y="52028"/>
                      </a:cubicBezTo>
                      <a:cubicBezTo>
                        <a:pt x="775297" y="42138"/>
                        <a:pt x="771936" y="34328"/>
                        <a:pt x="765411" y="28600"/>
                      </a:cubicBezTo>
                      <a:cubicBezTo>
                        <a:pt x="758885" y="22871"/>
                        <a:pt x="750365" y="19946"/>
                        <a:pt x="739851" y="19825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5" name="Полілінія: фігура 44">
                  <a:extLst>
                    <a:ext uri="{FF2B5EF4-FFF2-40B4-BE49-F238E27FC236}">
                      <a16:creationId xmlns:a16="http://schemas.microsoft.com/office/drawing/2014/main" id="{F93F11B2-EDC5-7FB7-4038-FDEAB5784534}"/>
                    </a:ext>
                  </a:extLst>
                </p:cNvPr>
                <p:cNvSpPr/>
                <p:nvPr/>
              </p:nvSpPr>
              <p:spPr>
                <a:xfrm>
                  <a:off x="10398818" y="4223060"/>
                  <a:ext cx="32417" cy="30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417" h="30936">
                      <a:moveTo>
                        <a:pt x="16118" y="0"/>
                      </a:moveTo>
                      <a:cubicBezTo>
                        <a:pt x="20838" y="53"/>
                        <a:pt x="24709" y="1440"/>
                        <a:pt x="27731" y="4161"/>
                      </a:cubicBezTo>
                      <a:cubicBezTo>
                        <a:pt x="30753" y="6882"/>
                        <a:pt x="32315" y="10621"/>
                        <a:pt x="32417" y="15378"/>
                      </a:cubicBezTo>
                      <a:cubicBezTo>
                        <a:pt x="32327" y="20221"/>
                        <a:pt x="30787" y="24012"/>
                        <a:pt x="27799" y="26752"/>
                      </a:cubicBezTo>
                      <a:cubicBezTo>
                        <a:pt x="24811" y="29492"/>
                        <a:pt x="20917" y="30887"/>
                        <a:pt x="16118" y="30936"/>
                      </a:cubicBezTo>
                      <a:cubicBezTo>
                        <a:pt x="11564" y="30887"/>
                        <a:pt x="7769" y="29492"/>
                        <a:pt x="4731" y="26752"/>
                      </a:cubicBezTo>
                      <a:cubicBezTo>
                        <a:pt x="1694" y="24012"/>
                        <a:pt x="117" y="20221"/>
                        <a:pt x="0" y="15378"/>
                      </a:cubicBezTo>
                      <a:cubicBezTo>
                        <a:pt x="106" y="10621"/>
                        <a:pt x="1660" y="6882"/>
                        <a:pt x="4663" y="4161"/>
                      </a:cubicBezTo>
                      <a:cubicBezTo>
                        <a:pt x="7667" y="1440"/>
                        <a:pt x="11485" y="53"/>
                        <a:pt x="16118" y="0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6" name="Полілінія: фігура 45">
                  <a:extLst>
                    <a:ext uri="{FF2B5EF4-FFF2-40B4-BE49-F238E27FC236}">
                      <a16:creationId xmlns:a16="http://schemas.microsoft.com/office/drawing/2014/main" id="{8D6B18BB-DBE2-8A5C-408D-C6E79549A853}"/>
                    </a:ext>
                  </a:extLst>
                </p:cNvPr>
                <p:cNvSpPr/>
                <p:nvPr/>
              </p:nvSpPr>
              <p:spPr>
                <a:xfrm>
                  <a:off x="10971404" y="4268468"/>
                  <a:ext cx="40018" cy="177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8" h="17758">
                      <a:moveTo>
                        <a:pt x="21366" y="0"/>
                      </a:moveTo>
                      <a:cubicBezTo>
                        <a:pt x="27383" y="117"/>
                        <a:pt x="32008" y="1831"/>
                        <a:pt x="35241" y="5142"/>
                      </a:cubicBezTo>
                      <a:cubicBezTo>
                        <a:pt x="38474" y="8453"/>
                        <a:pt x="40066" y="12658"/>
                        <a:pt x="40017" y="17758"/>
                      </a:cubicBezTo>
                      <a:lnTo>
                        <a:pt x="0" y="17758"/>
                      </a:lnTo>
                      <a:cubicBezTo>
                        <a:pt x="1059" y="12341"/>
                        <a:pt x="3330" y="8045"/>
                        <a:pt x="6812" y="4870"/>
                      </a:cubicBezTo>
                      <a:cubicBezTo>
                        <a:pt x="10294" y="1695"/>
                        <a:pt x="15145" y="72"/>
                        <a:pt x="21366" y="0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7" name="Полілінія: фігура 46">
                  <a:extLst>
                    <a:ext uri="{FF2B5EF4-FFF2-40B4-BE49-F238E27FC236}">
                      <a16:creationId xmlns:a16="http://schemas.microsoft.com/office/drawing/2014/main" id="{AF8894A9-BA5C-3F2B-249F-FBF76D3D25ED}"/>
                    </a:ext>
                  </a:extLst>
                </p:cNvPr>
                <p:cNvSpPr/>
                <p:nvPr/>
              </p:nvSpPr>
              <p:spPr>
                <a:xfrm>
                  <a:off x="10478809" y="4288573"/>
                  <a:ext cx="32417" cy="30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417" h="30936">
                      <a:moveTo>
                        <a:pt x="16118" y="0"/>
                      </a:moveTo>
                      <a:cubicBezTo>
                        <a:pt x="20838" y="53"/>
                        <a:pt x="24709" y="1440"/>
                        <a:pt x="27731" y="4161"/>
                      </a:cubicBezTo>
                      <a:cubicBezTo>
                        <a:pt x="30753" y="6882"/>
                        <a:pt x="32315" y="10621"/>
                        <a:pt x="32417" y="15378"/>
                      </a:cubicBezTo>
                      <a:cubicBezTo>
                        <a:pt x="32327" y="20221"/>
                        <a:pt x="30787" y="24012"/>
                        <a:pt x="27799" y="26752"/>
                      </a:cubicBezTo>
                      <a:cubicBezTo>
                        <a:pt x="24811" y="29492"/>
                        <a:pt x="20917" y="30887"/>
                        <a:pt x="16118" y="30936"/>
                      </a:cubicBezTo>
                      <a:cubicBezTo>
                        <a:pt x="11564" y="30887"/>
                        <a:pt x="7769" y="29492"/>
                        <a:pt x="4731" y="26752"/>
                      </a:cubicBezTo>
                      <a:cubicBezTo>
                        <a:pt x="1694" y="24012"/>
                        <a:pt x="117" y="20221"/>
                        <a:pt x="0" y="15378"/>
                      </a:cubicBezTo>
                      <a:cubicBezTo>
                        <a:pt x="106" y="10621"/>
                        <a:pt x="1660" y="6882"/>
                        <a:pt x="4663" y="4161"/>
                      </a:cubicBezTo>
                      <a:cubicBezTo>
                        <a:pt x="7667" y="1440"/>
                        <a:pt x="11485" y="53"/>
                        <a:pt x="16118" y="0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48" name="Полілінія: фігура 47">
                  <a:extLst>
                    <a:ext uri="{FF2B5EF4-FFF2-40B4-BE49-F238E27FC236}">
                      <a16:creationId xmlns:a16="http://schemas.microsoft.com/office/drawing/2014/main" id="{1CDDBBC4-C942-86B8-1C5F-975FDF1BDA26}"/>
                    </a:ext>
                  </a:extLst>
                </p:cNvPr>
                <p:cNvSpPr/>
                <p:nvPr/>
              </p:nvSpPr>
              <p:spPr>
                <a:xfrm>
                  <a:off x="10599747" y="4298328"/>
                  <a:ext cx="27350" cy="19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350" h="19750">
                      <a:moveTo>
                        <a:pt x="13041" y="1"/>
                      </a:moveTo>
                      <a:cubicBezTo>
                        <a:pt x="16026" y="-3"/>
                        <a:pt x="18705" y="322"/>
                        <a:pt x="21078" y="975"/>
                      </a:cubicBezTo>
                      <a:cubicBezTo>
                        <a:pt x="23452" y="1628"/>
                        <a:pt x="25542" y="2632"/>
                        <a:pt x="27350" y="3987"/>
                      </a:cubicBezTo>
                      <a:lnTo>
                        <a:pt x="27350" y="12321"/>
                      </a:lnTo>
                      <a:cubicBezTo>
                        <a:pt x="26127" y="14216"/>
                        <a:pt x="24271" y="15907"/>
                        <a:pt x="21780" y="17394"/>
                      </a:cubicBezTo>
                      <a:cubicBezTo>
                        <a:pt x="19290" y="18882"/>
                        <a:pt x="15894" y="19667"/>
                        <a:pt x="11592" y="19750"/>
                      </a:cubicBezTo>
                      <a:cubicBezTo>
                        <a:pt x="8256" y="19735"/>
                        <a:pt x="5509" y="18904"/>
                        <a:pt x="3351" y="17259"/>
                      </a:cubicBezTo>
                      <a:cubicBezTo>
                        <a:pt x="1192" y="15613"/>
                        <a:pt x="75" y="13242"/>
                        <a:pt x="0" y="10147"/>
                      </a:cubicBezTo>
                      <a:cubicBezTo>
                        <a:pt x="113" y="6712"/>
                        <a:pt x="1426" y="4161"/>
                        <a:pt x="3939" y="2492"/>
                      </a:cubicBezTo>
                      <a:cubicBezTo>
                        <a:pt x="6453" y="824"/>
                        <a:pt x="9486" y="-7"/>
                        <a:pt x="13041" y="1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sp>
            <p:nvSpPr>
              <p:cNvPr id="52" name="object 28">
                <a:extLst>
                  <a:ext uri="{FF2B5EF4-FFF2-40B4-BE49-F238E27FC236}">
                    <a16:creationId xmlns:a16="http://schemas.microsoft.com/office/drawing/2014/main" id="{DCB2AFE3-39DC-AFF9-1EF0-F8F6515243BC}"/>
                  </a:ext>
                </a:extLst>
              </p:cNvPr>
              <p:cNvSpPr/>
              <p:nvPr/>
            </p:nvSpPr>
            <p:spPr>
              <a:xfrm>
                <a:off x="10118475" y="2697527"/>
                <a:ext cx="451388" cy="281006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1400" spc="-1" dirty="0">
                    <a:solidFill>
                      <a:schemeClr val="bg1"/>
                    </a:solidFill>
                    <a:latin typeface="Aptos Black" panose="020F0502020204030204" pitchFamily="34" charset="0"/>
                    <a:ea typeface="DejaVu Sans"/>
                  </a:rPr>
                  <a:t>41</a:t>
                </a:r>
                <a:endParaRPr lang="ru-RU" sz="1400" spc="-1" dirty="0">
                  <a:solidFill>
                    <a:schemeClr val="bg1"/>
                  </a:solidFill>
                  <a:latin typeface="Aptos Black" panose="020F0502020204030204" pitchFamily="34" charset="0"/>
                </a:endParaRPr>
              </a:p>
            </p:txBody>
          </p:sp>
        </p:grpSp>
        <p:grpSp>
          <p:nvGrpSpPr>
            <p:cNvPr id="430" name="Групувати 429">
              <a:extLst>
                <a:ext uri="{FF2B5EF4-FFF2-40B4-BE49-F238E27FC236}">
                  <a16:creationId xmlns:a16="http://schemas.microsoft.com/office/drawing/2014/main" id="{38B9DACB-881B-4CC9-9F7C-BD97A65B899B}"/>
                </a:ext>
              </a:extLst>
            </p:cNvPr>
            <p:cNvGrpSpPr/>
            <p:nvPr/>
          </p:nvGrpSpPr>
          <p:grpSpPr>
            <a:xfrm>
              <a:off x="9233294" y="3295551"/>
              <a:ext cx="2220383" cy="893062"/>
              <a:chOff x="9651325" y="3224108"/>
              <a:chExt cx="2220383" cy="893062"/>
            </a:xfrm>
          </p:grpSpPr>
          <p:grpSp>
            <p:nvGrpSpPr>
              <p:cNvPr id="28" name="Групувати 27">
                <a:extLst>
                  <a:ext uri="{FF2B5EF4-FFF2-40B4-BE49-F238E27FC236}">
                    <a16:creationId xmlns:a16="http://schemas.microsoft.com/office/drawing/2014/main" id="{5B4927C4-5022-0695-CCEA-013948A5A18B}"/>
                  </a:ext>
                </a:extLst>
              </p:cNvPr>
              <p:cNvGrpSpPr/>
              <p:nvPr/>
            </p:nvGrpSpPr>
            <p:grpSpPr>
              <a:xfrm>
                <a:off x="9683037" y="3873222"/>
                <a:ext cx="2121740" cy="207528"/>
                <a:chOff x="9675084" y="4186410"/>
                <a:chExt cx="2121740" cy="207528"/>
              </a:xfrm>
            </p:grpSpPr>
            <p:sp>
              <p:nvSpPr>
                <p:cNvPr id="29" name="Полілінія: фігура 28">
                  <a:extLst>
                    <a:ext uri="{FF2B5EF4-FFF2-40B4-BE49-F238E27FC236}">
                      <a16:creationId xmlns:a16="http://schemas.microsoft.com/office/drawing/2014/main" id="{8D597E26-FB22-D50C-BED5-C4B3C987BEC4}"/>
                    </a:ext>
                  </a:extLst>
                </p:cNvPr>
                <p:cNvSpPr/>
                <p:nvPr/>
              </p:nvSpPr>
              <p:spPr>
                <a:xfrm>
                  <a:off x="9675084" y="4186410"/>
                  <a:ext cx="2121740" cy="20752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1740" h="207528">
                      <a:moveTo>
                        <a:pt x="0" y="0"/>
                      </a:moveTo>
                      <a:lnTo>
                        <a:pt x="2121740" y="0"/>
                      </a:lnTo>
                      <a:lnTo>
                        <a:pt x="2121740" y="207528"/>
                      </a:lnTo>
                      <a:lnTo>
                        <a:pt x="0" y="207528"/>
                      </a:lnTo>
                      <a:lnTo>
                        <a:pt x="0" y="0"/>
                      </a:lnTo>
                      <a:close/>
                      <a:moveTo>
                        <a:pt x="819661" y="19463"/>
                      </a:moveTo>
                      <a:lnTo>
                        <a:pt x="728269" y="141781"/>
                      </a:lnTo>
                      <a:lnTo>
                        <a:pt x="740213" y="150105"/>
                      </a:lnTo>
                      <a:lnTo>
                        <a:pt x="831425" y="28329"/>
                      </a:lnTo>
                      <a:lnTo>
                        <a:pt x="819661" y="19463"/>
                      </a:lnTo>
                      <a:close/>
                      <a:moveTo>
                        <a:pt x="1161170" y="25255"/>
                      </a:moveTo>
                      <a:cubicBezTo>
                        <a:pt x="1157542" y="25296"/>
                        <a:pt x="1154491" y="26388"/>
                        <a:pt x="1152016" y="28532"/>
                      </a:cubicBezTo>
                      <a:cubicBezTo>
                        <a:pt x="1149542" y="30675"/>
                        <a:pt x="1148253" y="33621"/>
                        <a:pt x="1148152" y="37369"/>
                      </a:cubicBezTo>
                      <a:cubicBezTo>
                        <a:pt x="1148253" y="41550"/>
                        <a:pt x="1149542" y="44760"/>
                        <a:pt x="1152016" y="46997"/>
                      </a:cubicBezTo>
                      <a:cubicBezTo>
                        <a:pt x="1154491" y="49235"/>
                        <a:pt x="1157542" y="50365"/>
                        <a:pt x="1161170" y="50387"/>
                      </a:cubicBezTo>
                      <a:cubicBezTo>
                        <a:pt x="1164278" y="50365"/>
                        <a:pt x="1167012" y="49235"/>
                        <a:pt x="1169374" y="46997"/>
                      </a:cubicBezTo>
                      <a:cubicBezTo>
                        <a:pt x="1171736" y="44760"/>
                        <a:pt x="1172979" y="41550"/>
                        <a:pt x="1173104" y="37369"/>
                      </a:cubicBezTo>
                      <a:cubicBezTo>
                        <a:pt x="1172979" y="33621"/>
                        <a:pt x="1171736" y="30675"/>
                        <a:pt x="1169374" y="28532"/>
                      </a:cubicBezTo>
                      <a:cubicBezTo>
                        <a:pt x="1167012" y="26388"/>
                        <a:pt x="1164278" y="25296"/>
                        <a:pt x="1161170" y="25255"/>
                      </a:cubicBezTo>
                      <a:close/>
                      <a:moveTo>
                        <a:pt x="1078762" y="44076"/>
                      </a:moveTo>
                      <a:lnTo>
                        <a:pt x="1078762" y="117183"/>
                      </a:lnTo>
                      <a:cubicBezTo>
                        <a:pt x="1078664" y="127652"/>
                        <a:pt x="1080577" y="135710"/>
                        <a:pt x="1084502" y="141357"/>
                      </a:cubicBezTo>
                      <a:cubicBezTo>
                        <a:pt x="1088427" y="147005"/>
                        <a:pt x="1094952" y="149860"/>
                        <a:pt x="1104076" y="149924"/>
                      </a:cubicBezTo>
                      <a:cubicBezTo>
                        <a:pt x="1109366" y="149841"/>
                        <a:pt x="1114078" y="149012"/>
                        <a:pt x="1118215" y="147438"/>
                      </a:cubicBezTo>
                      <a:cubicBezTo>
                        <a:pt x="1122351" y="145864"/>
                        <a:pt x="1125661" y="144041"/>
                        <a:pt x="1128146" y="141970"/>
                      </a:cubicBezTo>
                      <a:lnTo>
                        <a:pt x="1121811" y="125874"/>
                      </a:lnTo>
                      <a:cubicBezTo>
                        <a:pt x="1120375" y="127021"/>
                        <a:pt x="1118633" y="128077"/>
                        <a:pt x="1116586" y="129043"/>
                      </a:cubicBezTo>
                      <a:cubicBezTo>
                        <a:pt x="1114538" y="130009"/>
                        <a:pt x="1112118" y="130522"/>
                        <a:pt x="1109324" y="130582"/>
                      </a:cubicBezTo>
                      <a:cubicBezTo>
                        <a:pt x="1105908" y="130525"/>
                        <a:pt x="1103420" y="129190"/>
                        <a:pt x="1101859" y="126576"/>
                      </a:cubicBezTo>
                      <a:cubicBezTo>
                        <a:pt x="1100298" y="123962"/>
                        <a:pt x="1099529" y="120408"/>
                        <a:pt x="1099551" y="115916"/>
                      </a:cubicBezTo>
                      <a:lnTo>
                        <a:pt x="1099551" y="86220"/>
                      </a:lnTo>
                      <a:lnTo>
                        <a:pt x="1125793" y="86220"/>
                      </a:lnTo>
                      <a:lnTo>
                        <a:pt x="1125793" y="66698"/>
                      </a:lnTo>
                      <a:lnTo>
                        <a:pt x="1099551" y="66698"/>
                      </a:lnTo>
                      <a:lnTo>
                        <a:pt x="1099551" y="44076"/>
                      </a:lnTo>
                      <a:lnTo>
                        <a:pt x="1078762" y="44076"/>
                      </a:lnTo>
                      <a:close/>
                      <a:moveTo>
                        <a:pt x="1318591" y="64707"/>
                      </a:moveTo>
                      <a:cubicBezTo>
                        <a:pt x="1305076" y="65004"/>
                        <a:pt x="1294550" y="69156"/>
                        <a:pt x="1287014" y="77164"/>
                      </a:cubicBezTo>
                      <a:cubicBezTo>
                        <a:pt x="1279477" y="85172"/>
                        <a:pt x="1275649" y="95256"/>
                        <a:pt x="1275529" y="107417"/>
                      </a:cubicBezTo>
                      <a:cubicBezTo>
                        <a:pt x="1275713" y="120439"/>
                        <a:pt x="1279730" y="130765"/>
                        <a:pt x="1287579" y="138398"/>
                      </a:cubicBezTo>
                      <a:cubicBezTo>
                        <a:pt x="1295428" y="146030"/>
                        <a:pt x="1306007" y="149932"/>
                        <a:pt x="1319316" y="150105"/>
                      </a:cubicBezTo>
                      <a:cubicBezTo>
                        <a:pt x="1325095" y="150112"/>
                        <a:pt x="1330691" y="149284"/>
                        <a:pt x="1336104" y="147619"/>
                      </a:cubicBezTo>
                      <a:cubicBezTo>
                        <a:pt x="1341517" y="145955"/>
                        <a:pt x="1346295" y="143410"/>
                        <a:pt x="1350438" y="139983"/>
                      </a:cubicBezTo>
                      <a:lnTo>
                        <a:pt x="1344472" y="125334"/>
                      </a:lnTo>
                      <a:cubicBezTo>
                        <a:pt x="1342080" y="127306"/>
                        <a:pt x="1338907" y="129017"/>
                        <a:pt x="1334953" y="130469"/>
                      </a:cubicBezTo>
                      <a:cubicBezTo>
                        <a:pt x="1330998" y="131920"/>
                        <a:pt x="1326510" y="132682"/>
                        <a:pt x="1321489" y="132754"/>
                      </a:cubicBezTo>
                      <a:cubicBezTo>
                        <a:pt x="1314958" y="132731"/>
                        <a:pt x="1309503" y="131102"/>
                        <a:pt x="1305124" y="127867"/>
                      </a:cubicBezTo>
                      <a:cubicBezTo>
                        <a:pt x="1300744" y="124632"/>
                        <a:pt x="1298050" y="119927"/>
                        <a:pt x="1297043" y="113751"/>
                      </a:cubicBezTo>
                      <a:lnTo>
                        <a:pt x="1355861" y="113751"/>
                      </a:lnTo>
                      <a:cubicBezTo>
                        <a:pt x="1356309" y="112254"/>
                        <a:pt x="1356633" y="110633"/>
                        <a:pt x="1356833" y="108888"/>
                      </a:cubicBezTo>
                      <a:cubicBezTo>
                        <a:pt x="1357032" y="107142"/>
                        <a:pt x="1357130" y="105023"/>
                        <a:pt x="1357127" y="102531"/>
                      </a:cubicBezTo>
                      <a:cubicBezTo>
                        <a:pt x="1356833" y="90970"/>
                        <a:pt x="1353036" y="81813"/>
                        <a:pt x="1345734" y="75061"/>
                      </a:cubicBezTo>
                      <a:cubicBezTo>
                        <a:pt x="1338432" y="68308"/>
                        <a:pt x="1329384" y="64857"/>
                        <a:pt x="1318591" y="64707"/>
                      </a:cubicBezTo>
                      <a:close/>
                      <a:moveTo>
                        <a:pt x="1150323" y="66698"/>
                      </a:moveTo>
                      <a:lnTo>
                        <a:pt x="1150323" y="148114"/>
                      </a:lnTo>
                      <a:lnTo>
                        <a:pt x="1171113" y="148114"/>
                      </a:lnTo>
                      <a:lnTo>
                        <a:pt x="1171113" y="66698"/>
                      </a:lnTo>
                      <a:lnTo>
                        <a:pt x="1150323" y="66698"/>
                      </a:lnTo>
                      <a:close/>
                      <a:moveTo>
                        <a:pt x="1182735" y="66698"/>
                      </a:moveTo>
                      <a:lnTo>
                        <a:pt x="1220197" y="148476"/>
                      </a:lnTo>
                      <a:lnTo>
                        <a:pt x="1235580" y="148476"/>
                      </a:lnTo>
                      <a:lnTo>
                        <a:pt x="1270689" y="66698"/>
                      </a:lnTo>
                      <a:lnTo>
                        <a:pt x="1248791" y="66698"/>
                      </a:lnTo>
                      <a:lnTo>
                        <a:pt x="1234675" y="101254"/>
                      </a:lnTo>
                      <a:cubicBezTo>
                        <a:pt x="1233566" y="103949"/>
                        <a:pt x="1232481" y="106972"/>
                        <a:pt x="1231417" y="110323"/>
                      </a:cubicBezTo>
                      <a:cubicBezTo>
                        <a:pt x="1230354" y="113674"/>
                        <a:pt x="1229449" y="116923"/>
                        <a:pt x="1228703" y="120071"/>
                      </a:cubicBezTo>
                      <a:cubicBezTo>
                        <a:pt x="1227949" y="116837"/>
                        <a:pt x="1227014" y="113580"/>
                        <a:pt x="1225898" y="110301"/>
                      </a:cubicBezTo>
                      <a:cubicBezTo>
                        <a:pt x="1224782" y="107021"/>
                        <a:pt x="1223666" y="104127"/>
                        <a:pt x="1222550" y="101616"/>
                      </a:cubicBezTo>
                      <a:lnTo>
                        <a:pt x="1207529" y="66698"/>
                      </a:lnTo>
                      <a:lnTo>
                        <a:pt x="1182735" y="66698"/>
                      </a:lnTo>
                      <a:close/>
                      <a:moveTo>
                        <a:pt x="938972" y="64707"/>
                      </a:moveTo>
                      <a:cubicBezTo>
                        <a:pt x="933538" y="64771"/>
                        <a:pt x="928289" y="65547"/>
                        <a:pt x="923223" y="67034"/>
                      </a:cubicBezTo>
                      <a:cubicBezTo>
                        <a:pt x="918157" y="68521"/>
                        <a:pt x="913816" y="70336"/>
                        <a:pt x="910201" y="72479"/>
                      </a:cubicBezTo>
                      <a:lnTo>
                        <a:pt x="915443" y="87676"/>
                      </a:lnTo>
                      <a:cubicBezTo>
                        <a:pt x="918354" y="86253"/>
                        <a:pt x="921482" y="84977"/>
                        <a:pt x="924826" y="83848"/>
                      </a:cubicBezTo>
                      <a:cubicBezTo>
                        <a:pt x="928170" y="82719"/>
                        <a:pt x="932161" y="82122"/>
                        <a:pt x="936798" y="82058"/>
                      </a:cubicBezTo>
                      <a:cubicBezTo>
                        <a:pt x="942775" y="82085"/>
                        <a:pt x="946896" y="83889"/>
                        <a:pt x="949160" y="87470"/>
                      </a:cubicBezTo>
                      <a:cubicBezTo>
                        <a:pt x="951424" y="91052"/>
                        <a:pt x="952375" y="96250"/>
                        <a:pt x="952013" y="103065"/>
                      </a:cubicBezTo>
                      <a:cubicBezTo>
                        <a:pt x="949952" y="101582"/>
                        <a:pt x="947281" y="100348"/>
                        <a:pt x="943998" y="99361"/>
                      </a:cubicBezTo>
                      <a:cubicBezTo>
                        <a:pt x="940715" y="98375"/>
                        <a:pt x="937228" y="97863"/>
                        <a:pt x="933538" y="97826"/>
                      </a:cubicBezTo>
                      <a:cubicBezTo>
                        <a:pt x="925097" y="97806"/>
                        <a:pt x="918095" y="99968"/>
                        <a:pt x="912530" y="104312"/>
                      </a:cubicBezTo>
                      <a:cubicBezTo>
                        <a:pt x="906966" y="108656"/>
                        <a:pt x="904080" y="115298"/>
                        <a:pt x="903873" y="124239"/>
                      </a:cubicBezTo>
                      <a:cubicBezTo>
                        <a:pt x="904009" y="132167"/>
                        <a:pt x="906405" y="138295"/>
                        <a:pt x="911061" y="142623"/>
                      </a:cubicBezTo>
                      <a:cubicBezTo>
                        <a:pt x="915716" y="146951"/>
                        <a:pt x="921820" y="149144"/>
                        <a:pt x="929372" y="149200"/>
                      </a:cubicBezTo>
                      <a:cubicBezTo>
                        <a:pt x="934938" y="149147"/>
                        <a:pt x="939791" y="148168"/>
                        <a:pt x="943930" y="146263"/>
                      </a:cubicBezTo>
                      <a:cubicBezTo>
                        <a:pt x="948069" y="144357"/>
                        <a:pt x="951245" y="141842"/>
                        <a:pt x="953459" y="138717"/>
                      </a:cubicBezTo>
                      <a:lnTo>
                        <a:pt x="953459" y="148114"/>
                      </a:lnTo>
                      <a:lnTo>
                        <a:pt x="971535" y="148114"/>
                      </a:lnTo>
                      <a:lnTo>
                        <a:pt x="971535" y="98548"/>
                      </a:lnTo>
                      <a:cubicBezTo>
                        <a:pt x="971683" y="87710"/>
                        <a:pt x="969264" y="79376"/>
                        <a:pt x="964279" y="73546"/>
                      </a:cubicBezTo>
                      <a:cubicBezTo>
                        <a:pt x="959294" y="67717"/>
                        <a:pt x="950858" y="64770"/>
                        <a:pt x="938972" y="64707"/>
                      </a:cubicBezTo>
                      <a:close/>
                      <a:moveTo>
                        <a:pt x="1031924" y="64707"/>
                      </a:moveTo>
                      <a:cubicBezTo>
                        <a:pt x="1019323" y="65004"/>
                        <a:pt x="1009200" y="69155"/>
                        <a:pt x="1001556" y="77162"/>
                      </a:cubicBezTo>
                      <a:cubicBezTo>
                        <a:pt x="993912" y="85169"/>
                        <a:pt x="989986" y="95250"/>
                        <a:pt x="989779" y="107406"/>
                      </a:cubicBezTo>
                      <a:cubicBezTo>
                        <a:pt x="989967" y="120432"/>
                        <a:pt x="994021" y="130762"/>
                        <a:pt x="1001940" y="138395"/>
                      </a:cubicBezTo>
                      <a:cubicBezTo>
                        <a:pt x="1009860" y="146029"/>
                        <a:pt x="1020518" y="149932"/>
                        <a:pt x="1033915" y="150105"/>
                      </a:cubicBezTo>
                      <a:cubicBezTo>
                        <a:pt x="1040615" y="150093"/>
                        <a:pt x="1046805" y="148896"/>
                        <a:pt x="1052487" y="146512"/>
                      </a:cubicBezTo>
                      <a:cubicBezTo>
                        <a:pt x="1058169" y="144128"/>
                        <a:pt x="1062776" y="140626"/>
                        <a:pt x="1066309" y="136005"/>
                      </a:cubicBezTo>
                      <a:lnTo>
                        <a:pt x="1056537" y="120804"/>
                      </a:lnTo>
                      <a:cubicBezTo>
                        <a:pt x="1053920" y="123754"/>
                        <a:pt x="1050874" y="126138"/>
                        <a:pt x="1047397" y="127956"/>
                      </a:cubicBezTo>
                      <a:cubicBezTo>
                        <a:pt x="1043921" y="129775"/>
                        <a:pt x="1039970" y="130710"/>
                        <a:pt x="1035543" y="130763"/>
                      </a:cubicBezTo>
                      <a:cubicBezTo>
                        <a:pt x="1029179" y="130695"/>
                        <a:pt x="1023720" y="128613"/>
                        <a:pt x="1019165" y="124516"/>
                      </a:cubicBezTo>
                      <a:cubicBezTo>
                        <a:pt x="1014611" y="120420"/>
                        <a:pt x="1012228" y="114716"/>
                        <a:pt x="1012017" y="107406"/>
                      </a:cubicBezTo>
                      <a:cubicBezTo>
                        <a:pt x="1012235" y="100182"/>
                        <a:pt x="1014558" y="94531"/>
                        <a:pt x="1018984" y="90454"/>
                      </a:cubicBezTo>
                      <a:cubicBezTo>
                        <a:pt x="1023411" y="86376"/>
                        <a:pt x="1028629" y="84301"/>
                        <a:pt x="1034639" y="84230"/>
                      </a:cubicBezTo>
                      <a:cubicBezTo>
                        <a:pt x="1038345" y="84188"/>
                        <a:pt x="1041881" y="84769"/>
                        <a:pt x="1045248" y="85972"/>
                      </a:cubicBezTo>
                      <a:cubicBezTo>
                        <a:pt x="1048615" y="87176"/>
                        <a:pt x="1051835" y="89250"/>
                        <a:pt x="1054908" y="92196"/>
                      </a:cubicBezTo>
                      <a:lnTo>
                        <a:pt x="1064680" y="75734"/>
                      </a:lnTo>
                      <a:cubicBezTo>
                        <a:pt x="1060827" y="71953"/>
                        <a:pt x="1056092" y="69166"/>
                        <a:pt x="1050474" y="67373"/>
                      </a:cubicBezTo>
                      <a:cubicBezTo>
                        <a:pt x="1044856" y="65581"/>
                        <a:pt x="1038673" y="64692"/>
                        <a:pt x="1031924" y="64707"/>
                      </a:cubicBezTo>
                      <a:close/>
                      <a:moveTo>
                        <a:pt x="819842" y="85338"/>
                      </a:moveTo>
                      <a:cubicBezTo>
                        <a:pt x="809328" y="85459"/>
                        <a:pt x="800808" y="88384"/>
                        <a:pt x="794283" y="94112"/>
                      </a:cubicBezTo>
                      <a:cubicBezTo>
                        <a:pt x="787757" y="99841"/>
                        <a:pt x="784397" y="107651"/>
                        <a:pt x="784201" y="117541"/>
                      </a:cubicBezTo>
                      <a:cubicBezTo>
                        <a:pt x="784397" y="127359"/>
                        <a:pt x="787757" y="135176"/>
                        <a:pt x="794283" y="140991"/>
                      </a:cubicBezTo>
                      <a:cubicBezTo>
                        <a:pt x="800808" y="146807"/>
                        <a:pt x="809328" y="149784"/>
                        <a:pt x="819842" y="149924"/>
                      </a:cubicBezTo>
                      <a:cubicBezTo>
                        <a:pt x="830356" y="149784"/>
                        <a:pt x="838876" y="146807"/>
                        <a:pt x="845401" y="140991"/>
                      </a:cubicBezTo>
                      <a:cubicBezTo>
                        <a:pt x="851927" y="135176"/>
                        <a:pt x="855288" y="127359"/>
                        <a:pt x="855483" y="117541"/>
                      </a:cubicBezTo>
                      <a:cubicBezTo>
                        <a:pt x="855288" y="107651"/>
                        <a:pt x="851927" y="99841"/>
                        <a:pt x="845401" y="94112"/>
                      </a:cubicBezTo>
                      <a:cubicBezTo>
                        <a:pt x="838876" y="88384"/>
                        <a:pt x="830356" y="85459"/>
                        <a:pt x="819842" y="85338"/>
                      </a:cubicBezTo>
                      <a:close/>
                      <a:moveTo>
                        <a:pt x="739851" y="19825"/>
                      </a:moveTo>
                      <a:cubicBezTo>
                        <a:pt x="729337" y="19946"/>
                        <a:pt x="720818" y="22871"/>
                        <a:pt x="714292" y="28600"/>
                      </a:cubicBezTo>
                      <a:cubicBezTo>
                        <a:pt x="707766" y="34328"/>
                        <a:pt x="704406" y="42138"/>
                        <a:pt x="704210" y="52028"/>
                      </a:cubicBezTo>
                      <a:cubicBezTo>
                        <a:pt x="704406" y="61846"/>
                        <a:pt x="707766" y="69663"/>
                        <a:pt x="714292" y="75478"/>
                      </a:cubicBezTo>
                      <a:cubicBezTo>
                        <a:pt x="720818" y="81294"/>
                        <a:pt x="729337" y="84271"/>
                        <a:pt x="739851" y="84411"/>
                      </a:cubicBezTo>
                      <a:cubicBezTo>
                        <a:pt x="750365" y="84271"/>
                        <a:pt x="758885" y="81294"/>
                        <a:pt x="765411" y="75478"/>
                      </a:cubicBezTo>
                      <a:cubicBezTo>
                        <a:pt x="771936" y="69663"/>
                        <a:pt x="775297" y="61846"/>
                        <a:pt x="775492" y="52028"/>
                      </a:cubicBezTo>
                      <a:cubicBezTo>
                        <a:pt x="775297" y="42138"/>
                        <a:pt x="771936" y="34328"/>
                        <a:pt x="765411" y="28600"/>
                      </a:cubicBezTo>
                      <a:cubicBezTo>
                        <a:pt x="758885" y="22871"/>
                        <a:pt x="750365" y="19946"/>
                        <a:pt x="739851" y="19825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0" name="Полілінія: фігура 29">
                  <a:extLst>
                    <a:ext uri="{FF2B5EF4-FFF2-40B4-BE49-F238E27FC236}">
                      <a16:creationId xmlns:a16="http://schemas.microsoft.com/office/drawing/2014/main" id="{5602C356-35FA-E4EA-7A2E-AB68BB6B5CA5}"/>
                    </a:ext>
                  </a:extLst>
                </p:cNvPr>
                <p:cNvSpPr/>
                <p:nvPr/>
              </p:nvSpPr>
              <p:spPr>
                <a:xfrm>
                  <a:off x="10398818" y="4223060"/>
                  <a:ext cx="32417" cy="30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417" h="30936">
                      <a:moveTo>
                        <a:pt x="16118" y="0"/>
                      </a:moveTo>
                      <a:cubicBezTo>
                        <a:pt x="20838" y="53"/>
                        <a:pt x="24709" y="1440"/>
                        <a:pt x="27731" y="4161"/>
                      </a:cubicBezTo>
                      <a:cubicBezTo>
                        <a:pt x="30753" y="6882"/>
                        <a:pt x="32315" y="10621"/>
                        <a:pt x="32417" y="15378"/>
                      </a:cubicBezTo>
                      <a:cubicBezTo>
                        <a:pt x="32327" y="20221"/>
                        <a:pt x="30787" y="24012"/>
                        <a:pt x="27799" y="26752"/>
                      </a:cubicBezTo>
                      <a:cubicBezTo>
                        <a:pt x="24811" y="29492"/>
                        <a:pt x="20917" y="30887"/>
                        <a:pt x="16118" y="30936"/>
                      </a:cubicBezTo>
                      <a:cubicBezTo>
                        <a:pt x="11564" y="30887"/>
                        <a:pt x="7769" y="29492"/>
                        <a:pt x="4731" y="26752"/>
                      </a:cubicBezTo>
                      <a:cubicBezTo>
                        <a:pt x="1694" y="24012"/>
                        <a:pt x="117" y="20221"/>
                        <a:pt x="0" y="15378"/>
                      </a:cubicBezTo>
                      <a:cubicBezTo>
                        <a:pt x="106" y="10621"/>
                        <a:pt x="1660" y="6882"/>
                        <a:pt x="4663" y="4161"/>
                      </a:cubicBezTo>
                      <a:cubicBezTo>
                        <a:pt x="7667" y="1440"/>
                        <a:pt x="11485" y="53"/>
                        <a:pt x="16118" y="0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1" name="Полілінія: фігура 30">
                  <a:extLst>
                    <a:ext uri="{FF2B5EF4-FFF2-40B4-BE49-F238E27FC236}">
                      <a16:creationId xmlns:a16="http://schemas.microsoft.com/office/drawing/2014/main" id="{E4E5A696-3E2F-0B39-1B9D-0F09FAECEEBC}"/>
                    </a:ext>
                  </a:extLst>
                </p:cNvPr>
                <p:cNvSpPr/>
                <p:nvPr/>
              </p:nvSpPr>
              <p:spPr>
                <a:xfrm>
                  <a:off x="10971404" y="4268468"/>
                  <a:ext cx="40018" cy="1775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018" h="17758">
                      <a:moveTo>
                        <a:pt x="21366" y="0"/>
                      </a:moveTo>
                      <a:cubicBezTo>
                        <a:pt x="27383" y="117"/>
                        <a:pt x="32008" y="1831"/>
                        <a:pt x="35241" y="5142"/>
                      </a:cubicBezTo>
                      <a:cubicBezTo>
                        <a:pt x="38474" y="8453"/>
                        <a:pt x="40066" y="12658"/>
                        <a:pt x="40017" y="17758"/>
                      </a:cubicBezTo>
                      <a:lnTo>
                        <a:pt x="0" y="17758"/>
                      </a:lnTo>
                      <a:cubicBezTo>
                        <a:pt x="1059" y="12341"/>
                        <a:pt x="3330" y="8045"/>
                        <a:pt x="6812" y="4870"/>
                      </a:cubicBezTo>
                      <a:cubicBezTo>
                        <a:pt x="10294" y="1695"/>
                        <a:pt x="15145" y="72"/>
                        <a:pt x="21366" y="0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2" name="Полілінія: фігура 31">
                  <a:extLst>
                    <a:ext uri="{FF2B5EF4-FFF2-40B4-BE49-F238E27FC236}">
                      <a16:creationId xmlns:a16="http://schemas.microsoft.com/office/drawing/2014/main" id="{26165ECC-12BB-352E-7D50-06A33D417EFD}"/>
                    </a:ext>
                  </a:extLst>
                </p:cNvPr>
                <p:cNvSpPr/>
                <p:nvPr/>
              </p:nvSpPr>
              <p:spPr>
                <a:xfrm>
                  <a:off x="10478809" y="4288573"/>
                  <a:ext cx="32417" cy="309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417" h="30936">
                      <a:moveTo>
                        <a:pt x="16118" y="0"/>
                      </a:moveTo>
                      <a:cubicBezTo>
                        <a:pt x="20838" y="53"/>
                        <a:pt x="24709" y="1440"/>
                        <a:pt x="27731" y="4161"/>
                      </a:cubicBezTo>
                      <a:cubicBezTo>
                        <a:pt x="30753" y="6882"/>
                        <a:pt x="32315" y="10621"/>
                        <a:pt x="32417" y="15378"/>
                      </a:cubicBezTo>
                      <a:cubicBezTo>
                        <a:pt x="32327" y="20221"/>
                        <a:pt x="30787" y="24012"/>
                        <a:pt x="27799" y="26752"/>
                      </a:cubicBezTo>
                      <a:cubicBezTo>
                        <a:pt x="24811" y="29492"/>
                        <a:pt x="20917" y="30887"/>
                        <a:pt x="16118" y="30936"/>
                      </a:cubicBezTo>
                      <a:cubicBezTo>
                        <a:pt x="11564" y="30887"/>
                        <a:pt x="7769" y="29492"/>
                        <a:pt x="4731" y="26752"/>
                      </a:cubicBezTo>
                      <a:cubicBezTo>
                        <a:pt x="1694" y="24012"/>
                        <a:pt x="117" y="20221"/>
                        <a:pt x="0" y="15378"/>
                      </a:cubicBezTo>
                      <a:cubicBezTo>
                        <a:pt x="106" y="10621"/>
                        <a:pt x="1660" y="6882"/>
                        <a:pt x="4663" y="4161"/>
                      </a:cubicBezTo>
                      <a:cubicBezTo>
                        <a:pt x="7667" y="1440"/>
                        <a:pt x="11485" y="53"/>
                        <a:pt x="16118" y="0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  <p:sp>
              <p:nvSpPr>
                <p:cNvPr id="33" name="Полілінія: фігура 32">
                  <a:extLst>
                    <a:ext uri="{FF2B5EF4-FFF2-40B4-BE49-F238E27FC236}">
                      <a16:creationId xmlns:a16="http://schemas.microsoft.com/office/drawing/2014/main" id="{753D1B42-EBBD-8319-7950-327FEA9632E7}"/>
                    </a:ext>
                  </a:extLst>
                </p:cNvPr>
                <p:cNvSpPr/>
                <p:nvPr/>
              </p:nvSpPr>
              <p:spPr>
                <a:xfrm>
                  <a:off x="10599747" y="4298328"/>
                  <a:ext cx="27350" cy="19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350" h="19750">
                      <a:moveTo>
                        <a:pt x="13041" y="1"/>
                      </a:moveTo>
                      <a:cubicBezTo>
                        <a:pt x="16026" y="-3"/>
                        <a:pt x="18705" y="322"/>
                        <a:pt x="21078" y="975"/>
                      </a:cubicBezTo>
                      <a:cubicBezTo>
                        <a:pt x="23452" y="1628"/>
                        <a:pt x="25542" y="2632"/>
                        <a:pt x="27350" y="3987"/>
                      </a:cubicBezTo>
                      <a:lnTo>
                        <a:pt x="27350" y="12321"/>
                      </a:lnTo>
                      <a:cubicBezTo>
                        <a:pt x="26127" y="14216"/>
                        <a:pt x="24271" y="15907"/>
                        <a:pt x="21780" y="17394"/>
                      </a:cubicBezTo>
                      <a:cubicBezTo>
                        <a:pt x="19290" y="18882"/>
                        <a:pt x="15894" y="19667"/>
                        <a:pt x="11592" y="19750"/>
                      </a:cubicBezTo>
                      <a:cubicBezTo>
                        <a:pt x="8256" y="19735"/>
                        <a:pt x="5509" y="18904"/>
                        <a:pt x="3351" y="17259"/>
                      </a:cubicBezTo>
                      <a:cubicBezTo>
                        <a:pt x="1192" y="15613"/>
                        <a:pt x="75" y="13242"/>
                        <a:pt x="0" y="10147"/>
                      </a:cubicBezTo>
                      <a:cubicBezTo>
                        <a:pt x="113" y="6712"/>
                        <a:pt x="1426" y="4161"/>
                        <a:pt x="3939" y="2492"/>
                      </a:cubicBezTo>
                      <a:cubicBezTo>
                        <a:pt x="6453" y="824"/>
                        <a:pt x="9486" y="-7"/>
                        <a:pt x="13041" y="1"/>
                      </a:cubicBezTo>
                      <a:close/>
                    </a:path>
                  </a:pathLst>
                </a:custGeom>
                <a:solidFill>
                  <a:srgbClr val="ADE8D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uk-UA"/>
                </a:p>
              </p:txBody>
            </p:sp>
          </p:grpSp>
          <p:sp>
            <p:nvSpPr>
              <p:cNvPr id="40" name="object 28">
                <a:extLst>
                  <a:ext uri="{FF2B5EF4-FFF2-40B4-BE49-F238E27FC236}">
                    <a16:creationId xmlns:a16="http://schemas.microsoft.com/office/drawing/2014/main" id="{B6F1FB77-DCAF-020C-B507-41E8FBE568D2}"/>
                  </a:ext>
                </a:extLst>
              </p:cNvPr>
              <p:cNvSpPr/>
              <p:nvPr/>
            </p:nvSpPr>
            <p:spPr>
              <a:xfrm>
                <a:off x="9651325" y="3370554"/>
                <a:ext cx="1831460" cy="653287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3819" b="1" spc="-1" dirty="0">
                    <a:solidFill>
                      <a:schemeClr val="tx1">
                        <a:lumMod val="85000"/>
                        <a:lumOff val="15000"/>
                        <a:alpha val="73000"/>
                      </a:schemeClr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1117</a:t>
                </a:r>
                <a:endParaRPr lang="ru-RU" sz="2744" spc="-1" dirty="0">
                  <a:solidFill>
                    <a:schemeClr val="tx1">
                      <a:lumMod val="85000"/>
                      <a:lumOff val="15000"/>
                      <a:alpha val="73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object 59">
                <a:extLst>
                  <a:ext uri="{FF2B5EF4-FFF2-40B4-BE49-F238E27FC236}">
                    <a16:creationId xmlns:a16="http://schemas.microsoft.com/office/drawing/2014/main" id="{950E0EFE-A2FD-1E61-53E1-58228E8D4311}"/>
                  </a:ext>
                </a:extLst>
              </p:cNvPr>
              <p:cNvSpPr/>
              <p:nvPr/>
            </p:nvSpPr>
            <p:spPr>
              <a:xfrm>
                <a:off x="11082123" y="3474387"/>
                <a:ext cx="789585" cy="351044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0" tIns="8051" rIns="0" bIns="0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+</a:t>
                </a:r>
                <a:r>
                  <a:rPr lang="uk-UA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13</a:t>
                </a:r>
                <a:r>
                  <a:rPr lang="ru-RU" sz="1114" b="1" spc="-1" dirty="0">
                    <a:solidFill>
                      <a:srgbClr val="7ABDEA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%</a:t>
                </a:r>
                <a:endParaRPr lang="ru-RU" sz="1114" spc="-1" dirty="0">
                  <a:solidFill>
                    <a:srgbClr val="7ABDEA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lnSpc>
                    <a:spcPct val="100000"/>
                  </a:lnSpc>
                </a:pPr>
                <a:r>
                  <a:rPr lang="en-US" sz="1114" b="1" spc="-1" dirty="0">
                    <a:solidFill>
                      <a:srgbClr val="47A3E1"/>
                    </a:solidFill>
                    <a:latin typeface="Arial" panose="020B0604020202020204" pitchFamily="34" charset="0"/>
                    <a:ea typeface="DejaVu Sans"/>
                    <a:cs typeface="Arial" panose="020B0604020202020204" pitchFamily="34" charset="0"/>
                  </a:rPr>
                  <a:t>in 2023</a:t>
                </a:r>
                <a:endParaRPr lang="ru-RU" sz="1114" spc="-1" dirty="0">
                  <a:solidFill>
                    <a:srgbClr val="47A3E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object 28">
                <a:extLst>
                  <a:ext uri="{FF2B5EF4-FFF2-40B4-BE49-F238E27FC236}">
                    <a16:creationId xmlns:a16="http://schemas.microsoft.com/office/drawing/2014/main" id="{109B32BF-22AE-9040-2B64-406BF0BC6D28}"/>
                  </a:ext>
                </a:extLst>
              </p:cNvPr>
              <p:cNvSpPr/>
              <p:nvPr/>
            </p:nvSpPr>
            <p:spPr>
              <a:xfrm>
                <a:off x="9829571" y="3224108"/>
                <a:ext cx="1137269" cy="2894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1400" spc="-1" dirty="0">
                    <a:solidFill>
                      <a:srgbClr val="000000"/>
                    </a:solidFill>
                    <a:latin typeface="+mj-lt"/>
                    <a:ea typeface="DejaVu Sans"/>
                  </a:rPr>
                  <a:t>resident</a:t>
                </a:r>
                <a:r>
                  <a:rPr lang="en-US" sz="1400" spc="-1" dirty="0">
                    <a:solidFill>
                      <a:srgbClr val="000000"/>
                    </a:solidFill>
                    <a:latin typeface="+mj-lt"/>
                    <a:ea typeface="DejaVu Sans"/>
                  </a:rPr>
                  <a:t>s </a:t>
                </a:r>
                <a:endParaRPr lang="ru-RU" sz="1400" spc="-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53" name="object 28">
                <a:extLst>
                  <a:ext uri="{FF2B5EF4-FFF2-40B4-BE49-F238E27FC236}">
                    <a16:creationId xmlns:a16="http://schemas.microsoft.com/office/drawing/2014/main" id="{96DDBA48-AEA1-3FAB-3A80-6D0C9C2A94B5}"/>
                  </a:ext>
                </a:extLst>
              </p:cNvPr>
              <p:cNvSpPr/>
              <p:nvPr/>
            </p:nvSpPr>
            <p:spPr>
              <a:xfrm>
                <a:off x="10074927" y="3827710"/>
                <a:ext cx="478562" cy="2894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wrap="square" lIns="64927" tIns="32464" rIns="64927" bIns="32464" anchor="t">
                <a:spAutoFit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ru-RU" sz="1400" spc="-1" dirty="0">
                    <a:solidFill>
                      <a:schemeClr val="bg1"/>
                    </a:solidFill>
                    <a:latin typeface="Aptos Black" panose="020F0502020204030204" pitchFamily="34" charset="0"/>
                    <a:ea typeface="DejaVu Sans"/>
                  </a:rPr>
                  <a:t>37</a:t>
                </a:r>
                <a:endParaRPr lang="ru-RU" sz="1400" spc="-1" dirty="0">
                  <a:solidFill>
                    <a:schemeClr val="bg1"/>
                  </a:solidFill>
                  <a:latin typeface="Aptos Black" panose="020F0502020204030204" pitchFamily="34" charset="0"/>
                </a:endParaRPr>
              </a:p>
            </p:txBody>
          </p:sp>
        </p:grpSp>
        <p:cxnSp>
          <p:nvCxnSpPr>
            <p:cNvPr id="441" name="Пряма сполучна лінія 440">
              <a:extLst>
                <a:ext uri="{FF2B5EF4-FFF2-40B4-BE49-F238E27FC236}">
                  <a16:creationId xmlns:a16="http://schemas.microsoft.com/office/drawing/2014/main" id="{8482D69C-519A-844A-4E95-C8E3C4FCE3E0}"/>
                </a:ext>
              </a:extLst>
            </p:cNvPr>
            <p:cNvCxnSpPr>
              <a:cxnSpLocks/>
            </p:cNvCxnSpPr>
            <p:nvPr/>
          </p:nvCxnSpPr>
          <p:spPr>
            <a:xfrm>
              <a:off x="9317061" y="2336072"/>
              <a:ext cx="1924730" cy="0"/>
            </a:xfrm>
            <a:prstGeom prst="line">
              <a:avLst/>
            </a:prstGeom>
            <a:ln w="3175">
              <a:gradFill>
                <a:gsLst>
                  <a:gs pos="100000">
                    <a:srgbClr val="EFF6F8">
                      <a:alpha val="0"/>
                    </a:srgbClr>
                  </a:gs>
                  <a:gs pos="3000">
                    <a:schemeClr val="accent1">
                      <a:lumMod val="5000"/>
                      <a:lumOff val="95000"/>
                      <a:alpha val="0"/>
                    </a:schemeClr>
                  </a:gs>
                  <a:gs pos="49000">
                    <a:srgbClr val="009FE3"/>
                  </a:gs>
                  <a:gs pos="62000">
                    <a:srgbClr val="009FE3"/>
                  </a:gs>
                </a:gsLst>
                <a:lin ang="6600000" scaled="0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Пряма сполучна лінія 441">
              <a:extLst>
                <a:ext uri="{FF2B5EF4-FFF2-40B4-BE49-F238E27FC236}">
                  <a16:creationId xmlns:a16="http://schemas.microsoft.com/office/drawing/2014/main" id="{3910D8BB-C0F7-9F02-AC4B-EB24D013689D}"/>
                </a:ext>
              </a:extLst>
            </p:cNvPr>
            <p:cNvCxnSpPr>
              <a:cxnSpLocks/>
            </p:cNvCxnSpPr>
            <p:nvPr/>
          </p:nvCxnSpPr>
          <p:spPr>
            <a:xfrm>
              <a:off x="9337269" y="4982830"/>
              <a:ext cx="1924730" cy="0"/>
            </a:xfrm>
            <a:prstGeom prst="line">
              <a:avLst/>
            </a:prstGeom>
            <a:ln w="3175">
              <a:gradFill>
                <a:gsLst>
                  <a:gs pos="100000">
                    <a:srgbClr val="EFF6F8">
                      <a:alpha val="0"/>
                    </a:srgbClr>
                  </a:gs>
                  <a:gs pos="3000">
                    <a:schemeClr val="accent1">
                      <a:lumMod val="5000"/>
                      <a:lumOff val="95000"/>
                      <a:alpha val="0"/>
                    </a:schemeClr>
                  </a:gs>
                  <a:gs pos="49000">
                    <a:srgbClr val="009FE3"/>
                  </a:gs>
                  <a:gs pos="62000">
                    <a:srgbClr val="009FE3"/>
                  </a:gs>
                </a:gsLst>
                <a:lin ang="6600000" scaled="0"/>
              </a:gra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5" name="Пряма сполучна лінія 124">
            <a:extLst>
              <a:ext uri="{FF2B5EF4-FFF2-40B4-BE49-F238E27FC236}">
                <a16:creationId xmlns:a16="http://schemas.microsoft.com/office/drawing/2014/main" id="{AFBAD8FF-C440-A229-B33D-5425AF7B02C2}"/>
              </a:ext>
            </a:extLst>
          </p:cNvPr>
          <p:cNvCxnSpPr>
            <a:cxnSpLocks/>
          </p:cNvCxnSpPr>
          <p:nvPr/>
        </p:nvCxnSpPr>
        <p:spPr>
          <a:xfrm>
            <a:off x="9768286" y="4679774"/>
            <a:ext cx="1924730" cy="0"/>
          </a:xfrm>
          <a:prstGeom prst="line">
            <a:avLst/>
          </a:prstGeom>
          <a:ln w="3175">
            <a:gradFill>
              <a:gsLst>
                <a:gs pos="100000">
                  <a:srgbClr val="EFF6F8">
                    <a:alpha val="0"/>
                  </a:srgbClr>
                </a:gs>
                <a:gs pos="3000">
                  <a:schemeClr val="accent1">
                    <a:lumMod val="5000"/>
                    <a:lumOff val="95000"/>
                    <a:alpha val="0"/>
                  </a:schemeClr>
                </a:gs>
                <a:gs pos="49000">
                  <a:srgbClr val="009FE3"/>
                </a:gs>
                <a:gs pos="62000">
                  <a:srgbClr val="009FE3"/>
                </a:gs>
              </a:gsLst>
              <a:lin ang="6600000" scaled="0"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3353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Офіс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Офіс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14</TotalTime>
  <Words>942</Words>
  <Application>Microsoft Office PowerPoint</Application>
  <PresentationFormat>Широкий екран</PresentationFormat>
  <Paragraphs>272</Paragraphs>
  <Slides>14</Slides>
  <Notes>3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2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4</vt:i4>
      </vt:variant>
    </vt:vector>
  </HeadingPairs>
  <TitlesOfParts>
    <vt:vector size="28" baseType="lpstr">
      <vt:lpstr>Aptos</vt:lpstr>
      <vt:lpstr>Aptos Black</vt:lpstr>
      <vt:lpstr>Aptos Display</vt:lpstr>
      <vt:lpstr>Arial</vt:lpstr>
      <vt:lpstr>Arial Black</vt:lpstr>
      <vt:lpstr>Calibri</vt:lpstr>
      <vt:lpstr>Calibri Light</vt:lpstr>
      <vt:lpstr>Calibri-Bold</vt:lpstr>
      <vt:lpstr>Cambria Math</vt:lpstr>
      <vt:lpstr>Circe</vt:lpstr>
      <vt:lpstr>Circe Bold</vt:lpstr>
      <vt:lpstr>Circe Light</vt:lpstr>
      <vt:lpstr>Тема Office</vt:lpstr>
      <vt:lpstr>think-cell Slide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Company>Ukrtransga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Фітіль Катерина Миколаївна</dc:creator>
  <cp:lastModifiedBy>Фітіль Катерина Миколаївна</cp:lastModifiedBy>
  <cp:revision>28</cp:revision>
  <cp:lastPrinted>2024-04-05T06:40:46Z</cp:lastPrinted>
  <dcterms:created xsi:type="dcterms:W3CDTF">2024-04-01T06:30:49Z</dcterms:created>
  <dcterms:modified xsi:type="dcterms:W3CDTF">2024-04-05T11:58:16Z</dcterms:modified>
</cp:coreProperties>
</file>